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2.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5" r:id="rId5"/>
    <p:sldMasterId id="2147483769" r:id="rId6"/>
    <p:sldMasterId id="2147483825" r:id="rId7"/>
  </p:sldMasterIdLst>
  <p:notesMasterIdLst>
    <p:notesMasterId r:id="rId26"/>
  </p:notesMasterIdLst>
  <p:sldIdLst>
    <p:sldId id="2147474984" r:id="rId8"/>
    <p:sldId id="2141411332" r:id="rId9"/>
    <p:sldId id="2147475096" r:id="rId10"/>
    <p:sldId id="2147475093" r:id="rId11"/>
    <p:sldId id="2147475066" r:id="rId12"/>
    <p:sldId id="2147475073" r:id="rId13"/>
    <p:sldId id="2147475075" r:id="rId14"/>
    <p:sldId id="2147475109" r:id="rId15"/>
    <p:sldId id="2147475108" r:id="rId16"/>
    <p:sldId id="2147475100" r:id="rId17"/>
    <p:sldId id="2147475103" r:id="rId18"/>
    <p:sldId id="2147475104" r:id="rId19"/>
    <p:sldId id="2147475111" r:id="rId20"/>
    <p:sldId id="2147475107" r:id="rId21"/>
    <p:sldId id="2147475067" r:id="rId22"/>
    <p:sldId id="2147475055" r:id="rId23"/>
    <p:sldId id="2147475095" r:id="rId24"/>
    <p:sldId id="2147475098" r:id="rId25"/>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396A83B-6BA6-ECB8-7E3A-C64093790337}" name="He, Renfa [JRDCN]" initials="RH" userId="S::RHe10@its.jnj.com::a31ff9a4-3ccb-485c-8f16-bc02aa40d6d5" providerId="AD"/>
  <p188:author id="{EB8B7C44-2DBB-618E-AEF6-5DB91DBA1BC0}" name="Liu, He [JRDCN]" initials="LH" userId="S::hliu167@its.jnj.com::384640c7-0ce5-44d3-a1b9-20818ee3af29" providerId="AD"/>
  <p188:author id="{1D2B1346-6DA4-61BE-7054-BB8D000D8D03}" name="Li, Shechang [JRDCN]" initials="SL" userId="S::sli126@its.jnj.com::78861e51-d321-4374-865a-0d881ef04758" providerId="AD"/>
  <p188:author id="{F4188F92-CF2F-E8E2-60A8-E58A2DA3B0D0}" name="Curinckx, Heidi [JRDBE]" initials="C[" userId="S::hcurinck@its.jnj.com::9f62a50e-02e1-4e1a-9913-813505f63c7b" providerId="AD"/>
  <p188:author id="{09F76E95-8887-59F3-DE9A-57F3F2967B90}" name="Curinckx, Heidi [JRDBE]" initials="HC" userId="S::HCURINCK@its.jnj.com::9f62a50e-02e1-4e1a-9913-813505f63c7b" providerId="AD"/>
  <p188:author id="{2A363CAA-AC12-849F-5F54-8DA267148C6B}" name="Humphreys, Alicia [JRDUS]" initials="H[" userId="S::ahumphre@its.jnj.com::8f0cf54b-7d71-4fc0-a169-fb2352830862" providerId="AD"/>
  <p188:author id="{4EB260B3-C9D8-CAF0-356D-F716943AB25B}" name="He, Renfa [JRDCN]" initials="H[" userId="S::rhe10@its.jnj.com::a31ff9a4-3ccb-485c-8f16-bc02aa40d6d5" providerId="AD"/>
  <p188:author id="{776D2CCB-CBA3-8C0C-4A64-6642B15CAD7F}" name="Haesendonckx, Steven [JRDBE]" initials="SH" userId="S::shaesen2@its.jnj.com::d0ee640e-58eb-4832-815f-718c92039204" providerId="AD"/>
  <p188:author id="{F14C3FEF-A9F5-0F84-1315-C00D3C78E2E1}" name="Zhang, Renping [JRDUS]" initials="Z[" userId="S::rzhang43@its.jnj.com::549b5590-7a55-4a0d-b069-d18f21312cd1"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F23DAC2-0068-B873-D4AB-A482C139B7E8}" v="98" dt="2025-03-24T01:48:36.53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u, He [JRDCN]" userId="S::hliu167@its.jnj.com::384640c7-0ce5-44d3-a1b9-20818ee3af29" providerId="AD" clId="Web-{D62670F4-2ACA-241B-B881-6316D6FE7FE6}"/>
    <pc:docChg chg="addSld delSld modSld">
      <pc:chgData name="Liu, He [JRDCN]" userId="S::hliu167@its.jnj.com::384640c7-0ce5-44d3-a1b9-20818ee3af29" providerId="AD" clId="Web-{D62670F4-2ACA-241B-B881-6316D6FE7FE6}" dt="2025-02-20T07:55:30.453" v="168" actId="1076"/>
      <pc:docMkLst>
        <pc:docMk/>
      </pc:docMkLst>
      <pc:sldChg chg="delSp modSp">
        <pc:chgData name="Liu, He [JRDCN]" userId="S::hliu167@its.jnj.com::384640c7-0ce5-44d3-a1b9-20818ee3af29" providerId="AD" clId="Web-{D62670F4-2ACA-241B-B881-6316D6FE7FE6}" dt="2025-02-20T07:30:37.586" v="63"/>
        <pc:sldMkLst>
          <pc:docMk/>
          <pc:sldMk cId="2326172511" sldId="2147475100"/>
        </pc:sldMkLst>
        <pc:spChg chg="mod">
          <ac:chgData name="Liu, He [JRDCN]" userId="S::hliu167@its.jnj.com::384640c7-0ce5-44d3-a1b9-20818ee3af29" providerId="AD" clId="Web-{D62670F4-2ACA-241B-B881-6316D6FE7FE6}" dt="2025-02-20T07:21:49.629" v="0" actId="20577"/>
          <ac:spMkLst>
            <pc:docMk/>
            <pc:sldMk cId="2326172511" sldId="2147475100"/>
            <ac:spMk id="5" creationId="{00000000-0000-0000-0000-000000000000}"/>
          </ac:spMkLst>
        </pc:spChg>
        <pc:spChg chg="mod">
          <ac:chgData name="Liu, He [JRDCN]" userId="S::hliu167@its.jnj.com::384640c7-0ce5-44d3-a1b9-20818ee3af29" providerId="AD" clId="Web-{D62670F4-2ACA-241B-B881-6316D6FE7FE6}" dt="2025-02-20T07:22:18.193" v="2" actId="20577"/>
          <ac:spMkLst>
            <pc:docMk/>
            <pc:sldMk cId="2326172511" sldId="2147475100"/>
            <ac:spMk id="6" creationId="{00000000-0000-0000-0000-000000000000}"/>
          </ac:spMkLst>
        </pc:spChg>
        <pc:spChg chg="mod">
          <ac:chgData name="Liu, He [JRDCN]" userId="S::hliu167@its.jnj.com::384640c7-0ce5-44d3-a1b9-20818ee3af29" providerId="AD" clId="Web-{D62670F4-2ACA-241B-B881-6316D6FE7FE6}" dt="2025-02-20T07:29:13.661" v="55" actId="1076"/>
          <ac:spMkLst>
            <pc:docMk/>
            <pc:sldMk cId="2326172511" sldId="2147475100"/>
            <ac:spMk id="16" creationId="{00000000-0000-0000-0000-000000000000}"/>
          </ac:spMkLst>
        </pc:spChg>
      </pc:sldChg>
      <pc:sldChg chg="addSp delSp modSp">
        <pc:chgData name="Liu, He [JRDCN]" userId="S::hliu167@its.jnj.com::384640c7-0ce5-44d3-a1b9-20818ee3af29" providerId="AD" clId="Web-{D62670F4-2ACA-241B-B881-6316D6FE7FE6}" dt="2025-02-20T07:30:41.071" v="64"/>
        <pc:sldMkLst>
          <pc:docMk/>
          <pc:sldMk cId="1570543059" sldId="2147475103"/>
        </pc:sldMkLst>
        <pc:spChg chg="mod">
          <ac:chgData name="Liu, He [JRDCN]" userId="S::hliu167@its.jnj.com::384640c7-0ce5-44d3-a1b9-20818ee3af29" providerId="AD" clId="Web-{D62670F4-2ACA-241B-B881-6316D6FE7FE6}" dt="2025-02-20T07:22:36.100" v="3" actId="20577"/>
          <ac:spMkLst>
            <pc:docMk/>
            <pc:sldMk cId="1570543059" sldId="2147475103"/>
            <ac:spMk id="9" creationId="{00000000-0000-0000-0000-000000000000}"/>
          </ac:spMkLst>
        </pc:spChg>
        <pc:spChg chg="mod">
          <ac:chgData name="Liu, He [JRDCN]" userId="S::hliu167@its.jnj.com::384640c7-0ce5-44d3-a1b9-20818ee3af29" providerId="AD" clId="Web-{D62670F4-2ACA-241B-B881-6316D6FE7FE6}" dt="2025-02-20T07:22:40.725" v="4" actId="20577"/>
          <ac:spMkLst>
            <pc:docMk/>
            <pc:sldMk cId="1570543059" sldId="2147475103"/>
            <ac:spMk id="10" creationId="{00000000-0000-0000-0000-000000000000}"/>
          </ac:spMkLst>
        </pc:spChg>
        <pc:spChg chg="add">
          <ac:chgData name="Liu, He [JRDCN]" userId="S::hliu167@its.jnj.com::384640c7-0ce5-44d3-a1b9-20818ee3af29" providerId="AD" clId="Web-{D62670F4-2ACA-241B-B881-6316D6FE7FE6}" dt="2025-02-20T07:29:41.037" v="58"/>
          <ac:spMkLst>
            <pc:docMk/>
            <pc:sldMk cId="1570543059" sldId="2147475103"/>
            <ac:spMk id="20" creationId="{1A31E1EF-0A5E-5249-7833-B3594D0D61BC}"/>
          </ac:spMkLst>
        </pc:spChg>
        <pc:spChg chg="add">
          <ac:chgData name="Liu, He [JRDCN]" userId="S::hliu167@its.jnj.com::384640c7-0ce5-44d3-a1b9-20818ee3af29" providerId="AD" clId="Web-{D62670F4-2ACA-241B-B881-6316D6FE7FE6}" dt="2025-02-20T07:29:49.694" v="60"/>
          <ac:spMkLst>
            <pc:docMk/>
            <pc:sldMk cId="1570543059" sldId="2147475103"/>
            <ac:spMk id="21" creationId="{A1E32713-4AB3-3904-62A3-0E36FEAF3FA1}"/>
          </ac:spMkLst>
        </pc:spChg>
        <pc:picChg chg="mod">
          <ac:chgData name="Liu, He [JRDCN]" userId="S::hliu167@its.jnj.com::384640c7-0ce5-44d3-a1b9-20818ee3af29" providerId="AD" clId="Web-{D62670F4-2ACA-241B-B881-6316D6FE7FE6}" dt="2025-02-20T07:22:45.507" v="6" actId="1076"/>
          <ac:picMkLst>
            <pc:docMk/>
            <pc:sldMk cId="1570543059" sldId="2147475103"/>
            <ac:picMk id="17" creationId="{BC0AE5E5-08EC-932F-0FC9-4A627E7C9184}"/>
          </ac:picMkLst>
        </pc:picChg>
      </pc:sldChg>
      <pc:sldChg chg="addSp delSp modSp">
        <pc:chgData name="Liu, He [JRDCN]" userId="S::hliu167@its.jnj.com::384640c7-0ce5-44d3-a1b9-20818ee3af29" providerId="AD" clId="Web-{D62670F4-2ACA-241B-B881-6316D6FE7FE6}" dt="2025-02-20T07:32:24.293" v="73" actId="20577"/>
        <pc:sldMkLst>
          <pc:docMk/>
          <pc:sldMk cId="3488334976" sldId="2147475104"/>
        </pc:sldMkLst>
        <pc:spChg chg="add">
          <ac:chgData name="Liu, He [JRDCN]" userId="S::hliu167@its.jnj.com::384640c7-0ce5-44d3-a1b9-20818ee3af29" providerId="AD" clId="Web-{D62670F4-2ACA-241B-B881-6316D6FE7FE6}" dt="2025-02-20T07:29:33.037" v="57"/>
          <ac:spMkLst>
            <pc:docMk/>
            <pc:sldMk cId="3488334976" sldId="2147475104"/>
            <ac:spMk id="4" creationId="{1FE4963B-0294-ECF5-776B-DA3666407BF2}"/>
          </ac:spMkLst>
        </pc:spChg>
        <pc:spChg chg="mod">
          <ac:chgData name="Liu, He [JRDCN]" userId="S::hliu167@its.jnj.com::384640c7-0ce5-44d3-a1b9-20818ee3af29" providerId="AD" clId="Web-{D62670F4-2ACA-241B-B881-6316D6FE7FE6}" dt="2025-02-20T07:23:31.805" v="10" actId="20577"/>
          <ac:spMkLst>
            <pc:docMk/>
            <pc:sldMk cId="3488334976" sldId="2147475104"/>
            <ac:spMk id="9" creationId="{00000000-0000-0000-0000-000000000000}"/>
          </ac:spMkLst>
        </pc:spChg>
        <pc:spChg chg="mod">
          <ac:chgData name="Liu, He [JRDCN]" userId="S::hliu167@its.jnj.com::384640c7-0ce5-44d3-a1b9-20818ee3af29" providerId="AD" clId="Web-{D62670F4-2ACA-241B-B881-6316D6FE7FE6}" dt="2025-02-20T07:32:24.293" v="73" actId="20577"/>
          <ac:spMkLst>
            <pc:docMk/>
            <pc:sldMk cId="3488334976" sldId="2147475104"/>
            <ac:spMk id="10" creationId="{00000000-0000-0000-0000-000000000000}"/>
          </ac:spMkLst>
        </pc:spChg>
      </pc:sldChg>
      <pc:sldChg chg="addSp delSp modSp">
        <pc:chgData name="Liu, He [JRDCN]" userId="S::hliu167@its.jnj.com::384640c7-0ce5-44d3-a1b9-20818ee3af29" providerId="AD" clId="Web-{D62670F4-2ACA-241B-B881-6316D6FE7FE6}" dt="2025-02-20T07:55:30.453" v="168" actId="1076"/>
        <pc:sldMkLst>
          <pc:docMk/>
          <pc:sldMk cId="1540865472" sldId="2147475105"/>
        </pc:sldMkLst>
        <pc:spChg chg="add del mod">
          <ac:chgData name="Liu, He [JRDCN]" userId="S::hliu167@its.jnj.com::384640c7-0ce5-44d3-a1b9-20818ee3af29" providerId="AD" clId="Web-{D62670F4-2ACA-241B-B881-6316D6FE7FE6}" dt="2025-02-20T07:45:09.165" v="150" actId="1076"/>
          <ac:spMkLst>
            <pc:docMk/>
            <pc:sldMk cId="1540865472" sldId="2147475105"/>
            <ac:spMk id="2" creationId="{59F569B3-3987-3609-8C4D-7F5DB0B69EDF}"/>
          </ac:spMkLst>
        </pc:spChg>
        <pc:spChg chg="mod">
          <ac:chgData name="Liu, He [JRDCN]" userId="S::hliu167@its.jnj.com::384640c7-0ce5-44d3-a1b9-20818ee3af29" providerId="AD" clId="Web-{D62670F4-2ACA-241B-B881-6316D6FE7FE6}" dt="2025-02-20T07:31:36.463" v="71" actId="1076"/>
          <ac:spMkLst>
            <pc:docMk/>
            <pc:sldMk cId="1540865472" sldId="2147475105"/>
            <ac:spMk id="3" creationId="{98066992-74E7-C927-A528-DA943F06BB5F}"/>
          </ac:spMkLst>
        </pc:spChg>
        <pc:spChg chg="mod">
          <ac:chgData name="Liu, He [JRDCN]" userId="S::hliu167@its.jnj.com::384640c7-0ce5-44d3-a1b9-20818ee3af29" providerId="AD" clId="Web-{D62670F4-2ACA-241B-B881-6316D6FE7FE6}" dt="2025-02-20T07:25:08.606" v="23" actId="20577"/>
          <ac:spMkLst>
            <pc:docMk/>
            <pc:sldMk cId="1540865472" sldId="2147475105"/>
            <ac:spMk id="5" creationId="{51A40D87-1804-6FB9-5C54-48140A4F6691}"/>
          </ac:spMkLst>
        </pc:spChg>
        <pc:spChg chg="add del mod">
          <ac:chgData name="Liu, He [JRDCN]" userId="S::hliu167@its.jnj.com::384640c7-0ce5-44d3-a1b9-20818ee3af29" providerId="AD" clId="Web-{D62670F4-2ACA-241B-B881-6316D6FE7FE6}" dt="2025-02-20T07:45:09.165" v="149" actId="1076"/>
          <ac:spMkLst>
            <pc:docMk/>
            <pc:sldMk cId="1540865472" sldId="2147475105"/>
            <ac:spMk id="7" creationId="{DFC34E2F-A87F-69F8-34F7-70454B1DF164}"/>
          </ac:spMkLst>
        </pc:spChg>
        <pc:spChg chg="add del mod">
          <ac:chgData name="Liu, He [JRDCN]" userId="S::hliu167@its.jnj.com::384640c7-0ce5-44d3-a1b9-20818ee3af29" providerId="AD" clId="Web-{D62670F4-2ACA-241B-B881-6316D6FE7FE6}" dt="2025-02-20T07:45:09.165" v="148" actId="1076"/>
          <ac:spMkLst>
            <pc:docMk/>
            <pc:sldMk cId="1540865472" sldId="2147475105"/>
            <ac:spMk id="9" creationId="{30A318FE-3318-38BD-BCCF-25AF173D88AB}"/>
          </ac:spMkLst>
        </pc:spChg>
        <pc:spChg chg="add del mod">
          <ac:chgData name="Liu, He [JRDCN]" userId="S::hliu167@its.jnj.com::384640c7-0ce5-44d3-a1b9-20818ee3af29" providerId="AD" clId="Web-{D62670F4-2ACA-241B-B881-6316D6FE7FE6}" dt="2025-02-20T07:55:30.453" v="168" actId="1076"/>
          <ac:spMkLst>
            <pc:docMk/>
            <pc:sldMk cId="1540865472" sldId="2147475105"/>
            <ac:spMk id="10" creationId="{4F58F037-306B-062B-0144-993AED547A7C}"/>
          </ac:spMkLst>
        </pc:spChg>
        <pc:spChg chg="add">
          <ac:chgData name="Liu, He [JRDCN]" userId="S::hliu167@its.jnj.com::384640c7-0ce5-44d3-a1b9-20818ee3af29" providerId="AD" clId="Web-{D62670F4-2ACA-241B-B881-6316D6FE7FE6}" dt="2025-02-20T07:29:55.054" v="61"/>
          <ac:spMkLst>
            <pc:docMk/>
            <pc:sldMk cId="1540865472" sldId="2147475105"/>
            <ac:spMk id="11" creationId="{EC9C032F-371E-C9BB-92D2-2DC8E75A340E}"/>
          </ac:spMkLst>
        </pc:spChg>
        <pc:spChg chg="mod">
          <ac:chgData name="Liu, He [JRDCN]" userId="S::hliu167@its.jnj.com::384640c7-0ce5-44d3-a1b9-20818ee3af29" providerId="AD" clId="Web-{D62670F4-2ACA-241B-B881-6316D6FE7FE6}" dt="2025-02-20T07:25:14.903" v="24" actId="1076"/>
          <ac:spMkLst>
            <pc:docMk/>
            <pc:sldMk cId="1540865472" sldId="2147475105"/>
            <ac:spMk id="16" creationId="{36138EF2-2AFB-84F0-09DF-E5D9003D9DDA}"/>
          </ac:spMkLst>
        </pc:spChg>
        <pc:picChg chg="add del mod">
          <ac:chgData name="Liu, He [JRDCN]" userId="S::hliu167@its.jnj.com::384640c7-0ce5-44d3-a1b9-20818ee3af29" providerId="AD" clId="Web-{D62670F4-2ACA-241B-B881-6316D6FE7FE6}" dt="2025-02-20T07:45:09.165" v="146" actId="1076"/>
          <ac:picMkLst>
            <pc:docMk/>
            <pc:sldMk cId="1540865472" sldId="2147475105"/>
            <ac:picMk id="17" creationId="{C0481B98-D0D1-1571-0C75-2C6FADB003AC}"/>
          </ac:picMkLst>
        </pc:picChg>
      </pc:sldChg>
      <pc:sldChg chg="addSp delSp modSp del">
        <pc:chgData name="Liu, He [JRDCN]" userId="S::hliu167@its.jnj.com::384640c7-0ce5-44d3-a1b9-20818ee3af29" providerId="AD" clId="Web-{D62670F4-2ACA-241B-B881-6316D6FE7FE6}" dt="2025-02-20T07:47:12.513" v="161"/>
        <pc:sldMkLst>
          <pc:docMk/>
          <pc:sldMk cId="1323500364" sldId="2147475106"/>
        </pc:sldMkLst>
      </pc:sldChg>
      <pc:sldChg chg="add del replId">
        <pc:chgData name="Liu, He [JRDCN]" userId="S::hliu167@its.jnj.com::384640c7-0ce5-44d3-a1b9-20818ee3af29" providerId="AD" clId="Web-{D62670F4-2ACA-241B-B881-6316D6FE7FE6}" dt="2025-02-20T07:28:27.050" v="47"/>
        <pc:sldMkLst>
          <pc:docMk/>
          <pc:sldMk cId="605163562" sldId="2147475107"/>
        </pc:sldMkLst>
      </pc:sldChg>
      <pc:sldChg chg="modSp add replId">
        <pc:chgData name="Liu, He [JRDCN]" userId="S::hliu167@its.jnj.com::384640c7-0ce5-44d3-a1b9-20818ee3af29" providerId="AD" clId="Web-{D62670F4-2ACA-241B-B881-6316D6FE7FE6}" dt="2025-02-20T07:55:11.140" v="167" actId="20577"/>
        <pc:sldMkLst>
          <pc:docMk/>
          <pc:sldMk cId="3517466903" sldId="2147475107"/>
        </pc:sldMkLst>
        <pc:spChg chg="mod">
          <ac:chgData name="Liu, He [JRDCN]" userId="S::hliu167@its.jnj.com::384640c7-0ce5-44d3-a1b9-20818ee3af29" providerId="AD" clId="Web-{D62670F4-2ACA-241B-B881-6316D6FE7FE6}" dt="2025-02-20T07:48:05.422" v="162" actId="20577"/>
          <ac:spMkLst>
            <pc:docMk/>
            <pc:sldMk cId="3517466903" sldId="2147475107"/>
            <ac:spMk id="14" creationId="{C9EBED70-8097-D427-459A-33AFE128C8BC}"/>
          </ac:spMkLst>
        </pc:spChg>
        <pc:spChg chg="mod">
          <ac:chgData name="Liu, He [JRDCN]" userId="S::hliu167@its.jnj.com::384640c7-0ce5-44d3-a1b9-20818ee3af29" providerId="AD" clId="Web-{D62670F4-2ACA-241B-B881-6316D6FE7FE6}" dt="2025-02-20T07:55:11.140" v="167" actId="20577"/>
          <ac:spMkLst>
            <pc:docMk/>
            <pc:sldMk cId="3517466903" sldId="2147475107"/>
            <ac:spMk id="16" creationId="{B7CBEF4B-D388-E63B-78CD-E8C24DC027DF}"/>
          </ac:spMkLst>
        </pc:spChg>
        <pc:picChg chg="mod">
          <ac:chgData name="Liu, He [JRDCN]" userId="S::hliu167@its.jnj.com::384640c7-0ce5-44d3-a1b9-20818ee3af29" providerId="AD" clId="Web-{D62670F4-2ACA-241B-B881-6316D6FE7FE6}" dt="2025-02-20T07:48:08.234" v="163" actId="1076"/>
          <ac:picMkLst>
            <pc:docMk/>
            <pc:sldMk cId="3517466903" sldId="2147475107"/>
            <ac:picMk id="21" creationId="{9439B478-AF03-6EDF-CAB3-0C2A1E9B8058}"/>
          </ac:picMkLst>
        </pc:picChg>
        <pc:picChg chg="mod">
          <ac:chgData name="Liu, He [JRDCN]" userId="S::hliu167@its.jnj.com::384640c7-0ce5-44d3-a1b9-20818ee3af29" providerId="AD" clId="Web-{D62670F4-2ACA-241B-B881-6316D6FE7FE6}" dt="2025-02-20T07:48:14.500" v="165" actId="1076"/>
          <ac:picMkLst>
            <pc:docMk/>
            <pc:sldMk cId="3517466903" sldId="2147475107"/>
            <ac:picMk id="22" creationId="{EB8B0638-10D7-D664-57D7-BEFB393D8836}"/>
          </ac:picMkLst>
        </pc:picChg>
      </pc:sldChg>
    </pc:docChg>
  </pc:docChgLst>
  <pc:docChgLst>
    <pc:chgData name="Liu, He [JRDCN]" userId="S::hliu167@its.jnj.com::384640c7-0ce5-44d3-a1b9-20818ee3af29" providerId="AD" clId="Web-{1092998D-12E2-3C59-9C0C-A619B9BE5866}"/>
    <pc:docChg chg="modSld">
      <pc:chgData name="Liu, He [JRDCN]" userId="S::hliu167@its.jnj.com::384640c7-0ce5-44d3-a1b9-20818ee3af29" providerId="AD" clId="Web-{1092998D-12E2-3C59-9C0C-A619B9BE5866}" dt="2025-02-24T02:15:43.823" v="10" actId="20577"/>
      <pc:docMkLst>
        <pc:docMk/>
      </pc:docMkLst>
      <pc:sldChg chg="modSp">
        <pc:chgData name="Liu, He [JRDCN]" userId="S::hliu167@its.jnj.com::384640c7-0ce5-44d3-a1b9-20818ee3af29" providerId="AD" clId="Web-{1092998D-12E2-3C59-9C0C-A619B9BE5866}" dt="2025-02-24T02:15:43.823" v="10" actId="20577"/>
        <pc:sldMkLst>
          <pc:docMk/>
          <pc:sldMk cId="105526" sldId="2147474984"/>
        </pc:sldMkLst>
        <pc:spChg chg="mod">
          <ac:chgData name="Liu, He [JRDCN]" userId="S::hliu167@its.jnj.com::384640c7-0ce5-44d3-a1b9-20818ee3af29" providerId="AD" clId="Web-{1092998D-12E2-3C59-9C0C-A619B9BE5866}" dt="2025-02-24T02:15:43.823" v="10" actId="20577"/>
          <ac:spMkLst>
            <pc:docMk/>
            <pc:sldMk cId="105526" sldId="2147474984"/>
            <ac:spMk id="4" creationId="{25EC91AC-C302-AEC3-1CD4-A5616037B74F}"/>
          </ac:spMkLst>
        </pc:spChg>
      </pc:sldChg>
      <pc:sldChg chg="modSp">
        <pc:chgData name="Liu, He [JRDCN]" userId="S::hliu167@its.jnj.com::384640c7-0ce5-44d3-a1b9-20818ee3af29" providerId="AD" clId="Web-{1092998D-12E2-3C59-9C0C-A619B9BE5866}" dt="2025-02-24T02:13:29.038" v="8" actId="20577"/>
        <pc:sldMkLst>
          <pc:docMk/>
          <pc:sldMk cId="1762563042" sldId="2147475095"/>
        </pc:sldMkLst>
        <pc:spChg chg="mod">
          <ac:chgData name="Liu, He [JRDCN]" userId="S::hliu167@its.jnj.com::384640c7-0ce5-44d3-a1b9-20818ee3af29" providerId="AD" clId="Web-{1092998D-12E2-3C59-9C0C-A619B9BE5866}" dt="2025-02-24T02:13:29.038" v="8" actId="20577"/>
          <ac:spMkLst>
            <pc:docMk/>
            <pc:sldMk cId="1762563042" sldId="2147475095"/>
            <ac:spMk id="3" creationId="{6C7E43C2-E37A-7A3D-02D7-F4DC9BD6E870}"/>
          </ac:spMkLst>
        </pc:spChg>
      </pc:sldChg>
      <pc:sldChg chg="delSp">
        <pc:chgData name="Liu, He [JRDCN]" userId="S::hliu167@its.jnj.com::384640c7-0ce5-44d3-a1b9-20818ee3af29" providerId="AD" clId="Web-{1092998D-12E2-3C59-9C0C-A619B9BE5866}" dt="2025-02-24T02:10:13.375" v="2"/>
        <pc:sldMkLst>
          <pc:docMk/>
          <pc:sldMk cId="1674319455" sldId="2147475108"/>
        </pc:sldMkLst>
      </pc:sldChg>
    </pc:docChg>
  </pc:docChgLst>
  <pc:docChgLst>
    <pc:chgData name="Liu, He [JRDCN]" userId="S::hliu167@its.jnj.com::384640c7-0ce5-44d3-a1b9-20818ee3af29" providerId="AD" clId="Web-{753CD0D6-65A0-A92E-5CF0-4A498BB92164}"/>
    <pc:docChg chg="addSld delSld modSld">
      <pc:chgData name="Liu, He [JRDCN]" userId="S::hliu167@its.jnj.com::384640c7-0ce5-44d3-a1b9-20818ee3af29" providerId="AD" clId="Web-{753CD0D6-65A0-A92E-5CF0-4A498BB92164}" dt="2025-02-19T14:31:23.722" v="5"/>
      <pc:docMkLst>
        <pc:docMk/>
      </pc:docMkLst>
      <pc:sldChg chg="mod modShow">
        <pc:chgData name="Liu, He [JRDCN]" userId="S::hliu167@its.jnj.com::384640c7-0ce5-44d3-a1b9-20818ee3af29" providerId="AD" clId="Web-{753CD0D6-65A0-A92E-5CF0-4A498BB92164}" dt="2025-02-19T14:31:23.722" v="5"/>
        <pc:sldMkLst>
          <pc:docMk/>
          <pc:sldMk cId="1063707889" sldId="2147475097"/>
        </pc:sldMkLst>
      </pc:sldChg>
      <pc:sldChg chg="del">
        <pc:chgData name="Liu, He [JRDCN]" userId="S::hliu167@its.jnj.com::384640c7-0ce5-44d3-a1b9-20818ee3af29" providerId="AD" clId="Web-{753CD0D6-65A0-A92E-5CF0-4A498BB92164}" dt="2025-02-19T14:30:50.486" v="0"/>
        <pc:sldMkLst>
          <pc:docMk/>
          <pc:sldMk cId="1935747992" sldId="2147475099"/>
        </pc:sldMkLst>
      </pc:sldChg>
      <pc:sldChg chg="add">
        <pc:chgData name="Liu, He [JRDCN]" userId="S::hliu167@its.jnj.com::384640c7-0ce5-44d3-a1b9-20818ee3af29" providerId="AD" clId="Web-{753CD0D6-65A0-A92E-5CF0-4A498BB92164}" dt="2025-02-19T14:31:15.644" v="1"/>
        <pc:sldMkLst>
          <pc:docMk/>
          <pc:sldMk cId="1570543059" sldId="2147475103"/>
        </pc:sldMkLst>
      </pc:sldChg>
      <pc:sldChg chg="add">
        <pc:chgData name="Liu, He [JRDCN]" userId="S::hliu167@its.jnj.com::384640c7-0ce5-44d3-a1b9-20818ee3af29" providerId="AD" clId="Web-{753CD0D6-65A0-A92E-5CF0-4A498BB92164}" dt="2025-02-19T14:31:15.659" v="2"/>
        <pc:sldMkLst>
          <pc:docMk/>
          <pc:sldMk cId="3488334976" sldId="2147475104"/>
        </pc:sldMkLst>
      </pc:sldChg>
      <pc:sldChg chg="add">
        <pc:chgData name="Liu, He [JRDCN]" userId="S::hliu167@its.jnj.com::384640c7-0ce5-44d3-a1b9-20818ee3af29" providerId="AD" clId="Web-{753CD0D6-65A0-A92E-5CF0-4A498BB92164}" dt="2025-02-19T14:31:15.691" v="3"/>
        <pc:sldMkLst>
          <pc:docMk/>
          <pc:sldMk cId="1540865472" sldId="2147475105"/>
        </pc:sldMkLst>
      </pc:sldChg>
      <pc:sldChg chg="add">
        <pc:chgData name="Liu, He [JRDCN]" userId="S::hliu167@its.jnj.com::384640c7-0ce5-44d3-a1b9-20818ee3af29" providerId="AD" clId="Web-{753CD0D6-65A0-A92E-5CF0-4A498BB92164}" dt="2025-02-19T14:31:15.706" v="4"/>
        <pc:sldMkLst>
          <pc:docMk/>
          <pc:sldMk cId="1323500364" sldId="2147475106"/>
        </pc:sldMkLst>
      </pc:sldChg>
    </pc:docChg>
  </pc:docChgLst>
  <pc:docChgLst>
    <pc:chgData name="Liu, He [JRDCN]" userId="S::hliu167@its.jnj.com::384640c7-0ce5-44d3-a1b9-20818ee3af29" providerId="AD" clId="Web-{2EEC4AC3-55B3-78A7-2C6D-AEE4F98FDF23}"/>
    <pc:docChg chg="addSld modSld">
      <pc:chgData name="Liu, He [JRDCN]" userId="S::hliu167@its.jnj.com::384640c7-0ce5-44d3-a1b9-20818ee3af29" providerId="AD" clId="Web-{2EEC4AC3-55B3-78A7-2C6D-AEE4F98FDF23}" dt="2025-02-19T14:29:57.554" v="23"/>
      <pc:docMkLst>
        <pc:docMk/>
      </pc:docMkLst>
      <pc:sldChg chg="addSp delSp modSp">
        <pc:chgData name="Liu, He [JRDCN]" userId="S::hliu167@its.jnj.com::384640c7-0ce5-44d3-a1b9-20818ee3af29" providerId="AD" clId="Web-{2EEC4AC3-55B3-78A7-2C6D-AEE4F98FDF23}" dt="2025-02-19T14:28:15.817" v="21"/>
        <pc:sldMkLst>
          <pc:docMk/>
          <pc:sldMk cId="0" sldId="262"/>
        </pc:sldMkLst>
      </pc:sldChg>
      <pc:sldChg chg="add">
        <pc:chgData name="Liu, He [JRDCN]" userId="S::hliu167@its.jnj.com::384640c7-0ce5-44d3-a1b9-20818ee3af29" providerId="AD" clId="Web-{2EEC4AC3-55B3-78A7-2C6D-AEE4F98FDF23}" dt="2025-02-19T14:29:10.756" v="22"/>
        <pc:sldMkLst>
          <pc:docMk/>
          <pc:sldMk cId="1935747992" sldId="2147475099"/>
        </pc:sldMkLst>
      </pc:sldChg>
      <pc:sldChg chg="add">
        <pc:chgData name="Liu, He [JRDCN]" userId="S::hliu167@its.jnj.com::384640c7-0ce5-44d3-a1b9-20818ee3af29" providerId="AD" clId="Web-{2EEC4AC3-55B3-78A7-2C6D-AEE4F98FDF23}" dt="2025-02-19T14:29:57.554" v="23"/>
        <pc:sldMkLst>
          <pc:docMk/>
          <pc:sldMk cId="2326172511" sldId="2147475100"/>
        </pc:sldMkLst>
      </pc:sldChg>
      <pc:sldMasterChg chg="addSldLayout">
        <pc:chgData name="Liu, He [JRDCN]" userId="S::hliu167@its.jnj.com::384640c7-0ce5-44d3-a1b9-20818ee3af29" providerId="AD" clId="Web-{2EEC4AC3-55B3-78A7-2C6D-AEE4F98FDF23}" dt="2025-02-19T14:29:10.756" v="22"/>
        <pc:sldMasterMkLst>
          <pc:docMk/>
          <pc:sldMasterMk cId="306943358" sldId="2147483769"/>
        </pc:sldMasterMkLst>
        <pc:sldLayoutChg chg="add">
          <pc:chgData name="Liu, He [JRDCN]" userId="S::hliu167@its.jnj.com::384640c7-0ce5-44d3-a1b9-20818ee3af29" providerId="AD" clId="Web-{2EEC4AC3-55B3-78A7-2C6D-AEE4F98FDF23}" dt="2025-02-19T14:29:10.756" v="22"/>
          <pc:sldLayoutMkLst>
            <pc:docMk/>
            <pc:sldMasterMk cId="306943358" sldId="2147483769"/>
            <pc:sldLayoutMk cId="3272989702" sldId="2147483880"/>
          </pc:sldLayoutMkLst>
        </pc:sldLayoutChg>
      </pc:sldMasterChg>
    </pc:docChg>
  </pc:docChgLst>
  <pc:docChgLst>
    <pc:chgData name="Liu, He [JRDCN]" userId="S::hliu167@its.jnj.com::384640c7-0ce5-44d3-a1b9-20818ee3af29" providerId="AD" clId="Web-{E8BC73B5-E8BC-1063-265B-62B744D39817}"/>
    <pc:docChg chg="mod addSld delSld modSld">
      <pc:chgData name="Liu, He [JRDCN]" userId="S::hliu167@its.jnj.com::384640c7-0ce5-44d3-a1b9-20818ee3af29" providerId="AD" clId="Web-{E8BC73B5-E8BC-1063-265B-62B744D39817}" dt="2025-02-24T07:50:32.450" v="345" actId="20577"/>
      <pc:docMkLst>
        <pc:docMk/>
      </pc:docMkLst>
      <pc:sldChg chg="modSp">
        <pc:chgData name="Liu, He [JRDCN]" userId="S::hliu167@its.jnj.com::384640c7-0ce5-44d3-a1b9-20818ee3af29" providerId="AD" clId="Web-{E8BC73B5-E8BC-1063-265B-62B744D39817}" dt="2025-02-24T07:27:54.846" v="144"/>
        <pc:sldMkLst>
          <pc:docMk/>
          <pc:sldMk cId="3372276022" sldId="2141411332"/>
        </pc:sldMkLst>
        <pc:spChg chg="mod">
          <ac:chgData name="Liu, He [JRDCN]" userId="S::hliu167@its.jnj.com::384640c7-0ce5-44d3-a1b9-20818ee3af29" providerId="AD" clId="Web-{E8BC73B5-E8BC-1063-265B-62B744D39817}" dt="2025-02-24T07:27:16.721" v="137" actId="20577"/>
          <ac:spMkLst>
            <pc:docMk/>
            <pc:sldMk cId="3372276022" sldId="2141411332"/>
            <ac:spMk id="6" creationId="{00000000-0000-0000-0000-000000000000}"/>
          </ac:spMkLst>
        </pc:spChg>
        <pc:graphicFrameChg chg="mod modGraphic">
          <ac:chgData name="Liu, He [JRDCN]" userId="S::hliu167@its.jnj.com::384640c7-0ce5-44d3-a1b9-20818ee3af29" providerId="AD" clId="Web-{E8BC73B5-E8BC-1063-265B-62B744D39817}" dt="2025-02-24T07:27:54.846" v="144"/>
          <ac:graphicFrameMkLst>
            <pc:docMk/>
            <pc:sldMk cId="3372276022" sldId="2141411332"/>
            <ac:graphicFrameMk id="9" creationId="{00000000-0000-0000-0000-000000000000}"/>
          </ac:graphicFrameMkLst>
        </pc:graphicFrameChg>
      </pc:sldChg>
      <pc:sldChg chg="modSp">
        <pc:chgData name="Liu, He [JRDCN]" userId="S::hliu167@its.jnj.com::384640c7-0ce5-44d3-a1b9-20818ee3af29" providerId="AD" clId="Web-{E8BC73B5-E8BC-1063-265B-62B744D39817}" dt="2025-02-24T07:50:12.060" v="342" actId="20577"/>
        <pc:sldMkLst>
          <pc:docMk/>
          <pc:sldMk cId="4043352384" sldId="2147475055"/>
        </pc:sldMkLst>
        <pc:spChg chg="mod">
          <ac:chgData name="Liu, He [JRDCN]" userId="S::hliu167@its.jnj.com::384640c7-0ce5-44d3-a1b9-20818ee3af29" providerId="AD" clId="Web-{E8BC73B5-E8BC-1063-265B-62B744D39817}" dt="2025-02-24T07:50:03.044" v="340" actId="20577"/>
          <ac:spMkLst>
            <pc:docMk/>
            <pc:sldMk cId="4043352384" sldId="2147475055"/>
            <ac:spMk id="2" creationId="{898474AC-0089-C6AF-F477-38233A0F2A62}"/>
          </ac:spMkLst>
        </pc:spChg>
        <pc:spChg chg="mod">
          <ac:chgData name="Liu, He [JRDCN]" userId="S::hliu167@its.jnj.com::384640c7-0ce5-44d3-a1b9-20818ee3af29" providerId="AD" clId="Web-{E8BC73B5-E8BC-1063-265B-62B744D39817}" dt="2025-02-24T07:50:12.060" v="342" actId="20577"/>
          <ac:spMkLst>
            <pc:docMk/>
            <pc:sldMk cId="4043352384" sldId="2147475055"/>
            <ac:spMk id="6" creationId="{83C86545-EB61-9F53-E8A0-5BF14024BD19}"/>
          </ac:spMkLst>
        </pc:spChg>
      </pc:sldChg>
      <pc:sldChg chg="addSp delSp modSp modCm">
        <pc:chgData name="Liu, He [JRDCN]" userId="S::hliu167@its.jnj.com::384640c7-0ce5-44d3-a1b9-20818ee3af29" providerId="AD" clId="Web-{E8BC73B5-E8BC-1063-265B-62B744D39817}" dt="2025-02-24T07:34:10.407" v="193" actId="14100"/>
        <pc:sldMkLst>
          <pc:docMk/>
          <pc:sldMk cId="1998406318" sldId="2147475065"/>
        </pc:sldMkLst>
        <pc:extLst>
          <p:ext xmlns:p="http://schemas.openxmlformats.org/presentationml/2006/main" uri="{D6D511B9-2390-475A-947B-AFAB55BFBCF1}">
            <pc226:cmChg xmlns:pc226="http://schemas.microsoft.com/office/powerpoint/2022/06/main/command" chg="mod">
              <pc226:chgData name="Liu, He [JRDCN]" userId="S::hliu167@its.jnj.com::384640c7-0ce5-44d3-a1b9-20818ee3af29" providerId="AD" clId="Web-{E8BC73B5-E8BC-1063-265B-62B744D39817}" dt="2025-02-24T02:30:20.178" v="34" actId="20577"/>
              <pc2:cmMkLst xmlns:pc2="http://schemas.microsoft.com/office/powerpoint/2019/9/main/command">
                <pc:docMk/>
                <pc:sldMk cId="1998406318" sldId="2147475065"/>
                <pc2:cmMk id="{0BF79740-10E1-449B-BB4A-65E9D82E990A}"/>
              </pc2:cmMkLst>
            </pc226:cmChg>
          </p:ext>
        </pc:extLst>
      </pc:sldChg>
      <pc:sldChg chg="delSp modSp">
        <pc:chgData name="Liu, He [JRDCN]" userId="S::hliu167@its.jnj.com::384640c7-0ce5-44d3-a1b9-20818ee3af29" providerId="AD" clId="Web-{E8BC73B5-E8BC-1063-265B-62B744D39817}" dt="2025-02-24T07:33:30.235" v="183" actId="20577"/>
        <pc:sldMkLst>
          <pc:docMk/>
          <pc:sldMk cId="3636722266" sldId="2147475066"/>
        </pc:sldMkLst>
        <pc:spChg chg="mod">
          <ac:chgData name="Liu, He [JRDCN]" userId="S::hliu167@its.jnj.com::384640c7-0ce5-44d3-a1b9-20818ee3af29" providerId="AD" clId="Web-{E8BC73B5-E8BC-1063-265B-62B744D39817}" dt="2025-02-24T07:29:51.768" v="160" actId="20577"/>
          <ac:spMkLst>
            <pc:docMk/>
            <pc:sldMk cId="3636722266" sldId="2147475066"/>
            <ac:spMk id="2" creationId="{82C82D1C-61C4-E913-A6EF-28C66ECE4FAD}"/>
          </ac:spMkLst>
        </pc:spChg>
        <pc:spChg chg="mod">
          <ac:chgData name="Liu, He [JRDCN]" userId="S::hliu167@its.jnj.com::384640c7-0ce5-44d3-a1b9-20818ee3af29" providerId="AD" clId="Web-{E8BC73B5-E8BC-1063-265B-62B744D39817}" dt="2025-02-24T07:33:30.235" v="183" actId="20577"/>
          <ac:spMkLst>
            <pc:docMk/>
            <pc:sldMk cId="3636722266" sldId="2147475066"/>
            <ac:spMk id="3" creationId="{0D026CD3-36D6-31A5-FEA8-1455A973D074}"/>
          </ac:spMkLst>
        </pc:spChg>
      </pc:sldChg>
      <pc:sldChg chg="delSp modSp">
        <pc:chgData name="Liu, He [JRDCN]" userId="S::hliu167@its.jnj.com::384640c7-0ce5-44d3-a1b9-20818ee3af29" providerId="AD" clId="Web-{E8BC73B5-E8BC-1063-265B-62B744D39817}" dt="2025-02-24T07:49:55.263" v="339" actId="14100"/>
        <pc:sldMkLst>
          <pc:docMk/>
          <pc:sldMk cId="1874068045" sldId="2147475067"/>
        </pc:sldMkLst>
        <pc:spChg chg="mod">
          <ac:chgData name="Liu, He [JRDCN]" userId="S::hliu167@its.jnj.com::384640c7-0ce5-44d3-a1b9-20818ee3af29" providerId="AD" clId="Web-{E8BC73B5-E8BC-1063-265B-62B744D39817}" dt="2025-02-24T07:48:50.201" v="320" actId="20577"/>
          <ac:spMkLst>
            <pc:docMk/>
            <pc:sldMk cId="1874068045" sldId="2147475067"/>
            <ac:spMk id="2" creationId="{EE72CCCB-8EB8-AF3D-7A40-70649B57A205}"/>
          </ac:spMkLst>
        </pc:spChg>
        <pc:spChg chg="mod">
          <ac:chgData name="Liu, He [JRDCN]" userId="S::hliu167@its.jnj.com::384640c7-0ce5-44d3-a1b9-20818ee3af29" providerId="AD" clId="Web-{E8BC73B5-E8BC-1063-265B-62B744D39817}" dt="2025-02-24T07:49:55.263" v="339" actId="14100"/>
          <ac:spMkLst>
            <pc:docMk/>
            <pc:sldMk cId="1874068045" sldId="2147475067"/>
            <ac:spMk id="6" creationId="{AD0C48B8-650D-E284-910A-BF9B8F4D67FB}"/>
          </ac:spMkLst>
        </pc:spChg>
      </pc:sldChg>
      <pc:sldChg chg="delSp modSp">
        <pc:chgData name="Liu, He [JRDCN]" userId="S::hliu167@its.jnj.com::384640c7-0ce5-44d3-a1b9-20818ee3af29" providerId="AD" clId="Web-{E8BC73B5-E8BC-1063-265B-62B744D39817}" dt="2025-02-24T07:33:44.095" v="185" actId="20577"/>
        <pc:sldMkLst>
          <pc:docMk/>
          <pc:sldMk cId="3282318532" sldId="2147475073"/>
        </pc:sldMkLst>
        <pc:spChg chg="mod">
          <ac:chgData name="Liu, He [JRDCN]" userId="S::hliu167@its.jnj.com::384640c7-0ce5-44d3-a1b9-20818ee3af29" providerId="AD" clId="Web-{E8BC73B5-E8BC-1063-265B-62B744D39817}" dt="2025-02-24T07:33:38.657" v="184" actId="20577"/>
          <ac:spMkLst>
            <pc:docMk/>
            <pc:sldMk cId="3282318532" sldId="2147475073"/>
            <ac:spMk id="2" creationId="{1CAF6D22-FE49-2F14-A1B8-FF7C7BEC537E}"/>
          </ac:spMkLst>
        </pc:spChg>
        <pc:spChg chg="mod">
          <ac:chgData name="Liu, He [JRDCN]" userId="S::hliu167@its.jnj.com::384640c7-0ce5-44d3-a1b9-20818ee3af29" providerId="AD" clId="Web-{E8BC73B5-E8BC-1063-265B-62B744D39817}" dt="2025-02-24T07:33:44.095" v="185" actId="20577"/>
          <ac:spMkLst>
            <pc:docMk/>
            <pc:sldMk cId="3282318532" sldId="2147475073"/>
            <ac:spMk id="3" creationId="{AAFB250F-0A68-2CB4-4E57-C2B510F6232A}"/>
          </ac:spMkLst>
        </pc:spChg>
      </pc:sldChg>
      <pc:sldChg chg="delSp modSp">
        <pc:chgData name="Liu, He [JRDCN]" userId="S::hliu167@its.jnj.com::384640c7-0ce5-44d3-a1b9-20818ee3af29" providerId="AD" clId="Web-{E8BC73B5-E8BC-1063-265B-62B744D39817}" dt="2025-02-24T07:33:52.423" v="188" actId="20577"/>
        <pc:sldMkLst>
          <pc:docMk/>
          <pc:sldMk cId="3358586209" sldId="2147475075"/>
        </pc:sldMkLst>
        <pc:spChg chg="mod">
          <ac:chgData name="Liu, He [JRDCN]" userId="S::hliu167@its.jnj.com::384640c7-0ce5-44d3-a1b9-20818ee3af29" providerId="AD" clId="Web-{E8BC73B5-E8BC-1063-265B-62B744D39817}" dt="2025-02-24T07:33:48.267" v="187" actId="20577"/>
          <ac:spMkLst>
            <pc:docMk/>
            <pc:sldMk cId="3358586209" sldId="2147475075"/>
            <ac:spMk id="2" creationId="{05758099-8C5C-2C22-0125-60BA3F47EC06}"/>
          </ac:spMkLst>
        </pc:spChg>
        <pc:spChg chg="mod">
          <ac:chgData name="Liu, He [JRDCN]" userId="S::hliu167@its.jnj.com::384640c7-0ce5-44d3-a1b9-20818ee3af29" providerId="AD" clId="Web-{E8BC73B5-E8BC-1063-265B-62B744D39817}" dt="2025-02-24T07:33:52.423" v="188" actId="20577"/>
          <ac:spMkLst>
            <pc:docMk/>
            <pc:sldMk cId="3358586209" sldId="2147475075"/>
            <ac:spMk id="3" creationId="{7A8AF212-FEB1-20B7-FD17-FEF0B4974F69}"/>
          </ac:spMkLst>
        </pc:spChg>
      </pc:sldChg>
      <pc:sldChg chg="delSp modSp">
        <pc:chgData name="Liu, He [JRDCN]" userId="S::hliu167@its.jnj.com::384640c7-0ce5-44d3-a1b9-20818ee3af29" providerId="AD" clId="Web-{E8BC73B5-E8BC-1063-265B-62B744D39817}" dt="2025-02-24T07:29:46.939" v="159" actId="20577"/>
        <pc:sldMkLst>
          <pc:docMk/>
          <pc:sldMk cId="2057768052" sldId="2147475093"/>
        </pc:sldMkLst>
        <pc:spChg chg="mod">
          <ac:chgData name="Liu, He [JRDCN]" userId="S::hliu167@its.jnj.com::384640c7-0ce5-44d3-a1b9-20818ee3af29" providerId="AD" clId="Web-{E8BC73B5-E8BC-1063-265B-62B744D39817}" dt="2025-02-24T07:28:58.221" v="151" actId="20577"/>
          <ac:spMkLst>
            <pc:docMk/>
            <pc:sldMk cId="2057768052" sldId="2147475093"/>
            <ac:spMk id="2" creationId="{DAA7FE2C-9853-0516-46A2-AF193DCBB1BD}"/>
          </ac:spMkLst>
        </pc:spChg>
        <pc:spChg chg="mod">
          <ac:chgData name="Liu, He [JRDCN]" userId="S::hliu167@its.jnj.com::384640c7-0ce5-44d3-a1b9-20818ee3af29" providerId="AD" clId="Web-{E8BC73B5-E8BC-1063-265B-62B744D39817}" dt="2025-02-24T07:29:46.939" v="159" actId="20577"/>
          <ac:spMkLst>
            <pc:docMk/>
            <pc:sldMk cId="2057768052" sldId="2147475093"/>
            <ac:spMk id="3" creationId="{02FE0827-2E46-0520-30DF-60510319B0D9}"/>
          </ac:spMkLst>
        </pc:spChg>
      </pc:sldChg>
      <pc:sldChg chg="delSp modSp">
        <pc:chgData name="Liu, He [JRDCN]" userId="S::hliu167@its.jnj.com::384640c7-0ce5-44d3-a1b9-20818ee3af29" providerId="AD" clId="Web-{E8BC73B5-E8BC-1063-265B-62B744D39817}" dt="2025-02-24T07:50:20.810" v="344" actId="20577"/>
        <pc:sldMkLst>
          <pc:docMk/>
          <pc:sldMk cId="1762563042" sldId="2147475095"/>
        </pc:sldMkLst>
        <pc:spChg chg="mod">
          <ac:chgData name="Liu, He [JRDCN]" userId="S::hliu167@its.jnj.com::384640c7-0ce5-44d3-a1b9-20818ee3af29" providerId="AD" clId="Web-{E8BC73B5-E8BC-1063-265B-62B744D39817}" dt="2025-02-24T07:50:15.966" v="343" actId="20577"/>
          <ac:spMkLst>
            <pc:docMk/>
            <pc:sldMk cId="1762563042" sldId="2147475095"/>
            <ac:spMk id="2" creationId="{ACB120CC-AE17-7D94-0874-6BBB4D4E9958}"/>
          </ac:spMkLst>
        </pc:spChg>
        <pc:spChg chg="mod">
          <ac:chgData name="Liu, He [JRDCN]" userId="S::hliu167@its.jnj.com::384640c7-0ce5-44d3-a1b9-20818ee3af29" providerId="AD" clId="Web-{E8BC73B5-E8BC-1063-265B-62B744D39817}" dt="2025-02-24T07:50:20.810" v="344" actId="20577"/>
          <ac:spMkLst>
            <pc:docMk/>
            <pc:sldMk cId="1762563042" sldId="2147475095"/>
            <ac:spMk id="3" creationId="{6C7E43C2-E37A-7A3D-02D7-F4DC9BD6E870}"/>
          </ac:spMkLst>
        </pc:spChg>
      </pc:sldChg>
      <pc:sldChg chg="modSp">
        <pc:chgData name="Liu, He [JRDCN]" userId="S::hliu167@its.jnj.com::384640c7-0ce5-44d3-a1b9-20818ee3af29" providerId="AD" clId="Web-{E8BC73B5-E8BC-1063-265B-62B744D39817}" dt="2025-02-24T07:28:48.987" v="150" actId="1076"/>
        <pc:sldMkLst>
          <pc:docMk/>
          <pc:sldMk cId="1028817494" sldId="2147475096"/>
        </pc:sldMkLst>
        <pc:spChg chg="mod">
          <ac:chgData name="Liu, He [JRDCN]" userId="S::hliu167@its.jnj.com::384640c7-0ce5-44d3-a1b9-20818ee3af29" providerId="AD" clId="Web-{E8BC73B5-E8BC-1063-265B-62B744D39817}" dt="2025-02-24T07:28:41.330" v="149" actId="1076"/>
          <ac:spMkLst>
            <pc:docMk/>
            <pc:sldMk cId="1028817494" sldId="2147475096"/>
            <ac:spMk id="2" creationId="{A2C28546-75FA-2288-66B9-4B38EAB2ED54}"/>
          </ac:spMkLst>
        </pc:spChg>
        <pc:spChg chg="mod">
          <ac:chgData name="Liu, He [JRDCN]" userId="S::hliu167@its.jnj.com::384640c7-0ce5-44d3-a1b9-20818ee3af29" providerId="AD" clId="Web-{E8BC73B5-E8BC-1063-265B-62B744D39817}" dt="2025-02-24T02:19:45" v="12" actId="1076"/>
          <ac:spMkLst>
            <pc:docMk/>
            <pc:sldMk cId="1028817494" sldId="2147475096"/>
            <ac:spMk id="4" creationId="{B6D18C57-DAE8-67D4-A8C9-60BFB71B45AF}"/>
          </ac:spMkLst>
        </pc:spChg>
        <pc:spChg chg="mod">
          <ac:chgData name="Liu, He [JRDCN]" userId="S::hliu167@its.jnj.com::384640c7-0ce5-44d3-a1b9-20818ee3af29" providerId="AD" clId="Web-{E8BC73B5-E8BC-1063-265B-62B744D39817}" dt="2025-02-24T07:28:48.987" v="150" actId="1076"/>
          <ac:spMkLst>
            <pc:docMk/>
            <pc:sldMk cId="1028817494" sldId="2147475096"/>
            <ac:spMk id="5" creationId="{A0BF93A9-0B43-B8DB-E9EE-69C111C7C91E}"/>
          </ac:spMkLst>
        </pc:spChg>
        <pc:spChg chg="mod">
          <ac:chgData name="Liu, He [JRDCN]" userId="S::hliu167@its.jnj.com::384640c7-0ce5-44d3-a1b9-20818ee3af29" providerId="AD" clId="Web-{E8BC73B5-E8BC-1063-265B-62B744D39817}" dt="2025-02-24T07:28:33.893" v="148"/>
          <ac:spMkLst>
            <pc:docMk/>
            <pc:sldMk cId="1028817494" sldId="2147475096"/>
            <ac:spMk id="6" creationId="{CC4559FA-EA09-21FC-6777-836425258FFB}"/>
          </ac:spMkLst>
        </pc:spChg>
        <pc:spChg chg="mod">
          <ac:chgData name="Liu, He [JRDCN]" userId="S::hliu167@its.jnj.com::384640c7-0ce5-44d3-a1b9-20818ee3af29" providerId="AD" clId="Web-{E8BC73B5-E8BC-1063-265B-62B744D39817}" dt="2025-02-24T07:28:09.877" v="145" actId="20577"/>
          <ac:spMkLst>
            <pc:docMk/>
            <pc:sldMk cId="1028817494" sldId="2147475096"/>
            <ac:spMk id="15" creationId="{48B0C43D-ED5A-7663-1343-E344ADF0640B}"/>
          </ac:spMkLst>
        </pc:spChg>
        <pc:picChg chg="mod">
          <ac:chgData name="Liu, He [JRDCN]" userId="S::hliu167@its.jnj.com::384640c7-0ce5-44d3-a1b9-20818ee3af29" providerId="AD" clId="Web-{E8BC73B5-E8BC-1063-265B-62B744D39817}" dt="2025-02-24T02:19:45.063" v="13" actId="1076"/>
          <ac:picMkLst>
            <pc:docMk/>
            <pc:sldMk cId="1028817494" sldId="2147475096"/>
            <ac:picMk id="3" creationId="{63948A48-2390-D514-ECED-06652FC4C43A}"/>
          </ac:picMkLst>
        </pc:picChg>
        <pc:picChg chg="mod">
          <ac:chgData name="Liu, He [JRDCN]" userId="S::hliu167@its.jnj.com::384640c7-0ce5-44d3-a1b9-20818ee3af29" providerId="AD" clId="Web-{E8BC73B5-E8BC-1063-265B-62B744D39817}" dt="2025-02-24T02:19:45.078" v="14" actId="1076"/>
          <ac:picMkLst>
            <pc:docMk/>
            <pc:sldMk cId="1028817494" sldId="2147475096"/>
            <ac:picMk id="9" creationId="{8C6146FC-9CAF-41FD-C9E9-4C6BDCA8ADE3}"/>
          </ac:picMkLst>
        </pc:picChg>
      </pc:sldChg>
      <pc:sldChg chg="delSp modSp">
        <pc:chgData name="Liu, He [JRDCN]" userId="S::hliu167@its.jnj.com::384640c7-0ce5-44d3-a1b9-20818ee3af29" providerId="AD" clId="Web-{E8BC73B5-E8BC-1063-265B-62B744D39817}" dt="2025-02-24T07:50:32.450" v="345" actId="20577"/>
        <pc:sldMkLst>
          <pc:docMk/>
          <pc:sldMk cId="1809446940" sldId="2147475098"/>
        </pc:sldMkLst>
        <pc:spChg chg="mod">
          <ac:chgData name="Liu, He [JRDCN]" userId="S::hliu167@its.jnj.com::384640c7-0ce5-44d3-a1b9-20818ee3af29" providerId="AD" clId="Web-{E8BC73B5-E8BC-1063-265B-62B744D39817}" dt="2025-02-24T07:50:32.450" v="345" actId="20577"/>
          <ac:spMkLst>
            <pc:docMk/>
            <pc:sldMk cId="1809446940" sldId="2147475098"/>
            <ac:spMk id="3" creationId="{D2602D26-978D-27E5-C7D8-1F2773BD662C}"/>
          </ac:spMkLst>
        </pc:spChg>
      </pc:sldChg>
      <pc:sldChg chg="modSp">
        <pc:chgData name="Liu, He [JRDCN]" userId="S::hliu167@its.jnj.com::384640c7-0ce5-44d3-a1b9-20818ee3af29" providerId="AD" clId="Web-{E8BC73B5-E8BC-1063-265B-62B744D39817}" dt="2025-02-24T07:37:57.984" v="231" actId="1076"/>
        <pc:sldMkLst>
          <pc:docMk/>
          <pc:sldMk cId="2326172511" sldId="2147475100"/>
        </pc:sldMkLst>
        <pc:spChg chg="mod">
          <ac:chgData name="Liu, He [JRDCN]" userId="S::hliu167@its.jnj.com::384640c7-0ce5-44d3-a1b9-20818ee3af29" providerId="AD" clId="Web-{E8BC73B5-E8BC-1063-265B-62B744D39817}" dt="2025-02-24T07:36:02.001" v="215" actId="1076"/>
          <ac:spMkLst>
            <pc:docMk/>
            <pc:sldMk cId="2326172511" sldId="2147475100"/>
            <ac:spMk id="2" creationId="{00000000-0000-0000-0000-000000000000}"/>
          </ac:spMkLst>
        </pc:spChg>
        <pc:spChg chg="mod">
          <ac:chgData name="Liu, He [JRDCN]" userId="S::hliu167@its.jnj.com::384640c7-0ce5-44d3-a1b9-20818ee3af29" providerId="AD" clId="Web-{E8BC73B5-E8BC-1063-265B-62B744D39817}" dt="2025-02-24T07:37:48.031" v="229" actId="14100"/>
          <ac:spMkLst>
            <pc:docMk/>
            <pc:sldMk cId="2326172511" sldId="2147475100"/>
            <ac:spMk id="3" creationId="{00000000-0000-0000-0000-000000000000}"/>
          </ac:spMkLst>
        </pc:spChg>
        <pc:spChg chg="mod">
          <ac:chgData name="Liu, He [JRDCN]" userId="S::hliu167@its.jnj.com::384640c7-0ce5-44d3-a1b9-20818ee3af29" providerId="AD" clId="Web-{E8BC73B5-E8BC-1063-265B-62B744D39817}" dt="2025-02-24T07:37:53.375" v="230" actId="1076"/>
          <ac:spMkLst>
            <pc:docMk/>
            <pc:sldMk cId="2326172511" sldId="2147475100"/>
            <ac:spMk id="5" creationId="{00000000-0000-0000-0000-000000000000}"/>
          </ac:spMkLst>
        </pc:spChg>
        <pc:spChg chg="mod">
          <ac:chgData name="Liu, He [JRDCN]" userId="S::hliu167@its.jnj.com::384640c7-0ce5-44d3-a1b9-20818ee3af29" providerId="AD" clId="Web-{E8BC73B5-E8BC-1063-265B-62B744D39817}" dt="2025-02-24T07:37:57.984" v="231" actId="1076"/>
          <ac:spMkLst>
            <pc:docMk/>
            <pc:sldMk cId="2326172511" sldId="2147475100"/>
            <ac:spMk id="6" creationId="{00000000-0000-0000-0000-000000000000}"/>
          </ac:spMkLst>
        </pc:spChg>
        <pc:spChg chg="mod">
          <ac:chgData name="Liu, He [JRDCN]" userId="S::hliu167@its.jnj.com::384640c7-0ce5-44d3-a1b9-20818ee3af29" providerId="AD" clId="Web-{E8BC73B5-E8BC-1063-265B-62B744D39817}" dt="2025-02-24T07:34:28.891" v="197" actId="20577"/>
          <ac:spMkLst>
            <pc:docMk/>
            <pc:sldMk cId="2326172511" sldId="2147475100"/>
            <ac:spMk id="16" creationId="{00000000-0000-0000-0000-000000000000}"/>
          </ac:spMkLst>
        </pc:spChg>
      </pc:sldChg>
      <pc:sldChg chg="modSp">
        <pc:chgData name="Liu, He [JRDCN]" userId="S::hliu167@its.jnj.com::384640c7-0ce5-44d3-a1b9-20818ee3af29" providerId="AD" clId="Web-{E8BC73B5-E8BC-1063-265B-62B744D39817}" dt="2025-02-24T07:37:28.781" v="228" actId="1076"/>
        <pc:sldMkLst>
          <pc:docMk/>
          <pc:sldMk cId="1570543059" sldId="2147475103"/>
        </pc:sldMkLst>
        <pc:spChg chg="mod">
          <ac:chgData name="Liu, He [JRDCN]" userId="S::hliu167@its.jnj.com::384640c7-0ce5-44d3-a1b9-20818ee3af29" providerId="AD" clId="Web-{E8BC73B5-E8BC-1063-265B-62B744D39817}" dt="2025-02-24T07:37:08.032" v="224" actId="20577"/>
          <ac:spMkLst>
            <pc:docMk/>
            <pc:sldMk cId="1570543059" sldId="2147475103"/>
            <ac:spMk id="9" creationId="{00000000-0000-0000-0000-000000000000}"/>
          </ac:spMkLst>
        </pc:spChg>
        <pc:spChg chg="mod">
          <ac:chgData name="Liu, He [JRDCN]" userId="S::hliu167@its.jnj.com::384640c7-0ce5-44d3-a1b9-20818ee3af29" providerId="AD" clId="Web-{E8BC73B5-E8BC-1063-265B-62B744D39817}" dt="2025-02-24T07:37:28.781" v="228" actId="1076"/>
          <ac:spMkLst>
            <pc:docMk/>
            <pc:sldMk cId="1570543059" sldId="2147475103"/>
            <ac:spMk id="10" creationId="{00000000-0000-0000-0000-000000000000}"/>
          </ac:spMkLst>
        </pc:spChg>
        <pc:spChg chg="mod">
          <ac:chgData name="Liu, He [JRDCN]" userId="S::hliu167@its.jnj.com::384640c7-0ce5-44d3-a1b9-20818ee3af29" providerId="AD" clId="Web-{E8BC73B5-E8BC-1063-265B-62B744D39817}" dt="2025-02-24T07:37:03.047" v="223" actId="20577"/>
          <ac:spMkLst>
            <pc:docMk/>
            <pc:sldMk cId="1570543059" sldId="2147475103"/>
            <ac:spMk id="21" creationId="{A1E32713-4AB3-3904-62A3-0E36FEAF3FA1}"/>
          </ac:spMkLst>
        </pc:spChg>
        <pc:picChg chg="mod">
          <ac:chgData name="Liu, He [JRDCN]" userId="S::hliu167@its.jnj.com::384640c7-0ce5-44d3-a1b9-20818ee3af29" providerId="AD" clId="Web-{E8BC73B5-E8BC-1063-265B-62B744D39817}" dt="2025-02-24T07:37:26.219" v="227" actId="1076"/>
          <ac:picMkLst>
            <pc:docMk/>
            <pc:sldMk cId="1570543059" sldId="2147475103"/>
            <ac:picMk id="17" creationId="{BC0AE5E5-08EC-932F-0FC9-4A627E7C9184}"/>
          </ac:picMkLst>
        </pc:picChg>
      </pc:sldChg>
      <pc:sldChg chg="modSp">
        <pc:chgData name="Liu, He [JRDCN]" userId="S::hliu167@its.jnj.com::384640c7-0ce5-44d3-a1b9-20818ee3af29" providerId="AD" clId="Web-{E8BC73B5-E8BC-1063-265B-62B744D39817}" dt="2025-02-24T07:38:51.937" v="241" actId="14100"/>
        <pc:sldMkLst>
          <pc:docMk/>
          <pc:sldMk cId="3488334976" sldId="2147475104"/>
        </pc:sldMkLst>
        <pc:spChg chg="mod">
          <ac:chgData name="Liu, He [JRDCN]" userId="S::hliu167@its.jnj.com::384640c7-0ce5-44d3-a1b9-20818ee3af29" providerId="AD" clId="Web-{E8BC73B5-E8BC-1063-265B-62B744D39817}" dt="2025-02-24T07:38:16.109" v="232" actId="20577"/>
          <ac:spMkLst>
            <pc:docMk/>
            <pc:sldMk cId="3488334976" sldId="2147475104"/>
            <ac:spMk id="4" creationId="{1FE4963B-0294-ECF5-776B-DA3666407BF2}"/>
          </ac:spMkLst>
        </pc:spChg>
        <pc:spChg chg="mod">
          <ac:chgData name="Liu, He [JRDCN]" userId="S::hliu167@its.jnj.com::384640c7-0ce5-44d3-a1b9-20818ee3af29" providerId="AD" clId="Web-{E8BC73B5-E8BC-1063-265B-62B744D39817}" dt="2025-02-24T07:38:20.766" v="233" actId="20577"/>
          <ac:spMkLst>
            <pc:docMk/>
            <pc:sldMk cId="3488334976" sldId="2147475104"/>
            <ac:spMk id="9" creationId="{00000000-0000-0000-0000-000000000000}"/>
          </ac:spMkLst>
        </pc:spChg>
        <pc:spChg chg="mod">
          <ac:chgData name="Liu, He [JRDCN]" userId="S::hliu167@its.jnj.com::384640c7-0ce5-44d3-a1b9-20818ee3af29" providerId="AD" clId="Web-{E8BC73B5-E8BC-1063-265B-62B744D39817}" dt="2025-02-24T07:38:33.266" v="236" actId="14100"/>
          <ac:spMkLst>
            <pc:docMk/>
            <pc:sldMk cId="3488334976" sldId="2147475104"/>
            <ac:spMk id="10" creationId="{00000000-0000-0000-0000-000000000000}"/>
          </ac:spMkLst>
        </pc:spChg>
        <pc:spChg chg="mod">
          <ac:chgData name="Liu, He [JRDCN]" userId="S::hliu167@its.jnj.com::384640c7-0ce5-44d3-a1b9-20818ee3af29" providerId="AD" clId="Web-{E8BC73B5-E8BC-1063-265B-62B744D39817}" dt="2025-02-24T07:38:51.937" v="241" actId="14100"/>
          <ac:spMkLst>
            <pc:docMk/>
            <pc:sldMk cId="3488334976" sldId="2147475104"/>
            <ac:spMk id="11" creationId="{2C382D4E-E52B-D6B8-5206-71DC02367DDA}"/>
          </ac:spMkLst>
        </pc:spChg>
      </pc:sldChg>
      <pc:sldChg chg="addSp delSp modSp">
        <pc:chgData name="Liu, He [JRDCN]" userId="S::hliu167@its.jnj.com::384640c7-0ce5-44d3-a1b9-20818ee3af29" providerId="AD" clId="Web-{E8BC73B5-E8BC-1063-265B-62B744D39817}" dt="2025-02-24T07:47:33.013" v="310" actId="1076"/>
        <pc:sldMkLst>
          <pc:docMk/>
          <pc:sldMk cId="1540865472" sldId="2147475105"/>
        </pc:sldMkLst>
        <pc:spChg chg="mod">
          <ac:chgData name="Liu, He [JRDCN]" userId="S::hliu167@its.jnj.com::384640c7-0ce5-44d3-a1b9-20818ee3af29" providerId="AD" clId="Web-{E8BC73B5-E8BC-1063-265B-62B744D39817}" dt="2025-02-24T07:41:22.468" v="260" actId="1076"/>
          <ac:spMkLst>
            <pc:docMk/>
            <pc:sldMk cId="1540865472" sldId="2147475105"/>
            <ac:spMk id="3" creationId="{98066992-74E7-C927-A528-DA943F06BB5F}"/>
          </ac:spMkLst>
        </pc:spChg>
        <pc:spChg chg="mod">
          <ac:chgData name="Liu, He [JRDCN]" userId="S::hliu167@its.jnj.com::384640c7-0ce5-44d3-a1b9-20818ee3af29" providerId="AD" clId="Web-{E8BC73B5-E8BC-1063-265B-62B744D39817}" dt="2025-02-24T07:46:14.311" v="303" actId="1076"/>
          <ac:spMkLst>
            <pc:docMk/>
            <pc:sldMk cId="1540865472" sldId="2147475105"/>
            <ac:spMk id="5" creationId="{51A40D87-1804-6FB9-5C54-48140A4F6691}"/>
          </ac:spMkLst>
        </pc:spChg>
        <pc:spChg chg="mod">
          <ac:chgData name="Liu, He [JRDCN]" userId="S::hliu167@its.jnj.com::384640c7-0ce5-44d3-a1b9-20818ee3af29" providerId="AD" clId="Web-{E8BC73B5-E8BC-1063-265B-62B744D39817}" dt="2025-02-24T07:45:53.326" v="299" actId="1076"/>
          <ac:spMkLst>
            <pc:docMk/>
            <pc:sldMk cId="1540865472" sldId="2147475105"/>
            <ac:spMk id="6" creationId="{7039889A-1504-6CD7-DF10-CB556124880B}"/>
          </ac:spMkLst>
        </pc:spChg>
        <pc:spChg chg="mod">
          <ac:chgData name="Liu, He [JRDCN]" userId="S::hliu167@its.jnj.com::384640c7-0ce5-44d3-a1b9-20818ee3af29" providerId="AD" clId="Web-{E8BC73B5-E8BC-1063-265B-62B744D39817}" dt="2025-02-24T07:42:32.796" v="275" actId="1076"/>
          <ac:spMkLst>
            <pc:docMk/>
            <pc:sldMk cId="1540865472" sldId="2147475105"/>
            <ac:spMk id="7" creationId="{DFC34E2F-A87F-69F8-34F7-70454B1DF164}"/>
          </ac:spMkLst>
        </pc:spChg>
        <pc:spChg chg="add mod">
          <ac:chgData name="Liu, He [JRDCN]" userId="S::hliu167@its.jnj.com::384640c7-0ce5-44d3-a1b9-20818ee3af29" providerId="AD" clId="Web-{E8BC73B5-E8BC-1063-265B-62B744D39817}" dt="2025-02-24T07:47:33.013" v="310" actId="1076"/>
          <ac:spMkLst>
            <pc:docMk/>
            <pc:sldMk cId="1540865472" sldId="2147475105"/>
            <ac:spMk id="8" creationId="{CBA3F0AF-5E87-732B-F3A5-8B7150C7FD24}"/>
          </ac:spMkLst>
        </pc:spChg>
        <pc:spChg chg="mod">
          <ac:chgData name="Liu, He [JRDCN]" userId="S::hliu167@its.jnj.com::384640c7-0ce5-44d3-a1b9-20818ee3af29" providerId="AD" clId="Web-{E8BC73B5-E8BC-1063-265B-62B744D39817}" dt="2025-02-24T07:42:59.108" v="277" actId="1076"/>
          <ac:spMkLst>
            <pc:docMk/>
            <pc:sldMk cId="1540865472" sldId="2147475105"/>
            <ac:spMk id="9" creationId="{30A318FE-3318-38BD-BCCF-25AF173D88AB}"/>
          </ac:spMkLst>
        </pc:spChg>
        <pc:spChg chg="mod">
          <ac:chgData name="Liu, He [JRDCN]" userId="S::hliu167@its.jnj.com::384640c7-0ce5-44d3-a1b9-20818ee3af29" providerId="AD" clId="Web-{E8BC73B5-E8BC-1063-265B-62B744D39817}" dt="2025-02-24T07:42:53.858" v="276" actId="1076"/>
          <ac:spMkLst>
            <pc:docMk/>
            <pc:sldMk cId="1540865472" sldId="2147475105"/>
            <ac:spMk id="10" creationId="{4F58F037-306B-062B-0144-993AED547A7C}"/>
          </ac:spMkLst>
        </pc:spChg>
        <pc:spChg chg="mod">
          <ac:chgData name="Liu, He [JRDCN]" userId="S::hliu167@its.jnj.com::384640c7-0ce5-44d3-a1b9-20818ee3af29" providerId="AD" clId="Web-{E8BC73B5-E8BC-1063-265B-62B744D39817}" dt="2025-02-24T07:39:39.422" v="242" actId="20577"/>
          <ac:spMkLst>
            <pc:docMk/>
            <pc:sldMk cId="1540865472" sldId="2147475105"/>
            <ac:spMk id="11" creationId="{EC9C032F-371E-C9BB-92D2-2DC8E75A340E}"/>
          </ac:spMkLst>
        </pc:spChg>
        <pc:spChg chg="mod">
          <ac:chgData name="Liu, He [JRDCN]" userId="S::hliu167@its.jnj.com::384640c7-0ce5-44d3-a1b9-20818ee3af29" providerId="AD" clId="Web-{E8BC73B5-E8BC-1063-265B-62B744D39817}" dt="2025-02-24T07:46:09.217" v="302" actId="1076"/>
          <ac:spMkLst>
            <pc:docMk/>
            <pc:sldMk cId="1540865472" sldId="2147475105"/>
            <ac:spMk id="16" creationId="{36138EF2-2AFB-84F0-09DF-E5D9003D9DDA}"/>
          </ac:spMkLst>
        </pc:spChg>
        <pc:picChg chg="mod">
          <ac:chgData name="Liu, He [JRDCN]" userId="S::hliu167@its.jnj.com::384640c7-0ce5-44d3-a1b9-20818ee3af29" providerId="AD" clId="Web-{E8BC73B5-E8BC-1063-265B-62B744D39817}" dt="2025-02-24T07:41:53.952" v="269" actId="1076"/>
          <ac:picMkLst>
            <pc:docMk/>
            <pc:sldMk cId="1540865472" sldId="2147475105"/>
            <ac:picMk id="17" creationId="{C0481B98-D0D1-1571-0C75-2C6FADB003AC}"/>
          </ac:picMkLst>
        </pc:picChg>
      </pc:sldChg>
      <pc:sldChg chg="modSp">
        <pc:chgData name="Liu, He [JRDCN]" userId="S::hliu167@its.jnj.com::384640c7-0ce5-44d3-a1b9-20818ee3af29" providerId="AD" clId="Web-{E8BC73B5-E8BC-1063-265B-62B744D39817}" dt="2025-02-24T07:48:41.419" v="318" actId="20577"/>
        <pc:sldMkLst>
          <pc:docMk/>
          <pc:sldMk cId="3517466903" sldId="2147475107"/>
        </pc:sldMkLst>
        <pc:spChg chg="mod">
          <ac:chgData name="Liu, He [JRDCN]" userId="S::hliu167@its.jnj.com::384640c7-0ce5-44d3-a1b9-20818ee3af29" providerId="AD" clId="Web-{E8BC73B5-E8BC-1063-265B-62B744D39817}" dt="2025-02-24T07:48:19.060" v="311" actId="20577"/>
          <ac:spMkLst>
            <pc:docMk/>
            <pc:sldMk cId="3517466903" sldId="2147475107"/>
            <ac:spMk id="3" creationId="{A503BD0A-750F-671A-B5F3-F83B81787F7B}"/>
          </ac:spMkLst>
        </pc:spChg>
        <pc:spChg chg="mod">
          <ac:chgData name="Liu, He [JRDCN]" userId="S::hliu167@its.jnj.com::384640c7-0ce5-44d3-a1b9-20818ee3af29" providerId="AD" clId="Web-{E8BC73B5-E8BC-1063-265B-62B744D39817}" dt="2025-02-24T07:48:24.248" v="312" actId="20577"/>
          <ac:spMkLst>
            <pc:docMk/>
            <pc:sldMk cId="3517466903" sldId="2147475107"/>
            <ac:spMk id="13" creationId="{4A636A30-89DD-9DCB-0438-F6D7866D481F}"/>
          </ac:spMkLst>
        </pc:spChg>
        <pc:spChg chg="mod">
          <ac:chgData name="Liu, He [JRDCN]" userId="S::hliu167@its.jnj.com::384640c7-0ce5-44d3-a1b9-20818ee3af29" providerId="AD" clId="Web-{E8BC73B5-E8BC-1063-265B-62B744D39817}" dt="2025-02-24T07:48:35.201" v="316" actId="20577"/>
          <ac:spMkLst>
            <pc:docMk/>
            <pc:sldMk cId="3517466903" sldId="2147475107"/>
            <ac:spMk id="14" creationId="{C9EBED70-8097-D427-459A-33AFE128C8BC}"/>
          </ac:spMkLst>
        </pc:spChg>
        <pc:spChg chg="mod">
          <ac:chgData name="Liu, He [JRDCN]" userId="S::hliu167@its.jnj.com::384640c7-0ce5-44d3-a1b9-20818ee3af29" providerId="AD" clId="Web-{E8BC73B5-E8BC-1063-265B-62B744D39817}" dt="2025-02-24T07:48:41.419" v="318" actId="20577"/>
          <ac:spMkLst>
            <pc:docMk/>
            <pc:sldMk cId="3517466903" sldId="2147475107"/>
            <ac:spMk id="16" creationId="{B7CBEF4B-D388-E63B-78CD-E8C24DC027DF}"/>
          </ac:spMkLst>
        </pc:spChg>
      </pc:sldChg>
      <pc:sldChg chg="delSp modSp">
        <pc:chgData name="Liu, He [JRDCN]" userId="S::hliu167@its.jnj.com::384640c7-0ce5-44d3-a1b9-20818ee3af29" providerId="AD" clId="Web-{E8BC73B5-E8BC-1063-265B-62B744D39817}" dt="2025-02-24T07:34:21.782" v="196" actId="20577"/>
        <pc:sldMkLst>
          <pc:docMk/>
          <pc:sldMk cId="1674319455" sldId="2147475108"/>
        </pc:sldMkLst>
        <pc:spChg chg="mod">
          <ac:chgData name="Liu, He [JRDCN]" userId="S::hliu167@its.jnj.com::384640c7-0ce5-44d3-a1b9-20818ee3af29" providerId="AD" clId="Web-{E8BC73B5-E8BC-1063-265B-62B744D39817}" dt="2025-02-24T07:34:21.782" v="196" actId="20577"/>
          <ac:spMkLst>
            <pc:docMk/>
            <pc:sldMk cId="1674319455" sldId="2147475108"/>
            <ac:spMk id="2" creationId="{238FAC1F-7252-661A-15B9-FA2C680AF8A2}"/>
          </ac:spMkLst>
        </pc:spChg>
      </pc:sldChg>
      <pc:sldChg chg="addSp delSp modSp new del">
        <pc:chgData name="Liu, He [JRDCN]" userId="S::hliu167@its.jnj.com::384640c7-0ce5-44d3-a1b9-20818ee3af29" providerId="AD" clId="Web-{E8BC73B5-E8BC-1063-265B-62B744D39817}" dt="2025-02-24T07:46:25.779" v="306"/>
        <pc:sldMkLst>
          <pc:docMk/>
          <pc:sldMk cId="2030798964" sldId="2147475109"/>
        </pc:sldMkLst>
      </pc:sldChg>
      <pc:sldChg chg="add del replId">
        <pc:chgData name="Liu, He [JRDCN]" userId="S::hliu167@its.jnj.com::384640c7-0ce5-44d3-a1b9-20818ee3af29" providerId="AD" clId="Web-{E8BC73B5-E8BC-1063-265B-62B744D39817}" dt="2025-02-24T07:46:22.326" v="305"/>
        <pc:sldMkLst>
          <pc:docMk/>
          <pc:sldMk cId="211143828" sldId="2147475110"/>
        </pc:sldMkLst>
      </pc:sldChg>
      <pc:sldChg chg="add del replId">
        <pc:chgData name="Liu, He [JRDCN]" userId="S::hliu167@its.jnj.com::384640c7-0ce5-44d3-a1b9-20818ee3af29" providerId="AD" clId="Web-{E8BC73B5-E8BC-1063-265B-62B744D39817}" dt="2025-02-24T07:46:17.357" v="304"/>
        <pc:sldMkLst>
          <pc:docMk/>
          <pc:sldMk cId="3859675160" sldId="2147475111"/>
        </pc:sldMkLst>
      </pc:sldChg>
    </pc:docChg>
  </pc:docChgLst>
  <pc:docChgLst>
    <pc:chgData name="Liu, He [JRDCN]" userId="S::hliu167@its.jnj.com::384640c7-0ce5-44d3-a1b9-20818ee3af29" providerId="AD" clId="Web-{AF23DAC2-0068-B873-D4AB-A482C139B7E8}"/>
    <pc:docChg chg="addSld delSld modSld">
      <pc:chgData name="Liu, He [JRDCN]" userId="S::hliu167@its.jnj.com::384640c7-0ce5-44d3-a1b9-20818ee3af29" providerId="AD" clId="Web-{AF23DAC2-0068-B873-D4AB-A482C139B7E8}" dt="2025-03-24T01:48:36.532" v="95"/>
      <pc:docMkLst>
        <pc:docMk/>
      </pc:docMkLst>
      <pc:sldChg chg="modSp">
        <pc:chgData name="Liu, He [JRDCN]" userId="S::hliu167@its.jnj.com::384640c7-0ce5-44d3-a1b9-20818ee3af29" providerId="AD" clId="Web-{AF23DAC2-0068-B873-D4AB-A482C139B7E8}" dt="2025-03-24T01:46:06.387" v="72" actId="1076"/>
        <pc:sldMkLst>
          <pc:docMk/>
          <pc:sldMk cId="3488334976" sldId="2147475104"/>
        </pc:sldMkLst>
        <pc:spChg chg="mod">
          <ac:chgData name="Liu, He [JRDCN]" userId="S::hliu167@its.jnj.com::384640c7-0ce5-44d3-a1b9-20818ee3af29" providerId="AD" clId="Web-{AF23DAC2-0068-B873-D4AB-A482C139B7E8}" dt="2025-03-24T01:46:06.387" v="72" actId="1076"/>
          <ac:spMkLst>
            <pc:docMk/>
            <pc:sldMk cId="3488334976" sldId="2147475104"/>
            <ac:spMk id="2" creationId="{00000000-0000-0000-0000-000000000000}"/>
          </ac:spMkLst>
        </pc:spChg>
      </pc:sldChg>
      <pc:sldChg chg="delSp modSp add del">
        <pc:chgData name="Liu, He [JRDCN]" userId="S::hliu167@its.jnj.com::384640c7-0ce5-44d3-a1b9-20818ee3af29" providerId="AD" clId="Web-{AF23DAC2-0068-B873-D4AB-A482C139B7E8}" dt="2025-03-24T01:45:15.589" v="66"/>
        <pc:sldMkLst>
          <pc:docMk/>
          <pc:sldMk cId="1540865472" sldId="2147475105"/>
        </pc:sldMkLst>
        <pc:spChg chg="del mod">
          <ac:chgData name="Liu, He [JRDCN]" userId="S::hliu167@its.jnj.com::384640c7-0ce5-44d3-a1b9-20818ee3af29" providerId="AD" clId="Web-{AF23DAC2-0068-B873-D4AB-A482C139B7E8}" dt="2025-03-24T01:44:04.634" v="61"/>
          <ac:spMkLst>
            <pc:docMk/>
            <pc:sldMk cId="1540865472" sldId="2147475105"/>
            <ac:spMk id="2" creationId="{59F569B3-3987-3609-8C4D-7F5DB0B69EDF}"/>
          </ac:spMkLst>
        </pc:spChg>
        <pc:spChg chg="mod">
          <ac:chgData name="Liu, He [JRDCN]" userId="S::hliu167@its.jnj.com::384640c7-0ce5-44d3-a1b9-20818ee3af29" providerId="AD" clId="Web-{AF23DAC2-0068-B873-D4AB-A482C139B7E8}" dt="2025-03-24T01:42:09.818" v="35" actId="14100"/>
          <ac:spMkLst>
            <pc:docMk/>
            <pc:sldMk cId="1540865472" sldId="2147475105"/>
            <ac:spMk id="8" creationId="{CBA3F0AF-5E87-732B-F3A5-8B7150C7FD24}"/>
          </ac:spMkLst>
        </pc:spChg>
        <pc:picChg chg="del">
          <ac:chgData name="Liu, He [JRDCN]" userId="S::hliu167@its.jnj.com::384640c7-0ce5-44d3-a1b9-20818ee3af29" providerId="AD" clId="Web-{AF23DAC2-0068-B873-D4AB-A482C139B7E8}" dt="2025-03-24T01:42:59.975" v="46"/>
          <ac:picMkLst>
            <pc:docMk/>
            <pc:sldMk cId="1540865472" sldId="2147475105"/>
            <ac:picMk id="17" creationId="{C0481B98-D0D1-1571-0C75-2C6FADB003AC}"/>
          </ac:picMkLst>
        </pc:picChg>
      </pc:sldChg>
      <pc:sldChg chg="addSp delSp modSp">
        <pc:chgData name="Liu, He [JRDCN]" userId="S::hliu167@its.jnj.com::384640c7-0ce5-44d3-a1b9-20818ee3af29" providerId="AD" clId="Web-{AF23DAC2-0068-B873-D4AB-A482C139B7E8}" dt="2025-03-24T01:48:31.095" v="94" actId="1076"/>
        <pc:sldMkLst>
          <pc:docMk/>
          <pc:sldMk cId="3517466903" sldId="2147475107"/>
        </pc:sldMkLst>
        <pc:spChg chg="add mod">
          <ac:chgData name="Liu, He [JRDCN]" userId="S::hliu167@its.jnj.com::384640c7-0ce5-44d3-a1b9-20818ee3af29" providerId="AD" clId="Web-{AF23DAC2-0068-B873-D4AB-A482C139B7E8}" dt="2025-03-24T01:43:18.585" v="50" actId="1076"/>
          <ac:spMkLst>
            <pc:docMk/>
            <pc:sldMk cId="3517466903" sldId="2147475107"/>
            <ac:spMk id="5" creationId="{28144281-D98E-9B03-3225-941C4CAD2E5E}"/>
          </ac:spMkLst>
        </pc:spChg>
        <pc:spChg chg="add mod">
          <ac:chgData name="Liu, He [JRDCN]" userId="S::hliu167@its.jnj.com::384640c7-0ce5-44d3-a1b9-20818ee3af29" providerId="AD" clId="Web-{AF23DAC2-0068-B873-D4AB-A482C139B7E8}" dt="2025-03-24T01:43:21.960" v="51" actId="1076"/>
          <ac:spMkLst>
            <pc:docMk/>
            <pc:sldMk cId="3517466903" sldId="2147475107"/>
            <ac:spMk id="7" creationId="{C209B5E8-1BD7-57FC-4756-DEF7F3885136}"/>
          </ac:spMkLst>
        </pc:spChg>
        <pc:spChg chg="add mod">
          <ac:chgData name="Liu, He [JRDCN]" userId="S::hliu167@its.jnj.com::384640c7-0ce5-44d3-a1b9-20818ee3af29" providerId="AD" clId="Web-{AF23DAC2-0068-B873-D4AB-A482C139B7E8}" dt="2025-03-24T01:48:31.095" v="94" actId="1076"/>
          <ac:spMkLst>
            <pc:docMk/>
            <pc:sldMk cId="3517466903" sldId="2147475107"/>
            <ac:spMk id="10" creationId="{195CFB53-6548-2A04-388E-9B06EE1C0AB8}"/>
          </ac:spMkLst>
        </pc:spChg>
        <pc:spChg chg="mod">
          <ac:chgData name="Liu, He [JRDCN]" userId="S::hliu167@its.jnj.com::384640c7-0ce5-44d3-a1b9-20818ee3af29" providerId="AD" clId="Web-{AF23DAC2-0068-B873-D4AB-A482C139B7E8}" dt="2025-03-24T01:48:15.297" v="91" actId="1076"/>
          <ac:spMkLst>
            <pc:docMk/>
            <pc:sldMk cId="3517466903" sldId="2147475107"/>
            <ac:spMk id="11" creationId="{28698A22-E380-CD09-5C9B-76CCA18C621D}"/>
          </ac:spMkLst>
        </pc:spChg>
        <pc:spChg chg="mod">
          <ac:chgData name="Liu, He [JRDCN]" userId="S::hliu167@its.jnj.com::384640c7-0ce5-44d3-a1b9-20818ee3af29" providerId="AD" clId="Web-{AF23DAC2-0068-B873-D4AB-A482C139B7E8}" dt="2025-03-24T01:43:33.820" v="54" actId="1076"/>
          <ac:spMkLst>
            <pc:docMk/>
            <pc:sldMk cId="3517466903" sldId="2147475107"/>
            <ac:spMk id="13" creationId="{4A636A30-89DD-9DCB-0438-F6D7866D481F}"/>
          </ac:spMkLst>
        </pc:spChg>
        <pc:spChg chg="mod">
          <ac:chgData name="Liu, He [JRDCN]" userId="S::hliu167@its.jnj.com::384640c7-0ce5-44d3-a1b9-20818ee3af29" providerId="AD" clId="Web-{AF23DAC2-0068-B873-D4AB-A482C139B7E8}" dt="2025-03-24T01:43:31.164" v="53" actId="1076"/>
          <ac:spMkLst>
            <pc:docMk/>
            <pc:sldMk cId="3517466903" sldId="2147475107"/>
            <ac:spMk id="14" creationId="{C9EBED70-8097-D427-459A-33AFE128C8BC}"/>
          </ac:spMkLst>
        </pc:spChg>
        <pc:spChg chg="del">
          <ac:chgData name="Liu, He [JRDCN]" userId="S::hliu167@its.jnj.com::384640c7-0ce5-44d3-a1b9-20818ee3af29" providerId="AD" clId="Web-{AF23DAC2-0068-B873-D4AB-A482C139B7E8}" dt="2025-03-24T01:39:47.438" v="11"/>
          <ac:spMkLst>
            <pc:docMk/>
            <pc:sldMk cId="3517466903" sldId="2147475107"/>
            <ac:spMk id="16" creationId="{B7CBEF4B-D388-E63B-78CD-E8C24DC027DF}"/>
          </ac:spMkLst>
        </pc:spChg>
        <pc:picChg chg="add mod">
          <ac:chgData name="Liu, He [JRDCN]" userId="S::hliu167@its.jnj.com::384640c7-0ce5-44d3-a1b9-20818ee3af29" providerId="AD" clId="Web-{AF23DAC2-0068-B873-D4AB-A482C139B7E8}" dt="2025-03-24T01:43:50.743" v="59" actId="1076"/>
          <ac:picMkLst>
            <pc:docMk/>
            <pc:sldMk cId="3517466903" sldId="2147475107"/>
            <ac:picMk id="8" creationId="{5FF44097-A2EC-71EE-3FA7-9628EB627B4F}"/>
          </ac:picMkLst>
        </pc:picChg>
        <pc:picChg chg="mod">
          <ac:chgData name="Liu, He [JRDCN]" userId="S::hliu167@its.jnj.com::384640c7-0ce5-44d3-a1b9-20818ee3af29" providerId="AD" clId="Web-{AF23DAC2-0068-B873-D4AB-A482C139B7E8}" dt="2025-03-24T01:43:25.039" v="52" actId="1076"/>
          <ac:picMkLst>
            <pc:docMk/>
            <pc:sldMk cId="3517466903" sldId="2147475107"/>
            <ac:picMk id="21" creationId="{9439B478-AF03-6EDF-CAB3-0C2A1E9B8058}"/>
          </ac:picMkLst>
        </pc:picChg>
        <pc:picChg chg="del">
          <ac:chgData name="Liu, He [JRDCN]" userId="S::hliu167@its.jnj.com::384640c7-0ce5-44d3-a1b9-20818ee3af29" providerId="AD" clId="Web-{AF23DAC2-0068-B873-D4AB-A482C139B7E8}" dt="2025-03-24T01:39:58.595" v="13"/>
          <ac:picMkLst>
            <pc:docMk/>
            <pc:sldMk cId="3517466903" sldId="2147475107"/>
            <ac:picMk id="22" creationId="{EB8B0638-10D7-D664-57D7-BEFB393D8836}"/>
          </ac:picMkLst>
        </pc:picChg>
      </pc:sldChg>
      <pc:sldChg chg="new del">
        <pc:chgData name="Liu, He [JRDCN]" userId="S::hliu167@its.jnj.com::384640c7-0ce5-44d3-a1b9-20818ee3af29" providerId="AD" clId="Web-{AF23DAC2-0068-B873-D4AB-A482C139B7E8}" dt="2025-03-24T01:38:33.795" v="1"/>
        <pc:sldMkLst>
          <pc:docMk/>
          <pc:sldMk cId="1669039512" sldId="2147475110"/>
        </pc:sldMkLst>
      </pc:sldChg>
      <pc:sldChg chg="addSp delSp modSp add del replId">
        <pc:chgData name="Liu, He [JRDCN]" userId="S::hliu167@its.jnj.com::384640c7-0ce5-44d3-a1b9-20818ee3af29" providerId="AD" clId="Web-{AF23DAC2-0068-B873-D4AB-A482C139B7E8}" dt="2025-03-24T01:48:36.532" v="95"/>
        <pc:sldMkLst>
          <pc:docMk/>
          <pc:sldMk cId="2109917074" sldId="2147475110"/>
        </pc:sldMkLst>
        <pc:spChg chg="del">
          <ac:chgData name="Liu, He [JRDCN]" userId="S::hliu167@its.jnj.com::384640c7-0ce5-44d3-a1b9-20818ee3af29" providerId="AD" clId="Web-{AF23DAC2-0068-B873-D4AB-A482C139B7E8}" dt="2025-03-24T01:39:06.249" v="5"/>
          <ac:spMkLst>
            <pc:docMk/>
            <pc:sldMk cId="2109917074" sldId="2147475110"/>
            <ac:spMk id="2" creationId="{C0527ECD-1A3C-24CE-A546-26E2CF9D483D}"/>
          </ac:spMkLst>
        </pc:spChg>
        <pc:spChg chg="add mod">
          <ac:chgData name="Liu, He [JRDCN]" userId="S::hliu167@its.jnj.com::384640c7-0ce5-44d3-a1b9-20818ee3af29" providerId="AD" clId="Web-{AF23DAC2-0068-B873-D4AB-A482C139B7E8}" dt="2025-03-24T01:41:16.019" v="28" actId="1076"/>
          <ac:spMkLst>
            <pc:docMk/>
            <pc:sldMk cId="2109917074" sldId="2147475110"/>
            <ac:spMk id="4" creationId="{B7CBEF4B-D388-E63B-78CD-E8C24DC027DF}"/>
          </ac:spMkLst>
        </pc:spChg>
        <pc:spChg chg="mod">
          <ac:chgData name="Liu, He [JRDCN]" userId="S::hliu167@its.jnj.com::384640c7-0ce5-44d3-a1b9-20818ee3af29" providerId="AD" clId="Web-{AF23DAC2-0068-B873-D4AB-A482C139B7E8}" dt="2025-03-24T01:39:38.344" v="10" actId="1076"/>
          <ac:spMkLst>
            <pc:docMk/>
            <pc:sldMk cId="2109917074" sldId="2147475110"/>
            <ac:spMk id="7" creationId="{4DB20AAE-C4CA-BF86-66C5-B28F46CE3704}"/>
          </ac:spMkLst>
        </pc:spChg>
        <pc:spChg chg="mod">
          <ac:chgData name="Liu, He [JRDCN]" userId="S::hliu167@its.jnj.com::384640c7-0ce5-44d3-a1b9-20818ee3af29" providerId="AD" clId="Web-{AF23DAC2-0068-B873-D4AB-A482C139B7E8}" dt="2025-03-24T01:41:23.379" v="29" actId="1076"/>
          <ac:spMkLst>
            <pc:docMk/>
            <pc:sldMk cId="2109917074" sldId="2147475110"/>
            <ac:spMk id="8" creationId="{75DF5E8A-936D-7D1B-F6EF-782C69FFB902}"/>
          </ac:spMkLst>
        </pc:spChg>
        <pc:spChg chg="del">
          <ac:chgData name="Liu, He [JRDCN]" userId="S::hliu167@its.jnj.com::384640c7-0ce5-44d3-a1b9-20818ee3af29" providerId="AD" clId="Web-{AF23DAC2-0068-B873-D4AB-A482C139B7E8}" dt="2025-03-24T01:39:12.140" v="6"/>
          <ac:spMkLst>
            <pc:docMk/>
            <pc:sldMk cId="2109917074" sldId="2147475110"/>
            <ac:spMk id="9" creationId="{D4DDC7AF-9678-5BC1-F7E7-E6FF896897F4}"/>
          </ac:spMkLst>
        </pc:spChg>
        <pc:spChg chg="del">
          <ac:chgData name="Liu, He [JRDCN]" userId="S::hliu167@its.jnj.com::384640c7-0ce5-44d3-a1b9-20818ee3af29" providerId="AD" clId="Web-{AF23DAC2-0068-B873-D4AB-A482C139B7E8}" dt="2025-03-24T01:39:00.859" v="4"/>
          <ac:spMkLst>
            <pc:docMk/>
            <pc:sldMk cId="2109917074" sldId="2147475110"/>
            <ac:spMk id="10" creationId="{951ECB7E-57C8-271A-0D0F-AC4D28A4E690}"/>
          </ac:spMkLst>
        </pc:spChg>
        <pc:spChg chg="add del mod">
          <ac:chgData name="Liu, He [JRDCN]" userId="S::hliu167@its.jnj.com::384640c7-0ce5-44d3-a1b9-20818ee3af29" providerId="AD" clId="Web-{AF23DAC2-0068-B873-D4AB-A482C139B7E8}" dt="2025-03-24T01:45:28.402" v="68"/>
          <ac:spMkLst>
            <pc:docMk/>
            <pc:sldMk cId="2109917074" sldId="2147475110"/>
            <ac:spMk id="13" creationId="{59F569B3-3987-3609-8C4D-7F5DB0B69EDF}"/>
          </ac:spMkLst>
        </pc:spChg>
        <pc:spChg chg="mod">
          <ac:chgData name="Liu, He [JRDCN]" userId="S::hliu167@its.jnj.com::384640c7-0ce5-44d3-a1b9-20818ee3af29" providerId="AD" clId="Web-{AF23DAC2-0068-B873-D4AB-A482C139B7E8}" dt="2025-03-24T01:41:25.426" v="30" actId="1076"/>
          <ac:spMkLst>
            <pc:docMk/>
            <pc:sldMk cId="2109917074" sldId="2147475110"/>
            <ac:spMk id="16" creationId="{06A5ECC6-AF86-80E6-01AB-59FE160AB3CD}"/>
          </ac:spMkLst>
        </pc:spChg>
        <pc:picChg chg="add del mod">
          <ac:chgData name="Liu, He [JRDCN]" userId="S::hliu167@its.jnj.com::384640c7-0ce5-44d3-a1b9-20818ee3af29" providerId="AD" clId="Web-{AF23DAC2-0068-B873-D4AB-A482C139B7E8}" dt="2025-03-24T01:41:09.519" v="26"/>
          <ac:picMkLst>
            <pc:docMk/>
            <pc:sldMk cId="2109917074" sldId="2147475110"/>
            <ac:picMk id="12" creationId="{68025776-5EBD-1253-1510-BD9429A37DD7}"/>
          </ac:picMkLst>
        </pc:picChg>
        <pc:picChg chg="del">
          <ac:chgData name="Liu, He [JRDCN]" userId="S::hliu167@its.jnj.com::384640c7-0ce5-44d3-a1b9-20818ee3af29" providerId="AD" clId="Web-{AF23DAC2-0068-B873-D4AB-A482C139B7E8}" dt="2025-03-24T01:39:14.125" v="7"/>
          <ac:picMkLst>
            <pc:docMk/>
            <pc:sldMk cId="2109917074" sldId="2147475110"/>
            <ac:picMk id="17" creationId="{AD02D048-5501-513A-62B8-716A6898B69F}"/>
          </ac:picMkLst>
        </pc:picChg>
      </pc:sldChg>
      <pc:sldChg chg="addSp modSp new">
        <pc:chgData name="Liu, He [JRDCN]" userId="S::hliu167@its.jnj.com::384640c7-0ce5-44d3-a1b9-20818ee3af29" providerId="AD" clId="Web-{AF23DAC2-0068-B873-D4AB-A482C139B7E8}" dt="2025-03-24T01:47:53.531" v="88" actId="1076"/>
        <pc:sldMkLst>
          <pc:docMk/>
          <pc:sldMk cId="3006730073" sldId="2147475111"/>
        </pc:sldMkLst>
        <pc:spChg chg="add mod">
          <ac:chgData name="Liu, He [JRDCN]" userId="S::hliu167@its.jnj.com::384640c7-0ce5-44d3-a1b9-20818ee3af29" providerId="AD" clId="Web-{AF23DAC2-0068-B873-D4AB-A482C139B7E8}" dt="2025-03-24T01:45:58.981" v="71" actId="1076"/>
          <ac:spMkLst>
            <pc:docMk/>
            <pc:sldMk cId="3006730073" sldId="2147475111"/>
            <ac:spMk id="3" creationId="{75DC22F4-AFD1-2877-3983-706CA8EDFA3E}"/>
          </ac:spMkLst>
        </pc:spChg>
        <pc:spChg chg="add mod">
          <ac:chgData name="Liu, He [JRDCN]" userId="S::hliu167@its.jnj.com::384640c7-0ce5-44d3-a1b9-20818ee3af29" providerId="AD" clId="Web-{AF23DAC2-0068-B873-D4AB-A482C139B7E8}" dt="2025-03-24T01:46:50.232" v="77" actId="14100"/>
          <ac:spMkLst>
            <pc:docMk/>
            <pc:sldMk cId="3006730073" sldId="2147475111"/>
            <ac:spMk id="5" creationId="{92C116D9-E563-2728-EB62-5E9F093C68B5}"/>
          </ac:spMkLst>
        </pc:spChg>
        <pc:spChg chg="add">
          <ac:chgData name="Liu, He [JRDCN]" userId="S::hliu167@its.jnj.com::384640c7-0ce5-44d3-a1b9-20818ee3af29" providerId="AD" clId="Web-{AF23DAC2-0068-B873-D4AB-A482C139B7E8}" dt="2025-03-24T01:47:00.826" v="78"/>
          <ac:spMkLst>
            <pc:docMk/>
            <pc:sldMk cId="3006730073" sldId="2147475111"/>
            <ac:spMk id="7" creationId="{0F23CCD2-4DD9-E179-309D-C9AFC66890C4}"/>
          </ac:spMkLst>
        </pc:spChg>
        <pc:spChg chg="add mod">
          <ac:chgData name="Liu, He [JRDCN]" userId="S::hliu167@its.jnj.com::384640c7-0ce5-44d3-a1b9-20818ee3af29" providerId="AD" clId="Web-{AF23DAC2-0068-B873-D4AB-A482C139B7E8}" dt="2025-03-24T01:47:53.531" v="88" actId="1076"/>
          <ac:spMkLst>
            <pc:docMk/>
            <pc:sldMk cId="3006730073" sldId="2147475111"/>
            <ac:spMk id="9" creationId="{5658A25A-020A-6B4E-8F89-3530D2DC650D}"/>
          </ac:spMkLst>
        </pc:spChg>
        <pc:spChg chg="add mod">
          <ac:chgData name="Liu, He [JRDCN]" userId="S::hliu167@its.jnj.com::384640c7-0ce5-44d3-a1b9-20818ee3af29" providerId="AD" clId="Web-{AF23DAC2-0068-B873-D4AB-A482C139B7E8}" dt="2025-03-24T01:47:50.672" v="87" actId="1076"/>
          <ac:spMkLst>
            <pc:docMk/>
            <pc:sldMk cId="3006730073" sldId="2147475111"/>
            <ac:spMk id="11" creationId="{E06E7763-FBD0-0143-8803-AE43F1EF7F06}"/>
          </ac:spMkLst>
        </pc:spChg>
        <pc:spChg chg="add mod">
          <ac:chgData name="Liu, He [JRDCN]" userId="S::hliu167@its.jnj.com::384640c7-0ce5-44d3-a1b9-20818ee3af29" providerId="AD" clId="Web-{AF23DAC2-0068-B873-D4AB-A482C139B7E8}" dt="2025-03-24T01:47:49.062" v="86" actId="1076"/>
          <ac:spMkLst>
            <pc:docMk/>
            <pc:sldMk cId="3006730073" sldId="2147475111"/>
            <ac:spMk id="13" creationId="{61B82DB4-B6CD-D852-82DA-D7966E8B8D19}"/>
          </ac:spMkLst>
        </pc:spChg>
        <pc:spChg chg="add mod">
          <ac:chgData name="Liu, He [JRDCN]" userId="S::hliu167@its.jnj.com::384640c7-0ce5-44d3-a1b9-20818ee3af29" providerId="AD" clId="Web-{AF23DAC2-0068-B873-D4AB-A482C139B7E8}" dt="2025-03-24T01:47:46.890" v="85" actId="1076"/>
          <ac:spMkLst>
            <pc:docMk/>
            <pc:sldMk cId="3006730073" sldId="2147475111"/>
            <ac:spMk id="15" creationId="{D3F2E347-40D5-1065-5E51-1FD1B8C802E4}"/>
          </ac:spMkLst>
        </pc:spChg>
        <pc:spChg chg="add">
          <ac:chgData name="Liu, He [JRDCN]" userId="S::hliu167@its.jnj.com::384640c7-0ce5-44d3-a1b9-20818ee3af29" providerId="AD" clId="Web-{AF23DAC2-0068-B873-D4AB-A482C139B7E8}" dt="2025-03-24T01:47:33.374" v="83"/>
          <ac:spMkLst>
            <pc:docMk/>
            <pc:sldMk cId="3006730073" sldId="2147475111"/>
            <ac:spMk id="17" creationId="{80BED48D-F253-2065-80E5-24DE4118262D}"/>
          </ac:spMkLst>
        </pc:spChg>
        <pc:spChg chg="add">
          <ac:chgData name="Liu, He [JRDCN]" userId="S::hliu167@its.jnj.com::384640c7-0ce5-44d3-a1b9-20818ee3af29" providerId="AD" clId="Web-{AF23DAC2-0068-B873-D4AB-A482C139B7E8}" dt="2025-03-24T01:47:37.781" v="84"/>
          <ac:spMkLst>
            <pc:docMk/>
            <pc:sldMk cId="3006730073" sldId="2147475111"/>
            <ac:spMk id="19" creationId="{82D1EEF8-D6C3-9DB5-FDFC-7E253D15E5FE}"/>
          </ac:spMkLst>
        </pc:spChg>
      </pc:sldChg>
    </pc:docChg>
  </pc:docChgLst>
  <pc:docChgLst>
    <pc:chgData name="Liu, He [JRDCN]" userId="S::hliu167@its.jnj.com::384640c7-0ce5-44d3-a1b9-20818ee3af29" providerId="AD" clId="Web-{421B75DE-7C14-4FD9-CFE3-034A7CE3D0A7}"/>
    <pc:docChg chg="modSld">
      <pc:chgData name="Liu, He [JRDCN]" userId="S::hliu167@its.jnj.com::384640c7-0ce5-44d3-a1b9-20818ee3af29" providerId="AD" clId="Web-{421B75DE-7C14-4FD9-CFE3-034A7CE3D0A7}" dt="2025-02-19T11:49:25.902" v="0"/>
      <pc:docMkLst>
        <pc:docMk/>
      </pc:docMkLst>
      <pc:sldChg chg="delSp">
        <pc:chgData name="Liu, He [JRDCN]" userId="S::hliu167@its.jnj.com::384640c7-0ce5-44d3-a1b9-20818ee3af29" providerId="AD" clId="Web-{421B75DE-7C14-4FD9-CFE3-034A7CE3D0A7}" dt="2025-02-19T11:49:25.902" v="0"/>
        <pc:sldMkLst>
          <pc:docMk/>
          <pc:sldMk cId="1063707889" sldId="2147475097"/>
        </pc:sldMkLst>
      </pc:sldChg>
    </pc:docChg>
  </pc:docChgLst>
  <pc:docChgLst>
    <pc:chgData name="He, Renfa [JRDCN]" userId="a31ff9a4-3ccb-485c-8f16-bc02aa40d6d5" providerId="ADAL" clId="{0EB2B36F-6DFA-46DB-84F5-7FF48F58B2B3}"/>
    <pc:docChg chg="custSel modSld">
      <pc:chgData name="He, Renfa [JRDCN]" userId="a31ff9a4-3ccb-485c-8f16-bc02aa40d6d5" providerId="ADAL" clId="{0EB2B36F-6DFA-46DB-84F5-7FF48F58B2B3}" dt="2025-03-06T07:45:58.899" v="101" actId="20577"/>
      <pc:docMkLst>
        <pc:docMk/>
      </pc:docMkLst>
      <pc:sldChg chg="modSp mod">
        <pc:chgData name="He, Renfa [JRDCN]" userId="a31ff9a4-3ccb-485c-8f16-bc02aa40d6d5" providerId="ADAL" clId="{0EB2B36F-6DFA-46DB-84F5-7FF48F58B2B3}" dt="2025-03-05T06:20:45.726" v="7" actId="20577"/>
        <pc:sldMkLst>
          <pc:docMk/>
          <pc:sldMk cId="3372276022" sldId="2141411332"/>
        </pc:sldMkLst>
        <pc:graphicFrameChg chg="modGraphic">
          <ac:chgData name="He, Renfa [JRDCN]" userId="a31ff9a4-3ccb-485c-8f16-bc02aa40d6d5" providerId="ADAL" clId="{0EB2B36F-6DFA-46DB-84F5-7FF48F58B2B3}" dt="2025-03-05T06:20:45.726" v="7" actId="20577"/>
          <ac:graphicFrameMkLst>
            <pc:docMk/>
            <pc:sldMk cId="3372276022" sldId="2141411332"/>
            <ac:graphicFrameMk id="9" creationId="{00000000-0000-0000-0000-000000000000}"/>
          </ac:graphicFrameMkLst>
        </pc:graphicFrameChg>
      </pc:sldChg>
      <pc:sldChg chg="addSp delSp modSp mod">
        <pc:chgData name="He, Renfa [JRDCN]" userId="a31ff9a4-3ccb-485c-8f16-bc02aa40d6d5" providerId="ADAL" clId="{0EB2B36F-6DFA-46DB-84F5-7FF48F58B2B3}" dt="2025-03-06T07:40:40.366" v="99" actId="1076"/>
        <pc:sldMkLst>
          <pc:docMk/>
          <pc:sldMk cId="3282318532" sldId="2147475073"/>
        </pc:sldMkLst>
        <pc:picChg chg="add mod">
          <ac:chgData name="He, Renfa [JRDCN]" userId="a31ff9a4-3ccb-485c-8f16-bc02aa40d6d5" providerId="ADAL" clId="{0EB2B36F-6DFA-46DB-84F5-7FF48F58B2B3}" dt="2025-03-06T07:40:40.366" v="99" actId="1076"/>
          <ac:picMkLst>
            <pc:docMk/>
            <pc:sldMk cId="3282318532" sldId="2147475073"/>
            <ac:picMk id="19" creationId="{043DD9A5-AC7C-BE47-6020-C5ADAFF618DA}"/>
          </ac:picMkLst>
        </pc:picChg>
      </pc:sldChg>
      <pc:sldChg chg="modSp mod">
        <pc:chgData name="He, Renfa [JRDCN]" userId="a31ff9a4-3ccb-485c-8f16-bc02aa40d6d5" providerId="ADAL" clId="{0EB2B36F-6DFA-46DB-84F5-7FF48F58B2B3}" dt="2025-03-06T07:45:58.899" v="101" actId="20577"/>
        <pc:sldMkLst>
          <pc:docMk/>
          <pc:sldMk cId="1762563042" sldId="2147475095"/>
        </pc:sldMkLst>
        <pc:spChg chg="mod">
          <ac:chgData name="He, Renfa [JRDCN]" userId="a31ff9a4-3ccb-485c-8f16-bc02aa40d6d5" providerId="ADAL" clId="{0EB2B36F-6DFA-46DB-84F5-7FF48F58B2B3}" dt="2025-03-06T07:45:58.899" v="101" actId="20577"/>
          <ac:spMkLst>
            <pc:docMk/>
            <pc:sldMk cId="1762563042" sldId="2147475095"/>
            <ac:spMk id="2" creationId="{ACB120CC-AE17-7D94-0874-6BBB4D4E9958}"/>
          </ac:spMkLst>
        </pc:spChg>
      </pc:sldChg>
    </pc:docChg>
  </pc:docChgLst>
  <pc:docChgLst>
    <pc:chgData name="Liu, He [JRDCN]" userId="S::hliu167@its.jnj.com::384640c7-0ce5-44d3-a1b9-20818ee3af29" providerId="AD" clId="Web-{6B0DAEC6-16D9-ABEA-B195-CD4E52F4AA03}"/>
    <pc:docChg chg="modSld">
      <pc:chgData name="Liu, He [JRDCN]" userId="S::hliu167@its.jnj.com::384640c7-0ce5-44d3-a1b9-20818ee3af29" providerId="AD" clId="Web-{6B0DAEC6-16D9-ABEA-B195-CD4E52F4AA03}" dt="2025-02-19T12:12:44.512" v="13" actId="20577"/>
      <pc:docMkLst>
        <pc:docMk/>
      </pc:docMkLst>
      <pc:sldChg chg="modSp">
        <pc:chgData name="Liu, He [JRDCN]" userId="S::hliu167@its.jnj.com::384640c7-0ce5-44d3-a1b9-20818ee3af29" providerId="AD" clId="Web-{6B0DAEC6-16D9-ABEA-B195-CD4E52F4AA03}" dt="2025-02-19T12:12:44.512" v="13" actId="20577"/>
        <pc:sldMkLst>
          <pc:docMk/>
          <pc:sldMk cId="1063707889" sldId="2147475097"/>
        </pc:sldMkLst>
      </pc:sldChg>
    </pc:docChg>
  </pc:docChgLst>
  <pc:docChgLst>
    <pc:chgData name="He, Renfa [JRDCN]" userId="a31ff9a4-3ccb-485c-8f16-bc02aa40d6d5" providerId="ADAL" clId="{56759E7A-D465-4B81-9046-2255913CE6DD}"/>
    <pc:docChg chg="undo custSel addSld delSld modSld sldOrd">
      <pc:chgData name="He, Renfa [JRDCN]" userId="a31ff9a4-3ccb-485c-8f16-bc02aa40d6d5" providerId="ADAL" clId="{56759E7A-D465-4B81-9046-2255913CE6DD}" dt="2025-02-24T01:47:51.009" v="834" actId="20577"/>
      <pc:docMkLst>
        <pc:docMk/>
      </pc:docMkLst>
      <pc:sldChg chg="add del mod modShow">
        <pc:chgData name="He, Renfa [JRDCN]" userId="a31ff9a4-3ccb-485c-8f16-bc02aa40d6d5" providerId="ADAL" clId="{56759E7A-D465-4B81-9046-2255913CE6DD}" dt="2025-02-22T13:48:17.233" v="224" actId="47"/>
        <pc:sldMkLst>
          <pc:docMk/>
          <pc:sldMk cId="3885835251" sldId="2141411330"/>
        </pc:sldMkLst>
      </pc:sldChg>
      <pc:sldChg chg="delSp modSp add mod">
        <pc:chgData name="He, Renfa [JRDCN]" userId="a31ff9a4-3ccb-485c-8f16-bc02aa40d6d5" providerId="ADAL" clId="{56759E7A-D465-4B81-9046-2255913CE6DD}" dt="2025-02-24T00:43:51.090" v="716" actId="478"/>
        <pc:sldMkLst>
          <pc:docMk/>
          <pc:sldMk cId="3372276022" sldId="2141411332"/>
        </pc:sldMkLst>
        <pc:spChg chg="mod">
          <ac:chgData name="He, Renfa [JRDCN]" userId="a31ff9a4-3ccb-485c-8f16-bc02aa40d6d5" providerId="ADAL" clId="{56759E7A-D465-4B81-9046-2255913CE6DD}" dt="2025-02-24T00:42:40.233" v="705" actId="20577"/>
          <ac:spMkLst>
            <pc:docMk/>
            <pc:sldMk cId="3372276022" sldId="2141411332"/>
            <ac:spMk id="37" creationId="{632FEDC3-16D3-E0C8-B91C-85B761B2CEC1}"/>
          </ac:spMkLst>
        </pc:spChg>
        <pc:spChg chg="mod">
          <ac:chgData name="He, Renfa [JRDCN]" userId="a31ff9a4-3ccb-485c-8f16-bc02aa40d6d5" providerId="ADAL" clId="{56759E7A-D465-4B81-9046-2255913CE6DD}" dt="2025-02-24T00:42:43.477" v="707" actId="20577"/>
          <ac:spMkLst>
            <pc:docMk/>
            <pc:sldMk cId="3372276022" sldId="2141411332"/>
            <ac:spMk id="40" creationId="{3C019E35-E937-90D6-7568-50027223B7E7}"/>
          </ac:spMkLst>
        </pc:spChg>
        <pc:spChg chg="mod">
          <ac:chgData name="He, Renfa [JRDCN]" userId="a31ff9a4-3ccb-485c-8f16-bc02aa40d6d5" providerId="ADAL" clId="{56759E7A-D465-4B81-9046-2255913CE6DD}" dt="2025-02-24T00:42:47.211" v="709" actId="20577"/>
          <ac:spMkLst>
            <pc:docMk/>
            <pc:sldMk cId="3372276022" sldId="2141411332"/>
            <ac:spMk id="43" creationId="{E8B24097-3D34-7B11-0BAA-707591783D4B}"/>
          </ac:spMkLst>
        </pc:spChg>
        <pc:graphicFrameChg chg="mod modGraphic">
          <ac:chgData name="He, Renfa [JRDCN]" userId="a31ff9a4-3ccb-485c-8f16-bc02aa40d6d5" providerId="ADAL" clId="{56759E7A-D465-4B81-9046-2255913CE6DD}" dt="2025-02-24T00:43:44.599" v="715" actId="20577"/>
          <ac:graphicFrameMkLst>
            <pc:docMk/>
            <pc:sldMk cId="3372276022" sldId="2141411332"/>
            <ac:graphicFrameMk id="9" creationId="{00000000-0000-0000-0000-000000000000}"/>
          </ac:graphicFrameMkLst>
        </pc:graphicFrameChg>
      </pc:sldChg>
      <pc:sldChg chg="modSp mod">
        <pc:chgData name="He, Renfa [JRDCN]" userId="a31ff9a4-3ccb-485c-8f16-bc02aa40d6d5" providerId="ADAL" clId="{56759E7A-D465-4B81-9046-2255913CE6DD}" dt="2025-02-24T00:38:29.315" v="652" actId="20577"/>
        <pc:sldMkLst>
          <pc:docMk/>
          <pc:sldMk cId="4043352384" sldId="2147475055"/>
        </pc:sldMkLst>
        <pc:spChg chg="mod">
          <ac:chgData name="He, Renfa [JRDCN]" userId="a31ff9a4-3ccb-485c-8f16-bc02aa40d6d5" providerId="ADAL" clId="{56759E7A-D465-4B81-9046-2255913CE6DD}" dt="2025-02-24T00:38:29.315" v="652" actId="20577"/>
          <ac:spMkLst>
            <pc:docMk/>
            <pc:sldMk cId="4043352384" sldId="2147475055"/>
            <ac:spMk id="2" creationId="{898474AC-0089-C6AF-F477-38233A0F2A62}"/>
          </ac:spMkLst>
        </pc:spChg>
      </pc:sldChg>
      <pc:sldChg chg="modSp mod">
        <pc:chgData name="He, Renfa [JRDCN]" userId="a31ff9a4-3ccb-485c-8f16-bc02aa40d6d5" providerId="ADAL" clId="{56759E7A-D465-4B81-9046-2255913CE6DD}" dt="2025-02-23T14:31:43.335" v="505" actId="20577"/>
        <pc:sldMkLst>
          <pc:docMk/>
          <pc:sldMk cId="1998406318" sldId="2147475065"/>
        </pc:sldMkLst>
      </pc:sldChg>
      <pc:sldChg chg="addSp delSp modSp mod ord">
        <pc:chgData name="He, Renfa [JRDCN]" userId="a31ff9a4-3ccb-485c-8f16-bc02aa40d6d5" providerId="ADAL" clId="{56759E7A-D465-4B81-9046-2255913CE6DD}" dt="2025-02-23T13:46:35.967" v="476" actId="20577"/>
        <pc:sldMkLst>
          <pc:docMk/>
          <pc:sldMk cId="3636722266" sldId="2147475066"/>
        </pc:sldMkLst>
        <pc:spChg chg="mod">
          <ac:chgData name="He, Renfa [JRDCN]" userId="a31ff9a4-3ccb-485c-8f16-bc02aa40d6d5" providerId="ADAL" clId="{56759E7A-D465-4B81-9046-2255913CE6DD}" dt="2025-02-22T13:38:49.702" v="181" actId="20577"/>
          <ac:spMkLst>
            <pc:docMk/>
            <pc:sldMk cId="3636722266" sldId="2147475066"/>
            <ac:spMk id="2" creationId="{82C82D1C-61C4-E913-A6EF-28C66ECE4FAD}"/>
          </ac:spMkLst>
        </pc:spChg>
        <pc:spChg chg="mod">
          <ac:chgData name="He, Renfa [JRDCN]" userId="a31ff9a4-3ccb-485c-8f16-bc02aa40d6d5" providerId="ADAL" clId="{56759E7A-D465-4B81-9046-2255913CE6DD}" dt="2025-02-23T13:46:35.967" v="476" actId="20577"/>
          <ac:spMkLst>
            <pc:docMk/>
            <pc:sldMk cId="3636722266" sldId="2147475066"/>
            <ac:spMk id="3" creationId="{0D026CD3-36D6-31A5-FEA8-1455A973D074}"/>
          </ac:spMkLst>
        </pc:spChg>
        <pc:picChg chg="add mod">
          <ac:chgData name="He, Renfa [JRDCN]" userId="a31ff9a4-3ccb-485c-8f16-bc02aa40d6d5" providerId="ADAL" clId="{56759E7A-D465-4B81-9046-2255913CE6DD}" dt="2025-02-23T05:39:58.158" v="228" actId="1076"/>
          <ac:picMkLst>
            <pc:docMk/>
            <pc:sldMk cId="3636722266" sldId="2147475066"/>
            <ac:picMk id="4" creationId="{A67F3520-85BF-98C4-99EF-AAFFB14E05E0}"/>
          </ac:picMkLst>
        </pc:picChg>
      </pc:sldChg>
      <pc:sldChg chg="modSp mod ord">
        <pc:chgData name="He, Renfa [JRDCN]" userId="a31ff9a4-3ccb-485c-8f16-bc02aa40d6d5" providerId="ADAL" clId="{56759E7A-D465-4B81-9046-2255913CE6DD}" dt="2025-02-24T00:41:20.768" v="656"/>
        <pc:sldMkLst>
          <pc:docMk/>
          <pc:sldMk cId="1874068045" sldId="2147475067"/>
        </pc:sldMkLst>
        <pc:spChg chg="mod">
          <ac:chgData name="He, Renfa [JRDCN]" userId="a31ff9a4-3ccb-485c-8f16-bc02aa40d6d5" providerId="ADAL" clId="{56759E7A-D465-4B81-9046-2255913CE6DD}" dt="2025-02-23T14:29:48.551" v="490" actId="20577"/>
          <ac:spMkLst>
            <pc:docMk/>
            <pc:sldMk cId="1874068045" sldId="2147475067"/>
            <ac:spMk id="2" creationId="{EE72CCCB-8EB8-AF3D-7A40-70649B57A205}"/>
          </ac:spMkLst>
        </pc:spChg>
      </pc:sldChg>
      <pc:sldChg chg="addSp delSp modSp mod">
        <pc:chgData name="He, Renfa [JRDCN]" userId="a31ff9a4-3ccb-485c-8f16-bc02aa40d6d5" providerId="ADAL" clId="{56759E7A-D465-4B81-9046-2255913CE6DD}" dt="2025-02-23T14:00:37.562" v="489" actId="1076"/>
        <pc:sldMkLst>
          <pc:docMk/>
          <pc:sldMk cId="3282318532" sldId="2147475073"/>
        </pc:sldMkLst>
        <pc:spChg chg="mod">
          <ac:chgData name="He, Renfa [JRDCN]" userId="a31ff9a4-3ccb-485c-8f16-bc02aa40d6d5" providerId="ADAL" clId="{56759E7A-D465-4B81-9046-2255913CE6DD}" dt="2025-02-23T06:39:13.023" v="256" actId="20577"/>
          <ac:spMkLst>
            <pc:docMk/>
            <pc:sldMk cId="3282318532" sldId="2147475073"/>
            <ac:spMk id="2" creationId="{1CAF6D22-FE49-2F14-A1B8-FF7C7BEC537E}"/>
          </ac:spMkLst>
        </pc:spChg>
        <pc:spChg chg="mod">
          <ac:chgData name="He, Renfa [JRDCN]" userId="a31ff9a4-3ccb-485c-8f16-bc02aa40d6d5" providerId="ADAL" clId="{56759E7A-D465-4B81-9046-2255913CE6DD}" dt="2025-02-23T14:00:32.942" v="488" actId="6549"/>
          <ac:spMkLst>
            <pc:docMk/>
            <pc:sldMk cId="3282318532" sldId="2147475073"/>
            <ac:spMk id="3" creationId="{AAFB250F-0A68-2CB4-4E57-C2B510F6232A}"/>
          </ac:spMkLst>
        </pc:spChg>
      </pc:sldChg>
      <pc:sldChg chg="modSp mod">
        <pc:chgData name="He, Renfa [JRDCN]" userId="a31ff9a4-3ccb-485c-8f16-bc02aa40d6d5" providerId="ADAL" clId="{56759E7A-D465-4B81-9046-2255913CE6DD}" dt="2025-02-23T06:39:22.360" v="260" actId="20577"/>
        <pc:sldMkLst>
          <pc:docMk/>
          <pc:sldMk cId="3358586209" sldId="2147475075"/>
        </pc:sldMkLst>
        <pc:spChg chg="mod">
          <ac:chgData name="He, Renfa [JRDCN]" userId="a31ff9a4-3ccb-485c-8f16-bc02aa40d6d5" providerId="ADAL" clId="{56759E7A-D465-4B81-9046-2255913CE6DD}" dt="2025-02-23T06:39:22.360" v="260" actId="20577"/>
          <ac:spMkLst>
            <pc:docMk/>
            <pc:sldMk cId="3358586209" sldId="2147475075"/>
            <ac:spMk id="2" creationId="{05758099-8C5C-2C22-0125-60BA3F47EC06}"/>
          </ac:spMkLst>
        </pc:spChg>
      </pc:sldChg>
      <pc:sldChg chg="addSp delSp modSp mod">
        <pc:chgData name="He, Renfa [JRDCN]" userId="a31ff9a4-3ccb-485c-8f16-bc02aa40d6d5" providerId="ADAL" clId="{56759E7A-D465-4B81-9046-2255913CE6DD}" dt="2025-02-23T14:00:06.430" v="482" actId="1076"/>
        <pc:sldMkLst>
          <pc:docMk/>
          <pc:sldMk cId="2057768052" sldId="2147475093"/>
        </pc:sldMkLst>
        <pc:spChg chg="mod">
          <ac:chgData name="He, Renfa [JRDCN]" userId="a31ff9a4-3ccb-485c-8f16-bc02aa40d6d5" providerId="ADAL" clId="{56759E7A-D465-4B81-9046-2255913CE6DD}" dt="2025-02-22T07:37:32.931" v="150" actId="108"/>
          <ac:spMkLst>
            <pc:docMk/>
            <pc:sldMk cId="2057768052" sldId="2147475093"/>
            <ac:spMk id="2" creationId="{DAA7FE2C-9853-0516-46A2-AF193DCBB1BD}"/>
          </ac:spMkLst>
        </pc:spChg>
        <pc:spChg chg="mod">
          <ac:chgData name="He, Renfa [JRDCN]" userId="a31ff9a4-3ccb-485c-8f16-bc02aa40d6d5" providerId="ADAL" clId="{56759E7A-D465-4B81-9046-2255913CE6DD}" dt="2025-02-23T14:00:00.678" v="481" actId="6549"/>
          <ac:spMkLst>
            <pc:docMk/>
            <pc:sldMk cId="2057768052" sldId="2147475093"/>
            <ac:spMk id="3" creationId="{02FE0827-2E46-0520-30DF-60510319B0D9}"/>
          </ac:spMkLst>
        </pc:spChg>
        <pc:picChg chg="add mod">
          <ac:chgData name="He, Renfa [JRDCN]" userId="a31ff9a4-3ccb-485c-8f16-bc02aa40d6d5" providerId="ADAL" clId="{56759E7A-D465-4B81-9046-2255913CE6DD}" dt="2025-02-23T14:00:06.430" v="482" actId="1076"/>
          <ac:picMkLst>
            <pc:docMk/>
            <pc:sldMk cId="2057768052" sldId="2147475093"/>
            <ac:picMk id="4" creationId="{B1BAF838-DE1C-8B61-4911-757D3911E5A1}"/>
          </ac:picMkLst>
        </pc:picChg>
      </pc:sldChg>
      <pc:sldChg chg="modSp mod">
        <pc:chgData name="He, Renfa [JRDCN]" userId="a31ff9a4-3ccb-485c-8f16-bc02aa40d6d5" providerId="ADAL" clId="{56759E7A-D465-4B81-9046-2255913CE6DD}" dt="2025-02-23T06:48:31.886" v="314" actId="20578"/>
        <pc:sldMkLst>
          <pc:docMk/>
          <pc:sldMk cId="1762563042" sldId="2147475095"/>
        </pc:sldMkLst>
        <pc:spChg chg="mod">
          <ac:chgData name="He, Renfa [JRDCN]" userId="a31ff9a4-3ccb-485c-8f16-bc02aa40d6d5" providerId="ADAL" clId="{56759E7A-D465-4B81-9046-2255913CE6DD}" dt="2025-02-23T06:48:31.886" v="314" actId="20578"/>
          <ac:spMkLst>
            <pc:docMk/>
            <pc:sldMk cId="1762563042" sldId="2147475095"/>
            <ac:spMk id="3" creationId="{6C7E43C2-E37A-7A3D-02D7-F4DC9BD6E870}"/>
          </ac:spMkLst>
        </pc:spChg>
      </pc:sldChg>
      <pc:sldChg chg="modSp mod">
        <pc:chgData name="He, Renfa [JRDCN]" userId="a31ff9a4-3ccb-485c-8f16-bc02aa40d6d5" providerId="ADAL" clId="{56759E7A-D465-4B81-9046-2255913CE6DD}" dt="2025-02-24T01:47:51.009" v="834" actId="20577"/>
        <pc:sldMkLst>
          <pc:docMk/>
          <pc:sldMk cId="1028817494" sldId="2147475096"/>
        </pc:sldMkLst>
        <pc:spChg chg="mod">
          <ac:chgData name="He, Renfa [JRDCN]" userId="a31ff9a4-3ccb-485c-8f16-bc02aa40d6d5" providerId="ADAL" clId="{56759E7A-D465-4B81-9046-2255913CE6DD}" dt="2025-02-24T01:30:06.072" v="738" actId="20577"/>
          <ac:spMkLst>
            <pc:docMk/>
            <pc:sldMk cId="1028817494" sldId="2147475096"/>
            <ac:spMk id="5" creationId="{A0BF93A9-0B43-B8DB-E9EE-69C111C7C91E}"/>
          </ac:spMkLst>
        </pc:spChg>
        <pc:spChg chg="mod">
          <ac:chgData name="He, Renfa [JRDCN]" userId="a31ff9a4-3ccb-485c-8f16-bc02aa40d6d5" providerId="ADAL" clId="{56759E7A-D465-4B81-9046-2255913CE6DD}" dt="2025-02-24T01:47:51.009" v="834" actId="20577"/>
          <ac:spMkLst>
            <pc:docMk/>
            <pc:sldMk cId="1028817494" sldId="2147475096"/>
            <ac:spMk id="6" creationId="{CC4559FA-EA09-21FC-6777-836425258FFB}"/>
          </ac:spMkLst>
        </pc:spChg>
        <pc:spChg chg="mod">
          <ac:chgData name="He, Renfa [JRDCN]" userId="a31ff9a4-3ccb-485c-8f16-bc02aa40d6d5" providerId="ADAL" clId="{56759E7A-D465-4B81-9046-2255913CE6DD}" dt="2025-02-22T07:24:18.899" v="110" actId="20577"/>
          <ac:spMkLst>
            <pc:docMk/>
            <pc:sldMk cId="1028817494" sldId="2147475096"/>
            <ac:spMk id="15" creationId="{48B0C43D-ED5A-7663-1343-E344ADF0640B}"/>
          </ac:spMkLst>
        </pc:spChg>
      </pc:sldChg>
      <pc:sldChg chg="del">
        <pc:chgData name="He, Renfa [JRDCN]" userId="a31ff9a4-3ccb-485c-8f16-bc02aa40d6d5" providerId="ADAL" clId="{56759E7A-D465-4B81-9046-2255913CE6DD}" dt="2025-02-23T06:41:22.715" v="295" actId="47"/>
        <pc:sldMkLst>
          <pc:docMk/>
          <pc:sldMk cId="1063707889" sldId="2147475097"/>
        </pc:sldMkLst>
      </pc:sldChg>
      <pc:sldChg chg="addSp delSp modSp new del mod">
        <pc:chgData name="He, Renfa [JRDCN]" userId="a31ff9a4-3ccb-485c-8f16-bc02aa40d6d5" providerId="ADAL" clId="{56759E7A-D465-4B81-9046-2255913CE6DD}" dt="2025-02-22T13:25:53.283" v="175" actId="47"/>
        <pc:sldMkLst>
          <pc:docMk/>
          <pc:sldMk cId="1231685022" sldId="2147475108"/>
        </pc:sldMkLst>
      </pc:sldChg>
      <pc:sldChg chg="modSp new mod">
        <pc:chgData name="He, Renfa [JRDCN]" userId="a31ff9a4-3ccb-485c-8f16-bc02aa40d6d5" providerId="ADAL" clId="{56759E7A-D465-4B81-9046-2255913CE6DD}" dt="2025-02-24T00:37:57.765" v="642" actId="20577"/>
        <pc:sldMkLst>
          <pc:docMk/>
          <pc:sldMk cId="1674319455" sldId="2147475108"/>
        </pc:sldMkLst>
        <pc:spChg chg="mod">
          <ac:chgData name="He, Renfa [JRDCN]" userId="a31ff9a4-3ccb-485c-8f16-bc02aa40d6d5" providerId="ADAL" clId="{56759E7A-D465-4B81-9046-2255913CE6DD}" dt="2025-02-24T00:37:57.765" v="642" actId="20577"/>
          <ac:spMkLst>
            <pc:docMk/>
            <pc:sldMk cId="1674319455" sldId="2147475108"/>
            <ac:spMk id="2" creationId="{238FAC1F-7252-661A-15B9-FA2C680AF8A2}"/>
          </ac:spMkLst>
        </pc:spChg>
      </pc:sldChg>
      <pc:sldChg chg="modSp new del mod ord">
        <pc:chgData name="He, Renfa [JRDCN]" userId="a31ff9a4-3ccb-485c-8f16-bc02aa40d6d5" providerId="ADAL" clId="{56759E7A-D465-4B81-9046-2255913CE6DD}" dt="2025-02-20T14:50:41.895" v="72" actId="47"/>
        <pc:sldMkLst>
          <pc:docMk/>
          <pc:sldMk cId="1716132140" sldId="2147475108"/>
        </pc:sldMkLst>
      </pc:sldChg>
      <pc:sldChg chg="new del">
        <pc:chgData name="He, Renfa [JRDCN]" userId="a31ff9a4-3ccb-485c-8f16-bc02aa40d6d5" providerId="ADAL" clId="{56759E7A-D465-4B81-9046-2255913CE6DD}" dt="2025-02-20T14:46:43.309" v="4" actId="47"/>
        <pc:sldMkLst>
          <pc:docMk/>
          <pc:sldMk cId="4071177902" sldId="2147475108"/>
        </pc:sldMkLst>
      </pc:sldChg>
      <pc:sldMasterChg chg="addSldLayout delSldLayout">
        <pc:chgData name="He, Renfa [JRDCN]" userId="a31ff9a4-3ccb-485c-8f16-bc02aa40d6d5" providerId="ADAL" clId="{56759E7A-D465-4B81-9046-2255913CE6DD}" dt="2025-02-22T13:48:17.233" v="224" actId="47"/>
        <pc:sldMasterMkLst>
          <pc:docMk/>
          <pc:sldMasterMk cId="306943358" sldId="2147483769"/>
        </pc:sldMasterMkLst>
        <pc:sldLayoutChg chg="add del">
          <pc:chgData name="He, Renfa [JRDCN]" userId="a31ff9a4-3ccb-485c-8f16-bc02aa40d6d5" providerId="ADAL" clId="{56759E7A-D465-4B81-9046-2255913CE6DD}" dt="2025-02-22T13:48:17.233" v="224" actId="47"/>
          <pc:sldLayoutMkLst>
            <pc:docMk/>
            <pc:sldMasterMk cId="306943358" sldId="2147483769"/>
            <pc:sldLayoutMk cId="1032390697" sldId="2147483820"/>
          </pc:sldLayoutMkLst>
        </pc:sldLayoutChg>
      </pc:sldMasterChg>
    </pc:docChg>
  </pc:docChgLst>
  <pc:docChgLst>
    <pc:chgData name="He, Renfa [JRDCN]" userId="a31ff9a4-3ccb-485c-8f16-bc02aa40d6d5" providerId="ADAL" clId="{F58A351C-DC76-462C-B5CD-70D0C9A8FAE7}"/>
    <pc:docChg chg="addSld delSld modSld">
      <pc:chgData name="He, Renfa [JRDCN]" userId="a31ff9a4-3ccb-485c-8f16-bc02aa40d6d5" providerId="ADAL" clId="{F58A351C-DC76-462C-B5CD-70D0C9A8FAE7}" dt="2025-03-17T08:53:25.750" v="1" actId="47"/>
      <pc:docMkLst>
        <pc:docMk/>
      </pc:docMkLst>
      <pc:sldChg chg="del">
        <pc:chgData name="He, Renfa [JRDCN]" userId="a31ff9a4-3ccb-485c-8f16-bc02aa40d6d5" providerId="ADAL" clId="{F58A351C-DC76-462C-B5CD-70D0C9A8FAE7}" dt="2025-03-17T08:53:25.750" v="1" actId="47"/>
        <pc:sldMkLst>
          <pc:docMk/>
          <pc:sldMk cId="1998406318" sldId="2147475065"/>
        </pc:sldMkLst>
      </pc:sldChg>
      <pc:sldChg chg="add">
        <pc:chgData name="He, Renfa [JRDCN]" userId="a31ff9a4-3ccb-485c-8f16-bc02aa40d6d5" providerId="ADAL" clId="{F58A351C-DC76-462C-B5CD-70D0C9A8FAE7}" dt="2025-03-17T08:53:18.835" v="0"/>
        <pc:sldMkLst>
          <pc:docMk/>
          <pc:sldMk cId="3429587313" sldId="2147475109"/>
        </pc:sldMkLst>
      </pc:sldChg>
    </pc:docChg>
  </pc:docChgLst>
  <pc:docChgLst>
    <pc:chgData name="Liu, He [JRDCN]" userId="S::hliu167@its.jnj.com::384640c7-0ce5-44d3-a1b9-20818ee3af29" providerId="AD" clId="Web-{FC4F965A-469C-93E6-662E-AE0BFDDD93EF}"/>
    <pc:docChg chg="delSld">
      <pc:chgData name="Liu, He [JRDCN]" userId="S::hliu167@its.jnj.com::384640c7-0ce5-44d3-a1b9-20818ee3af29" providerId="AD" clId="Web-{FC4F965A-469C-93E6-662E-AE0BFDDD93EF}" dt="2025-02-19T14:31:58.856" v="0"/>
      <pc:docMkLst>
        <pc:docMk/>
      </pc:docMkLst>
      <pc:sldChg chg="del">
        <pc:chgData name="Liu, He [JRDCN]" userId="S::hliu167@its.jnj.com::384640c7-0ce5-44d3-a1b9-20818ee3af29" providerId="AD" clId="Web-{FC4F965A-469C-93E6-662E-AE0BFDDD93EF}" dt="2025-02-19T14:31:58.856" v="0"/>
        <pc:sldMkLst>
          <pc:docMk/>
          <pc:sldMk cId="0" sldId="262"/>
        </pc:sldMkLst>
      </pc:sldChg>
    </pc:docChg>
  </pc:docChgLst>
  <pc:docChgLst>
    <pc:chgData name="Liu, He [JRDCN]" userId="384640c7-0ce5-44d3-a1b9-20818ee3af29" providerId="ADAL" clId="{0B4126D3-0DEC-4583-AE37-C8A0C3C35DB7}"/>
    <pc:docChg chg="undo redo custSel modSld">
      <pc:chgData name="Liu, He [JRDCN]" userId="384640c7-0ce5-44d3-a1b9-20818ee3af29" providerId="ADAL" clId="{0B4126D3-0DEC-4583-AE37-C8A0C3C35DB7}" dt="2025-03-17T07:27:34.076" v="24" actId="207"/>
      <pc:docMkLst>
        <pc:docMk/>
      </pc:docMkLst>
      <pc:sldChg chg="modSp mod">
        <pc:chgData name="Liu, He [JRDCN]" userId="384640c7-0ce5-44d3-a1b9-20818ee3af29" providerId="ADAL" clId="{0B4126D3-0DEC-4583-AE37-C8A0C3C35DB7}" dt="2025-03-17T07:27:34.076" v="24" actId="207"/>
        <pc:sldMkLst>
          <pc:docMk/>
          <pc:sldMk cId="1874068045" sldId="2147475067"/>
        </pc:sldMkLst>
        <pc:spChg chg="mod">
          <ac:chgData name="Liu, He [JRDCN]" userId="384640c7-0ce5-44d3-a1b9-20818ee3af29" providerId="ADAL" clId="{0B4126D3-0DEC-4583-AE37-C8A0C3C35DB7}" dt="2025-03-17T07:27:34.076" v="24" actId="207"/>
          <ac:spMkLst>
            <pc:docMk/>
            <pc:sldMk cId="1874068045" sldId="2147475067"/>
            <ac:spMk id="6" creationId="{AD0C48B8-650D-E284-910A-BF9B8F4D67FB}"/>
          </ac:spMkLst>
        </pc:spChg>
      </pc:sldChg>
      <pc:sldChg chg="modSp mod">
        <pc:chgData name="Liu, He [JRDCN]" userId="384640c7-0ce5-44d3-a1b9-20818ee3af29" providerId="ADAL" clId="{0B4126D3-0DEC-4583-AE37-C8A0C3C35DB7}" dt="2025-03-17T07:27:16.719" v="23" actId="114"/>
        <pc:sldMkLst>
          <pc:docMk/>
          <pc:sldMk cId="1570543059" sldId="2147475103"/>
        </pc:sldMkLst>
        <pc:spChg chg="mod">
          <ac:chgData name="Liu, He [JRDCN]" userId="384640c7-0ce5-44d3-a1b9-20818ee3af29" providerId="ADAL" clId="{0B4126D3-0DEC-4583-AE37-C8A0C3C35DB7}" dt="2025-03-17T07:27:16.719" v="23" actId="114"/>
          <ac:spMkLst>
            <pc:docMk/>
            <pc:sldMk cId="1570543059" sldId="2147475103"/>
            <ac:spMk id="10" creationId="{00000000-0000-0000-0000-000000000000}"/>
          </ac:spMkLst>
        </pc:spChg>
      </pc:sldChg>
      <pc:sldChg chg="addSp delSp modSp mod">
        <pc:chgData name="Liu, He [JRDCN]" userId="384640c7-0ce5-44d3-a1b9-20818ee3af29" providerId="ADAL" clId="{0B4126D3-0DEC-4583-AE37-C8A0C3C35DB7}" dt="2025-03-11T06:01:07.407" v="13" actId="14100"/>
        <pc:sldMkLst>
          <pc:docMk/>
          <pc:sldMk cId="3488334976" sldId="2147475104"/>
        </pc:sldMkLst>
        <pc:spChg chg="mod">
          <ac:chgData name="Liu, He [JRDCN]" userId="384640c7-0ce5-44d3-a1b9-20818ee3af29" providerId="ADAL" clId="{0B4126D3-0DEC-4583-AE37-C8A0C3C35DB7}" dt="2025-03-11T06:00:28.939" v="4"/>
          <ac:spMkLst>
            <pc:docMk/>
            <pc:sldMk cId="3488334976" sldId="2147475104"/>
            <ac:spMk id="11" creationId="{2C382D4E-E52B-D6B8-5206-71DC02367DDA}"/>
          </ac:spMkLst>
        </pc:spChg>
        <pc:picChg chg="add mod">
          <ac:chgData name="Liu, He [JRDCN]" userId="384640c7-0ce5-44d3-a1b9-20818ee3af29" providerId="ADAL" clId="{0B4126D3-0DEC-4583-AE37-C8A0C3C35DB7}" dt="2025-03-11T06:01:07.407" v="13" actId="14100"/>
          <ac:picMkLst>
            <pc:docMk/>
            <pc:sldMk cId="3488334976" sldId="2147475104"/>
            <ac:picMk id="1026" creationId="{E249480E-A6BE-9043-0767-40556B1C21F3}"/>
          </ac:picMkLst>
        </pc:picChg>
      </pc:sldChg>
      <pc:sldChg chg="modSp mod">
        <pc:chgData name="Liu, He [JRDCN]" userId="384640c7-0ce5-44d3-a1b9-20818ee3af29" providerId="ADAL" clId="{0B4126D3-0DEC-4583-AE37-C8A0C3C35DB7}" dt="2025-03-17T07:26:58.287" v="22" actId="114"/>
        <pc:sldMkLst>
          <pc:docMk/>
          <pc:sldMk cId="1540865472" sldId="2147475105"/>
        </pc:sldMkLst>
        <pc:spChg chg="mod">
          <ac:chgData name="Liu, He [JRDCN]" userId="384640c7-0ce5-44d3-a1b9-20818ee3af29" providerId="ADAL" clId="{0B4126D3-0DEC-4583-AE37-C8A0C3C35DB7}" dt="2025-03-17T07:26:58.287" v="22" actId="114"/>
          <ac:spMkLst>
            <pc:docMk/>
            <pc:sldMk cId="1540865472" sldId="2147475105"/>
            <ac:spMk id="6" creationId="{7039889A-1504-6CD7-DF10-CB556124880B}"/>
          </ac:spMkLst>
        </pc:spChg>
      </pc:sldChg>
      <pc:sldChg chg="modSp mod">
        <pc:chgData name="Liu, He [JRDCN]" userId="384640c7-0ce5-44d3-a1b9-20818ee3af29" providerId="ADAL" clId="{0B4126D3-0DEC-4583-AE37-C8A0C3C35DB7}" dt="2025-03-17T07:26:50.979" v="21" actId="114"/>
        <pc:sldMkLst>
          <pc:docMk/>
          <pc:sldMk cId="3517466903" sldId="2147475107"/>
        </pc:sldMkLst>
        <pc:spChg chg="mod">
          <ac:chgData name="Liu, He [JRDCN]" userId="384640c7-0ce5-44d3-a1b9-20818ee3af29" providerId="ADAL" clId="{0B4126D3-0DEC-4583-AE37-C8A0C3C35DB7}" dt="2025-03-17T07:26:50.979" v="21" actId="114"/>
          <ac:spMkLst>
            <pc:docMk/>
            <pc:sldMk cId="3517466903" sldId="2147475107"/>
            <ac:spMk id="14" creationId="{C9EBED70-8097-D427-459A-33AFE128C8BC}"/>
          </ac:spMkLst>
        </pc:spChg>
        <pc:spChg chg="mod">
          <ac:chgData name="Liu, He [JRDCN]" userId="384640c7-0ce5-44d3-a1b9-20818ee3af29" providerId="ADAL" clId="{0B4126D3-0DEC-4583-AE37-C8A0C3C35DB7}" dt="2025-03-17T07:26:39.327" v="20" actId="114"/>
          <ac:spMkLst>
            <pc:docMk/>
            <pc:sldMk cId="3517466903" sldId="2147475107"/>
            <ac:spMk id="16" creationId="{B7CBEF4B-D388-E63B-78CD-E8C24DC027DF}"/>
          </ac:spMkLst>
        </pc:spChg>
        <pc:picChg chg="mod">
          <ac:chgData name="Liu, He [JRDCN]" userId="384640c7-0ce5-44d3-a1b9-20818ee3af29" providerId="ADAL" clId="{0B4126D3-0DEC-4583-AE37-C8A0C3C35DB7}" dt="2025-03-11T06:01:50.186" v="14" actId="1076"/>
          <ac:picMkLst>
            <pc:docMk/>
            <pc:sldMk cId="3517466903" sldId="2147475107"/>
            <ac:picMk id="21" creationId="{9439B478-AF03-6EDF-CAB3-0C2A1E9B8058}"/>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D48A3FC-7681-4BE4-A827-EEE49DA6144E}" type="datetimeFigureOut">
              <a:rPr lang="zh-CN" altLang="en-US" smtClean="0"/>
              <a:t>2025/3/23</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8558558-6DA9-437F-B9C4-5BECF0401B5D}" type="slidenum">
              <a:rPr lang="zh-CN" altLang="en-US" smtClean="0"/>
              <a:t>‹#›</a:t>
            </a:fld>
            <a:endParaRPr lang="zh-CN" altLang="en-US"/>
          </a:p>
        </p:txBody>
      </p:sp>
    </p:spTree>
    <p:extLst>
      <p:ext uri="{BB962C8B-B14F-4D97-AF65-F5344CB8AC3E}">
        <p14:creationId xmlns:p14="http://schemas.microsoft.com/office/powerpoint/2010/main" val="19295862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08B18E93-EE38-CB4F-AFC1-65CB91DBAD44}" type="slidenum">
              <a:rPr kumimoji="0" lang="en-US" sz="1200" b="0" i="0" u="none" strike="noStrike" kern="1200" cap="none" spc="0" normalizeH="0" baseline="0" noProof="0">
                <a:ln>
                  <a:noFill/>
                </a:ln>
                <a:solidFill>
                  <a:prstClr val="black"/>
                </a:solidFill>
                <a:effectLst/>
                <a:uLnTx/>
                <a:uFillTx/>
                <a:latin typeface="Johnson Display" pitchFamily="2" charset="77"/>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Johnson Display" pitchFamily="2" charset="77"/>
              <a:ea typeface="+mn-ea"/>
              <a:cs typeface="+mn-cs"/>
            </a:endParaRPr>
          </a:p>
        </p:txBody>
      </p:sp>
    </p:spTree>
    <p:extLst>
      <p:ext uri="{BB962C8B-B14F-4D97-AF65-F5344CB8AC3E}">
        <p14:creationId xmlns:p14="http://schemas.microsoft.com/office/powerpoint/2010/main" val="25017182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Date Placeholder 4"/>
          <p:cNvSpPr>
            <a:spLocks noGrp="1"/>
          </p:cNvSpPr>
          <p:nvPr>
            <p:ph type="dt" idx="11"/>
          </p:nvPr>
        </p:nvSpPr>
        <p:spPr/>
        <p:txBody>
          <a:bodyPr/>
          <a:lstStyle/>
          <a:p>
            <a:fld id="{AD5B6ACD-FE0F-D846-B35E-8A7D8FD1E7F2}" type="datetime8">
              <a:rPr lang="en-US" smtClean="0"/>
              <a:t>3/23/2025 6:49 PM</a:t>
            </a:fld>
            <a:endParaRPr lang="en-US"/>
          </a:p>
        </p:txBody>
      </p:sp>
      <p:sp>
        <p:nvSpPr>
          <p:cNvPr id="6" name="Footer Placeholder 5"/>
          <p:cNvSpPr>
            <a:spLocks noGrp="1"/>
          </p:cNvSpPr>
          <p:nvPr>
            <p:ph type="ftr" sz="quarter" idx="12"/>
          </p:nvPr>
        </p:nvSpPr>
        <p:spPr/>
        <p:txBody>
          <a:bodyPr/>
          <a:lstStyle/>
          <a:p>
            <a:endParaRPr lang="en-US"/>
          </a:p>
        </p:txBody>
      </p:sp>
      <p:sp>
        <p:nvSpPr>
          <p:cNvPr id="7" name="Slide Number Placeholder 6"/>
          <p:cNvSpPr>
            <a:spLocks noGrp="1"/>
          </p:cNvSpPr>
          <p:nvPr>
            <p:ph type="sldNum" sz="quarter" idx="13"/>
          </p:nvPr>
        </p:nvSpPr>
        <p:spPr/>
        <p:txBody>
          <a:bodyPr/>
          <a:lstStyle/>
          <a:p>
            <a:fld id="{B976D8D5-0ECD-3A4D-8E63-E16D685F0695}" type="slidenum">
              <a:rPr lang="en-US" smtClean="0"/>
              <a:pPr/>
              <a:t>2</a:t>
            </a:fld>
            <a:endParaRPr lang="en-US"/>
          </a:p>
        </p:txBody>
      </p:sp>
    </p:spTree>
    <p:extLst>
      <p:ext uri="{BB962C8B-B14F-4D97-AF65-F5344CB8AC3E}">
        <p14:creationId xmlns:p14="http://schemas.microsoft.com/office/powerpoint/2010/main" val="322782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D029CC-A1CD-ED74-95DD-22BF66E929AA}"/>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6365B223-93F3-0967-461F-5806C0C72D8B}"/>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0EF85F2-A639-0F47-B7E0-BDC0E33EE36B}"/>
              </a:ext>
            </a:extLst>
          </p:cNvPr>
          <p:cNvSpPr>
            <a:spLocks noGrp="1"/>
          </p:cNvSpPr>
          <p:nvPr>
            <p:ph type="body" idx="1"/>
          </p:nvPr>
        </p:nvSpPr>
        <p:spPr/>
        <p:txBody>
          <a:bodyPr/>
          <a:lstStyle/>
          <a:p>
            <a:endParaRPr lang="zh-CN" altLang="en-US"/>
          </a:p>
        </p:txBody>
      </p:sp>
      <p:sp>
        <p:nvSpPr>
          <p:cNvPr id="4" name="灯片编号占位符 3">
            <a:extLst>
              <a:ext uri="{FF2B5EF4-FFF2-40B4-BE49-F238E27FC236}">
                <a16:creationId xmlns:a16="http://schemas.microsoft.com/office/drawing/2014/main" id="{0DC0D650-EC74-5112-4B14-0DD38B393C6B}"/>
              </a:ext>
            </a:extLst>
          </p:cNvPr>
          <p:cNvSpPr>
            <a:spLocks noGrp="1"/>
          </p:cNvSpPr>
          <p:nvPr>
            <p:ph type="sldNum" sz="quarter" idx="5"/>
          </p:nvPr>
        </p:nvSpPr>
        <p:spPr/>
        <p:txBody>
          <a:bodyPr/>
          <a:lstStyle/>
          <a:p>
            <a:fld id="{B8558558-6DA9-437F-B9C4-5BECF0401B5D}" type="slidenum">
              <a:rPr lang="zh-CN" altLang="en-US" smtClean="0"/>
              <a:t>3</a:t>
            </a:fld>
            <a:endParaRPr lang="zh-CN" altLang="en-US"/>
          </a:p>
        </p:txBody>
      </p:sp>
    </p:spTree>
    <p:extLst>
      <p:ext uri="{BB962C8B-B14F-4D97-AF65-F5344CB8AC3E}">
        <p14:creationId xmlns:p14="http://schemas.microsoft.com/office/powerpoint/2010/main" val="1938618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E518D3-85A4-1377-6AE6-BAA3AFD45C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2F90AD-909C-C6E2-731D-29968C74A2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CC088C8-7EAF-05FB-A502-C14186FF97E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D323E9C-C248-7A28-641E-61091FDEDD49}"/>
              </a:ext>
            </a:extLst>
          </p:cNvPr>
          <p:cNvSpPr>
            <a:spLocks noGrp="1"/>
          </p:cNvSpPr>
          <p:nvPr>
            <p:ph type="sldNum" sz="quarter" idx="5"/>
          </p:nvPr>
        </p:nvSpPr>
        <p:spPr/>
        <p:txBody>
          <a:bodyPr/>
          <a:lstStyle/>
          <a:p>
            <a:fld id="{B8558558-6DA9-437F-B9C4-5BECF0401B5D}" type="slidenum">
              <a:rPr lang="zh-CN" altLang="en-US" smtClean="0"/>
              <a:t>14</a:t>
            </a:fld>
            <a:endParaRPr lang="zh-CN" altLang="en-US"/>
          </a:p>
        </p:txBody>
      </p:sp>
    </p:spTree>
    <p:extLst>
      <p:ext uri="{BB962C8B-B14F-4D97-AF65-F5344CB8AC3E}">
        <p14:creationId xmlns:p14="http://schemas.microsoft.com/office/powerpoint/2010/main" val="22990428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1.bin"/><Relationship Id="rId5" Type="http://schemas.openxmlformats.org/officeDocument/2006/relationships/slideMaster" Target="../slideMasters/slideMaster3.xml"/><Relationship Id="rId4" Type="http://schemas.openxmlformats.org/officeDocument/2006/relationships/tags" Target="../tags/tag8.xml"/></Relationships>
</file>

<file path=ppt/slideLayouts/_rels/slideLayout161.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1.bin"/><Relationship Id="rId5" Type="http://schemas.openxmlformats.org/officeDocument/2006/relationships/slideMaster" Target="../slideMasters/slideMaster3.xml"/><Relationship Id="rId4" Type="http://schemas.openxmlformats.org/officeDocument/2006/relationships/tags" Target="../tags/tag1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97A17AB-0114-CDE0-D80E-3AAA53BE4837}"/>
              </a:ext>
            </a:extLst>
          </p:cNvPr>
          <p:cNvSpPr>
            <a:spLocks noGrp="1"/>
          </p:cNvSpPr>
          <p:nvPr>
            <p:ph type="ctrTitle"/>
          </p:nvPr>
        </p:nvSpPr>
        <p:spPr>
          <a:xfrm>
            <a:off x="284805" y="262670"/>
            <a:ext cx="9656119" cy="2617640"/>
          </a:xfrm>
        </p:spPr>
        <p:txBody>
          <a:bodyPr anchor="t"/>
          <a:lstStyle>
            <a:lvl1pPr algn="l">
              <a:lnSpc>
                <a:spcPct val="80000"/>
              </a:lnSpc>
              <a:defRPr sz="10500" b="0" i="0" spc="0" baseline="0">
                <a:solidFill>
                  <a:schemeClr val="bg1"/>
                </a:solidFill>
                <a:latin typeface="+mj-lt"/>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565D7B25-1665-DB97-EC26-F653F638EABF}"/>
              </a:ext>
            </a:extLst>
          </p:cNvPr>
          <p:cNvSpPr>
            <a:spLocks noGrp="1"/>
          </p:cNvSpPr>
          <p:nvPr>
            <p:ph type="subTitle" idx="1" hasCustomPrompt="1"/>
          </p:nvPr>
        </p:nvSpPr>
        <p:spPr>
          <a:xfrm>
            <a:off x="6165850" y="5892920"/>
            <a:ext cx="2795587" cy="717180"/>
          </a:xfrm>
        </p:spPr>
        <p:txBody>
          <a:bodyPr anchor="b"/>
          <a:lstStyle>
            <a:lvl1pPr marL="0" indent="0" algn="l">
              <a:lnSpc>
                <a:spcPct val="100000"/>
              </a:lnSpc>
              <a:spcBef>
                <a:spcPts val="0"/>
              </a:spcBef>
              <a:spcAft>
                <a:spcPts val="0"/>
              </a:spcAft>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pporting details – delete if not required</a:t>
            </a:r>
          </a:p>
        </p:txBody>
      </p:sp>
      <p:sp>
        <p:nvSpPr>
          <p:cNvPr id="2" name="Graphic 2">
            <a:extLst>
              <a:ext uri="{FF2B5EF4-FFF2-40B4-BE49-F238E27FC236}">
                <a16:creationId xmlns:a16="http://schemas.microsoft.com/office/drawing/2014/main" id="{2E36CEA2-652F-75DC-D683-227EE3CCAC18}"/>
              </a:ext>
            </a:extLst>
          </p:cNvPr>
          <p:cNvSpPr>
            <a:spLocks noChangeAspect="1"/>
          </p:cNvSpPr>
          <p:nvPr userDrawn="1"/>
        </p:nvSpPr>
        <p:spPr>
          <a:xfrm>
            <a:off x="290513" y="6377853"/>
            <a:ext cx="2034000" cy="187309"/>
          </a:xfrm>
          <a:custGeom>
            <a:avLst/>
            <a:gdLst>
              <a:gd name="connsiteX0" fmla="*/ 542692 w 5487431"/>
              <a:gd name="connsiteY0" fmla="*/ 463149 h 505330"/>
              <a:gd name="connsiteX1" fmla="*/ 458967 w 5487431"/>
              <a:gd name="connsiteY1" fmla="*/ 321634 h 505330"/>
              <a:gd name="connsiteX2" fmla="*/ 542692 w 5487431"/>
              <a:gd name="connsiteY2" fmla="*/ 180119 h 505330"/>
              <a:gd name="connsiteX3" fmla="*/ 626417 w 5487431"/>
              <a:gd name="connsiteY3" fmla="*/ 321634 h 505330"/>
              <a:gd name="connsiteX4" fmla="*/ 542692 w 5487431"/>
              <a:gd name="connsiteY4" fmla="*/ 463149 h 505330"/>
              <a:gd name="connsiteX5" fmla="*/ 542692 w 5487431"/>
              <a:gd name="connsiteY5" fmla="*/ 142174 h 505330"/>
              <a:gd name="connsiteX6" fmla="*/ 372482 w 5487431"/>
              <a:gd name="connsiteY6" fmla="*/ 321634 h 505330"/>
              <a:gd name="connsiteX7" fmla="*/ 542692 w 5487431"/>
              <a:gd name="connsiteY7" fmla="*/ 501094 h 505330"/>
              <a:gd name="connsiteX8" fmla="*/ 712902 w 5487431"/>
              <a:gd name="connsiteY8" fmla="*/ 321634 h 505330"/>
              <a:gd name="connsiteX9" fmla="*/ 542692 w 5487431"/>
              <a:gd name="connsiteY9" fmla="*/ 142174 h 505330"/>
              <a:gd name="connsiteX10" fmla="*/ 1303641 w 5487431"/>
              <a:gd name="connsiteY10" fmla="*/ 142174 h 505330"/>
              <a:gd name="connsiteX11" fmla="*/ 1207357 w 5487431"/>
              <a:gd name="connsiteY11" fmla="*/ 192547 h 505330"/>
              <a:gd name="connsiteX12" fmla="*/ 1203170 w 5487431"/>
              <a:gd name="connsiteY12" fmla="*/ 192547 h 505330"/>
              <a:gd name="connsiteX13" fmla="*/ 1203170 w 5487431"/>
              <a:gd name="connsiteY13" fmla="*/ 149048 h 505330"/>
              <a:gd name="connsiteX14" fmla="*/ 1120872 w 5487431"/>
              <a:gd name="connsiteY14" fmla="*/ 149048 h 505330"/>
              <a:gd name="connsiteX15" fmla="*/ 1120872 w 5487431"/>
              <a:gd name="connsiteY15" fmla="*/ 494221 h 505330"/>
              <a:gd name="connsiteX16" fmla="*/ 1203170 w 5487431"/>
              <a:gd name="connsiteY16" fmla="*/ 494221 h 505330"/>
              <a:gd name="connsiteX17" fmla="*/ 1203170 w 5487431"/>
              <a:gd name="connsiteY17" fmla="*/ 271261 h 505330"/>
              <a:gd name="connsiteX18" fmla="*/ 1272244 w 5487431"/>
              <a:gd name="connsiteY18" fmla="*/ 190476 h 505330"/>
              <a:gd name="connsiteX19" fmla="*/ 1331518 w 5487431"/>
              <a:gd name="connsiteY19" fmla="*/ 258173 h 505330"/>
              <a:gd name="connsiteX20" fmla="*/ 1331518 w 5487431"/>
              <a:gd name="connsiteY20" fmla="*/ 494221 h 505330"/>
              <a:gd name="connsiteX21" fmla="*/ 1413816 w 5487431"/>
              <a:gd name="connsiteY21" fmla="*/ 494221 h 505330"/>
              <a:gd name="connsiteX22" fmla="*/ 1413816 w 5487431"/>
              <a:gd name="connsiteY22" fmla="*/ 257420 h 505330"/>
              <a:gd name="connsiteX23" fmla="*/ 1303641 w 5487431"/>
              <a:gd name="connsiteY23" fmla="*/ 142174 h 505330"/>
              <a:gd name="connsiteX24" fmla="*/ 1600771 w 5487431"/>
              <a:gd name="connsiteY24" fmla="*/ 142174 h 505330"/>
              <a:gd name="connsiteX25" fmla="*/ 1467571 w 5487431"/>
              <a:gd name="connsiteY25" fmla="*/ 241602 h 505330"/>
              <a:gd name="connsiteX26" fmla="*/ 1551962 w 5487431"/>
              <a:gd name="connsiteY26" fmla="*/ 341030 h 505330"/>
              <a:gd name="connsiteX27" fmla="*/ 1621702 w 5487431"/>
              <a:gd name="connsiteY27" fmla="*/ 358260 h 505330"/>
              <a:gd name="connsiteX28" fmla="*/ 1675457 w 5487431"/>
              <a:gd name="connsiteY28" fmla="*/ 409387 h 505330"/>
              <a:gd name="connsiteX29" fmla="*/ 1606384 w 5487431"/>
              <a:gd name="connsiteY29" fmla="*/ 464656 h 505330"/>
              <a:gd name="connsiteX30" fmla="*/ 1526845 w 5487431"/>
              <a:gd name="connsiteY30" fmla="*/ 384624 h 505330"/>
              <a:gd name="connsiteX31" fmla="*/ 1452919 w 5487431"/>
              <a:gd name="connsiteY31" fmla="*/ 405338 h 505330"/>
              <a:gd name="connsiteX32" fmla="*/ 1597345 w 5487431"/>
              <a:gd name="connsiteY32" fmla="*/ 501282 h 505330"/>
              <a:gd name="connsiteX33" fmla="*/ 1742438 w 5487431"/>
              <a:gd name="connsiteY33" fmla="*/ 388767 h 505330"/>
              <a:gd name="connsiteX34" fmla="*/ 1649674 w 5487431"/>
              <a:gd name="connsiteY34" fmla="*/ 285196 h 505330"/>
              <a:gd name="connsiteX35" fmla="*/ 1582693 w 5487431"/>
              <a:gd name="connsiteY35" fmla="*/ 268625 h 505330"/>
              <a:gd name="connsiteX36" fmla="*/ 1534551 w 5487431"/>
              <a:gd name="connsiteY36" fmla="*/ 223054 h 505330"/>
              <a:gd name="connsiteX37" fmla="*/ 1593825 w 5487431"/>
              <a:gd name="connsiteY37" fmla="*/ 178895 h 505330"/>
              <a:gd name="connsiteX38" fmla="*/ 1664992 w 5487431"/>
              <a:gd name="connsiteY38" fmla="*/ 245180 h 505330"/>
              <a:gd name="connsiteX39" fmla="*/ 1734731 w 5487431"/>
              <a:gd name="connsiteY39" fmla="*/ 224466 h 505330"/>
              <a:gd name="connsiteX40" fmla="*/ 1600771 w 5487431"/>
              <a:gd name="connsiteY40" fmla="*/ 142174 h 505330"/>
              <a:gd name="connsiteX41" fmla="*/ 1946803 w 5487431"/>
              <a:gd name="connsiteY41" fmla="*/ 463149 h 505330"/>
              <a:gd name="connsiteX42" fmla="*/ 1863078 w 5487431"/>
              <a:gd name="connsiteY42" fmla="*/ 321634 h 505330"/>
              <a:gd name="connsiteX43" fmla="*/ 1946803 w 5487431"/>
              <a:gd name="connsiteY43" fmla="*/ 180119 h 505330"/>
              <a:gd name="connsiteX44" fmla="*/ 2030529 w 5487431"/>
              <a:gd name="connsiteY44" fmla="*/ 321634 h 505330"/>
              <a:gd name="connsiteX45" fmla="*/ 1946803 w 5487431"/>
              <a:gd name="connsiteY45" fmla="*/ 463149 h 505330"/>
              <a:gd name="connsiteX46" fmla="*/ 1946803 w 5487431"/>
              <a:gd name="connsiteY46" fmla="*/ 142174 h 505330"/>
              <a:gd name="connsiteX47" fmla="*/ 1776594 w 5487431"/>
              <a:gd name="connsiteY47" fmla="*/ 321634 h 505330"/>
              <a:gd name="connsiteX48" fmla="*/ 1946803 w 5487431"/>
              <a:gd name="connsiteY48" fmla="*/ 501094 h 505330"/>
              <a:gd name="connsiteX49" fmla="*/ 2117013 w 5487431"/>
              <a:gd name="connsiteY49" fmla="*/ 321634 h 505330"/>
              <a:gd name="connsiteX50" fmla="*/ 1946803 w 5487431"/>
              <a:gd name="connsiteY50" fmla="*/ 142174 h 505330"/>
              <a:gd name="connsiteX51" fmla="*/ 2348590 w 5487431"/>
              <a:gd name="connsiteY51" fmla="*/ 142174 h 505330"/>
              <a:gd name="connsiteX52" fmla="*/ 2252306 w 5487431"/>
              <a:gd name="connsiteY52" fmla="*/ 192547 h 505330"/>
              <a:gd name="connsiteX53" fmla="*/ 2248119 w 5487431"/>
              <a:gd name="connsiteY53" fmla="*/ 192547 h 505330"/>
              <a:gd name="connsiteX54" fmla="*/ 2248119 w 5487431"/>
              <a:gd name="connsiteY54" fmla="*/ 149048 h 505330"/>
              <a:gd name="connsiteX55" fmla="*/ 2165821 w 5487431"/>
              <a:gd name="connsiteY55" fmla="*/ 149048 h 505330"/>
              <a:gd name="connsiteX56" fmla="*/ 2165821 w 5487431"/>
              <a:gd name="connsiteY56" fmla="*/ 494221 h 505330"/>
              <a:gd name="connsiteX57" fmla="*/ 2248119 w 5487431"/>
              <a:gd name="connsiteY57" fmla="*/ 494221 h 505330"/>
              <a:gd name="connsiteX58" fmla="*/ 2248119 w 5487431"/>
              <a:gd name="connsiteY58" fmla="*/ 271261 h 505330"/>
              <a:gd name="connsiteX59" fmla="*/ 2317193 w 5487431"/>
              <a:gd name="connsiteY59" fmla="*/ 190476 h 505330"/>
              <a:gd name="connsiteX60" fmla="*/ 2376466 w 5487431"/>
              <a:gd name="connsiteY60" fmla="*/ 258173 h 505330"/>
              <a:gd name="connsiteX61" fmla="*/ 2376466 w 5487431"/>
              <a:gd name="connsiteY61" fmla="*/ 494221 h 505330"/>
              <a:gd name="connsiteX62" fmla="*/ 2458764 w 5487431"/>
              <a:gd name="connsiteY62" fmla="*/ 494221 h 505330"/>
              <a:gd name="connsiteX63" fmla="*/ 2458764 w 5487431"/>
              <a:gd name="connsiteY63" fmla="*/ 257420 h 505330"/>
              <a:gd name="connsiteX64" fmla="*/ 2348590 w 5487431"/>
              <a:gd name="connsiteY64" fmla="*/ 142174 h 505330"/>
              <a:gd name="connsiteX65" fmla="*/ 3571359 w 5487431"/>
              <a:gd name="connsiteY65" fmla="*/ 463149 h 505330"/>
              <a:gd name="connsiteX66" fmla="*/ 3487634 w 5487431"/>
              <a:gd name="connsiteY66" fmla="*/ 321634 h 505330"/>
              <a:gd name="connsiteX67" fmla="*/ 3571359 w 5487431"/>
              <a:gd name="connsiteY67" fmla="*/ 180119 h 505330"/>
              <a:gd name="connsiteX68" fmla="*/ 3655085 w 5487431"/>
              <a:gd name="connsiteY68" fmla="*/ 321634 h 505330"/>
              <a:gd name="connsiteX69" fmla="*/ 3571359 w 5487431"/>
              <a:gd name="connsiteY69" fmla="*/ 463149 h 505330"/>
              <a:gd name="connsiteX70" fmla="*/ 3571359 w 5487431"/>
              <a:gd name="connsiteY70" fmla="*/ 142174 h 505330"/>
              <a:gd name="connsiteX71" fmla="*/ 3401150 w 5487431"/>
              <a:gd name="connsiteY71" fmla="*/ 321634 h 505330"/>
              <a:gd name="connsiteX72" fmla="*/ 3571359 w 5487431"/>
              <a:gd name="connsiteY72" fmla="*/ 501094 h 505330"/>
              <a:gd name="connsiteX73" fmla="*/ 3741569 w 5487431"/>
              <a:gd name="connsiteY73" fmla="*/ 321634 h 505330"/>
              <a:gd name="connsiteX74" fmla="*/ 3571359 w 5487431"/>
              <a:gd name="connsiteY74" fmla="*/ 142174 h 505330"/>
              <a:gd name="connsiteX75" fmla="*/ 4332308 w 5487431"/>
              <a:gd name="connsiteY75" fmla="*/ 142174 h 505330"/>
              <a:gd name="connsiteX76" fmla="*/ 4236024 w 5487431"/>
              <a:gd name="connsiteY76" fmla="*/ 192547 h 505330"/>
              <a:gd name="connsiteX77" fmla="*/ 4231838 w 5487431"/>
              <a:gd name="connsiteY77" fmla="*/ 192547 h 505330"/>
              <a:gd name="connsiteX78" fmla="*/ 4231838 w 5487431"/>
              <a:gd name="connsiteY78" fmla="*/ 149048 h 505330"/>
              <a:gd name="connsiteX79" fmla="*/ 4149539 w 5487431"/>
              <a:gd name="connsiteY79" fmla="*/ 149048 h 505330"/>
              <a:gd name="connsiteX80" fmla="*/ 4149539 w 5487431"/>
              <a:gd name="connsiteY80" fmla="*/ 494221 h 505330"/>
              <a:gd name="connsiteX81" fmla="*/ 4231838 w 5487431"/>
              <a:gd name="connsiteY81" fmla="*/ 494221 h 505330"/>
              <a:gd name="connsiteX82" fmla="*/ 4231838 w 5487431"/>
              <a:gd name="connsiteY82" fmla="*/ 271261 h 505330"/>
              <a:gd name="connsiteX83" fmla="*/ 4300911 w 5487431"/>
              <a:gd name="connsiteY83" fmla="*/ 190476 h 505330"/>
              <a:gd name="connsiteX84" fmla="*/ 4360185 w 5487431"/>
              <a:gd name="connsiteY84" fmla="*/ 258173 h 505330"/>
              <a:gd name="connsiteX85" fmla="*/ 4360185 w 5487431"/>
              <a:gd name="connsiteY85" fmla="*/ 494221 h 505330"/>
              <a:gd name="connsiteX86" fmla="*/ 4442483 w 5487431"/>
              <a:gd name="connsiteY86" fmla="*/ 494221 h 505330"/>
              <a:gd name="connsiteX87" fmla="*/ 4442483 w 5487431"/>
              <a:gd name="connsiteY87" fmla="*/ 257420 h 505330"/>
              <a:gd name="connsiteX88" fmla="*/ 4332308 w 5487431"/>
              <a:gd name="connsiteY88" fmla="*/ 142174 h 505330"/>
              <a:gd name="connsiteX89" fmla="*/ 4629533 w 5487431"/>
              <a:gd name="connsiteY89" fmla="*/ 142174 h 505330"/>
              <a:gd name="connsiteX90" fmla="*/ 4496334 w 5487431"/>
              <a:gd name="connsiteY90" fmla="*/ 241602 h 505330"/>
              <a:gd name="connsiteX91" fmla="*/ 4580725 w 5487431"/>
              <a:gd name="connsiteY91" fmla="*/ 341030 h 505330"/>
              <a:gd name="connsiteX92" fmla="*/ 4650464 w 5487431"/>
              <a:gd name="connsiteY92" fmla="*/ 358260 h 505330"/>
              <a:gd name="connsiteX93" fmla="*/ 4704220 w 5487431"/>
              <a:gd name="connsiteY93" fmla="*/ 409387 h 505330"/>
              <a:gd name="connsiteX94" fmla="*/ 4635146 w 5487431"/>
              <a:gd name="connsiteY94" fmla="*/ 464656 h 505330"/>
              <a:gd name="connsiteX95" fmla="*/ 4555607 w 5487431"/>
              <a:gd name="connsiteY95" fmla="*/ 384624 h 505330"/>
              <a:gd name="connsiteX96" fmla="*/ 4481682 w 5487431"/>
              <a:gd name="connsiteY96" fmla="*/ 405338 h 505330"/>
              <a:gd name="connsiteX97" fmla="*/ 4626108 w 5487431"/>
              <a:gd name="connsiteY97" fmla="*/ 501282 h 505330"/>
              <a:gd name="connsiteX98" fmla="*/ 4771200 w 5487431"/>
              <a:gd name="connsiteY98" fmla="*/ 388767 h 505330"/>
              <a:gd name="connsiteX99" fmla="*/ 4678436 w 5487431"/>
              <a:gd name="connsiteY99" fmla="*/ 285196 h 505330"/>
              <a:gd name="connsiteX100" fmla="*/ 4611456 w 5487431"/>
              <a:gd name="connsiteY100" fmla="*/ 268625 h 505330"/>
              <a:gd name="connsiteX101" fmla="*/ 4563314 w 5487431"/>
              <a:gd name="connsiteY101" fmla="*/ 223054 h 505330"/>
              <a:gd name="connsiteX102" fmla="*/ 4622588 w 5487431"/>
              <a:gd name="connsiteY102" fmla="*/ 178895 h 505330"/>
              <a:gd name="connsiteX103" fmla="*/ 4693754 w 5487431"/>
              <a:gd name="connsiteY103" fmla="*/ 245180 h 505330"/>
              <a:gd name="connsiteX104" fmla="*/ 4763493 w 5487431"/>
              <a:gd name="connsiteY104" fmla="*/ 224466 h 505330"/>
              <a:gd name="connsiteX105" fmla="*/ 4629533 w 5487431"/>
              <a:gd name="connsiteY105" fmla="*/ 142174 h 505330"/>
              <a:gd name="connsiteX106" fmla="*/ 4975471 w 5487431"/>
              <a:gd name="connsiteY106" fmla="*/ 463149 h 505330"/>
              <a:gd name="connsiteX107" fmla="*/ 4891745 w 5487431"/>
              <a:gd name="connsiteY107" fmla="*/ 321634 h 505330"/>
              <a:gd name="connsiteX108" fmla="*/ 4975471 w 5487431"/>
              <a:gd name="connsiteY108" fmla="*/ 180119 h 505330"/>
              <a:gd name="connsiteX109" fmla="*/ 5059196 w 5487431"/>
              <a:gd name="connsiteY109" fmla="*/ 321634 h 505330"/>
              <a:gd name="connsiteX110" fmla="*/ 4975471 w 5487431"/>
              <a:gd name="connsiteY110" fmla="*/ 463149 h 505330"/>
              <a:gd name="connsiteX111" fmla="*/ 4975471 w 5487431"/>
              <a:gd name="connsiteY111" fmla="*/ 142174 h 505330"/>
              <a:gd name="connsiteX112" fmla="*/ 4805261 w 5487431"/>
              <a:gd name="connsiteY112" fmla="*/ 321634 h 505330"/>
              <a:gd name="connsiteX113" fmla="*/ 4975471 w 5487431"/>
              <a:gd name="connsiteY113" fmla="*/ 501094 h 505330"/>
              <a:gd name="connsiteX114" fmla="*/ 5145680 w 5487431"/>
              <a:gd name="connsiteY114" fmla="*/ 321634 h 505330"/>
              <a:gd name="connsiteX115" fmla="*/ 4975471 w 5487431"/>
              <a:gd name="connsiteY115" fmla="*/ 142174 h 505330"/>
              <a:gd name="connsiteX116" fmla="*/ 5377257 w 5487431"/>
              <a:gd name="connsiteY116" fmla="*/ 142174 h 505330"/>
              <a:gd name="connsiteX117" fmla="*/ 5280973 w 5487431"/>
              <a:gd name="connsiteY117" fmla="*/ 192547 h 505330"/>
              <a:gd name="connsiteX118" fmla="*/ 5276787 w 5487431"/>
              <a:gd name="connsiteY118" fmla="*/ 192547 h 505330"/>
              <a:gd name="connsiteX119" fmla="*/ 5276787 w 5487431"/>
              <a:gd name="connsiteY119" fmla="*/ 149048 h 505330"/>
              <a:gd name="connsiteX120" fmla="*/ 5194488 w 5487431"/>
              <a:gd name="connsiteY120" fmla="*/ 149048 h 505330"/>
              <a:gd name="connsiteX121" fmla="*/ 5194488 w 5487431"/>
              <a:gd name="connsiteY121" fmla="*/ 494221 h 505330"/>
              <a:gd name="connsiteX122" fmla="*/ 5276787 w 5487431"/>
              <a:gd name="connsiteY122" fmla="*/ 494221 h 505330"/>
              <a:gd name="connsiteX123" fmla="*/ 5276787 w 5487431"/>
              <a:gd name="connsiteY123" fmla="*/ 271261 h 505330"/>
              <a:gd name="connsiteX124" fmla="*/ 5345860 w 5487431"/>
              <a:gd name="connsiteY124" fmla="*/ 190476 h 505330"/>
              <a:gd name="connsiteX125" fmla="*/ 5405134 w 5487431"/>
              <a:gd name="connsiteY125" fmla="*/ 258173 h 505330"/>
              <a:gd name="connsiteX126" fmla="*/ 5405134 w 5487431"/>
              <a:gd name="connsiteY126" fmla="*/ 494221 h 505330"/>
              <a:gd name="connsiteX127" fmla="*/ 5487432 w 5487431"/>
              <a:gd name="connsiteY127" fmla="*/ 494221 h 505330"/>
              <a:gd name="connsiteX128" fmla="*/ 5487432 w 5487431"/>
              <a:gd name="connsiteY128" fmla="*/ 257420 h 505330"/>
              <a:gd name="connsiteX129" fmla="*/ 5377257 w 5487431"/>
              <a:gd name="connsiteY129" fmla="*/ 142174 h 505330"/>
              <a:gd name="connsiteX130" fmla="*/ 323674 w 5487431"/>
              <a:gd name="connsiteY130" fmla="*/ 11016 h 505330"/>
              <a:gd name="connsiteX131" fmla="*/ 237190 w 5487431"/>
              <a:gd name="connsiteY131" fmla="*/ 11016 h 505330"/>
              <a:gd name="connsiteX132" fmla="*/ 237190 w 5487431"/>
              <a:gd name="connsiteY132" fmla="*/ 367864 h 505330"/>
              <a:gd name="connsiteX133" fmla="*/ 161837 w 5487431"/>
              <a:gd name="connsiteY133" fmla="*/ 460325 h 505330"/>
              <a:gd name="connsiteX134" fmla="*/ 86484 w 5487431"/>
              <a:gd name="connsiteY134" fmla="*/ 360897 h 505330"/>
              <a:gd name="connsiteX135" fmla="*/ 86484 w 5487431"/>
              <a:gd name="connsiteY135" fmla="*/ 294612 h 505330"/>
              <a:gd name="connsiteX136" fmla="*/ 0 w 5487431"/>
              <a:gd name="connsiteY136" fmla="*/ 315985 h 505330"/>
              <a:gd name="connsiteX137" fmla="*/ 0 w 5487431"/>
              <a:gd name="connsiteY137" fmla="*/ 345644 h 505330"/>
              <a:gd name="connsiteX138" fmla="*/ 161837 w 5487431"/>
              <a:gd name="connsiteY138" fmla="*/ 505143 h 505330"/>
              <a:gd name="connsiteX139" fmla="*/ 323674 w 5487431"/>
              <a:gd name="connsiteY139" fmla="*/ 345644 h 505330"/>
              <a:gd name="connsiteX140" fmla="*/ 323674 w 5487431"/>
              <a:gd name="connsiteY140" fmla="*/ 11016 h 505330"/>
              <a:gd name="connsiteX141" fmla="*/ 844008 w 5487431"/>
              <a:gd name="connsiteY141" fmla="*/ 11016 h 505330"/>
              <a:gd name="connsiteX142" fmla="*/ 761710 w 5487431"/>
              <a:gd name="connsiteY142" fmla="*/ 11016 h 505330"/>
              <a:gd name="connsiteX143" fmla="*/ 761710 w 5487431"/>
              <a:gd name="connsiteY143" fmla="*/ 494221 h 505330"/>
              <a:gd name="connsiteX144" fmla="*/ 844008 w 5487431"/>
              <a:gd name="connsiteY144" fmla="*/ 494221 h 505330"/>
              <a:gd name="connsiteX145" fmla="*/ 844008 w 5487431"/>
              <a:gd name="connsiteY145" fmla="*/ 271261 h 505330"/>
              <a:gd name="connsiteX146" fmla="*/ 913081 w 5487431"/>
              <a:gd name="connsiteY146" fmla="*/ 190476 h 505330"/>
              <a:gd name="connsiteX147" fmla="*/ 972355 w 5487431"/>
              <a:gd name="connsiteY147" fmla="*/ 258173 h 505330"/>
              <a:gd name="connsiteX148" fmla="*/ 972355 w 5487431"/>
              <a:gd name="connsiteY148" fmla="*/ 494221 h 505330"/>
              <a:gd name="connsiteX149" fmla="*/ 1054653 w 5487431"/>
              <a:gd name="connsiteY149" fmla="*/ 494221 h 505330"/>
              <a:gd name="connsiteX150" fmla="*/ 1054653 w 5487431"/>
              <a:gd name="connsiteY150" fmla="*/ 257420 h 505330"/>
              <a:gd name="connsiteX151" fmla="*/ 944478 w 5487431"/>
              <a:gd name="connsiteY151" fmla="*/ 142174 h 505330"/>
              <a:gd name="connsiteX152" fmla="*/ 848194 w 5487431"/>
              <a:gd name="connsiteY152" fmla="*/ 192547 h 505330"/>
              <a:gd name="connsiteX153" fmla="*/ 844008 w 5487431"/>
              <a:gd name="connsiteY153" fmla="*/ 192547 h 505330"/>
              <a:gd name="connsiteX154" fmla="*/ 844008 w 5487431"/>
              <a:gd name="connsiteY154" fmla="*/ 11016 h 505330"/>
              <a:gd name="connsiteX155" fmla="*/ 3352342 w 5487431"/>
              <a:gd name="connsiteY155" fmla="*/ 11016 h 505330"/>
              <a:gd name="connsiteX156" fmla="*/ 3265857 w 5487431"/>
              <a:gd name="connsiteY156" fmla="*/ 11016 h 505330"/>
              <a:gd name="connsiteX157" fmla="*/ 3265857 w 5487431"/>
              <a:gd name="connsiteY157" fmla="*/ 367864 h 505330"/>
              <a:gd name="connsiteX158" fmla="*/ 3190504 w 5487431"/>
              <a:gd name="connsiteY158" fmla="*/ 460325 h 505330"/>
              <a:gd name="connsiteX159" fmla="*/ 3115152 w 5487431"/>
              <a:gd name="connsiteY159" fmla="*/ 360897 h 505330"/>
              <a:gd name="connsiteX160" fmla="*/ 3115152 w 5487431"/>
              <a:gd name="connsiteY160" fmla="*/ 294612 h 505330"/>
              <a:gd name="connsiteX161" fmla="*/ 3028667 w 5487431"/>
              <a:gd name="connsiteY161" fmla="*/ 315985 h 505330"/>
              <a:gd name="connsiteX162" fmla="*/ 3028667 w 5487431"/>
              <a:gd name="connsiteY162" fmla="*/ 345644 h 505330"/>
              <a:gd name="connsiteX163" fmla="*/ 3190504 w 5487431"/>
              <a:gd name="connsiteY163" fmla="*/ 505143 h 505330"/>
              <a:gd name="connsiteX164" fmla="*/ 3352342 w 5487431"/>
              <a:gd name="connsiteY164" fmla="*/ 345644 h 505330"/>
              <a:gd name="connsiteX165" fmla="*/ 3352342 w 5487431"/>
              <a:gd name="connsiteY165" fmla="*/ 11016 h 505330"/>
              <a:gd name="connsiteX166" fmla="*/ 3872675 w 5487431"/>
              <a:gd name="connsiteY166" fmla="*/ 11016 h 505330"/>
              <a:gd name="connsiteX167" fmla="*/ 3790377 w 5487431"/>
              <a:gd name="connsiteY167" fmla="*/ 11016 h 505330"/>
              <a:gd name="connsiteX168" fmla="*/ 3790377 w 5487431"/>
              <a:gd name="connsiteY168" fmla="*/ 494221 h 505330"/>
              <a:gd name="connsiteX169" fmla="*/ 3872675 w 5487431"/>
              <a:gd name="connsiteY169" fmla="*/ 494221 h 505330"/>
              <a:gd name="connsiteX170" fmla="*/ 3872675 w 5487431"/>
              <a:gd name="connsiteY170" fmla="*/ 271261 h 505330"/>
              <a:gd name="connsiteX171" fmla="*/ 3941749 w 5487431"/>
              <a:gd name="connsiteY171" fmla="*/ 190476 h 505330"/>
              <a:gd name="connsiteX172" fmla="*/ 4001022 w 5487431"/>
              <a:gd name="connsiteY172" fmla="*/ 258173 h 505330"/>
              <a:gd name="connsiteX173" fmla="*/ 4001022 w 5487431"/>
              <a:gd name="connsiteY173" fmla="*/ 494221 h 505330"/>
              <a:gd name="connsiteX174" fmla="*/ 4083320 w 5487431"/>
              <a:gd name="connsiteY174" fmla="*/ 494221 h 505330"/>
              <a:gd name="connsiteX175" fmla="*/ 4083320 w 5487431"/>
              <a:gd name="connsiteY175" fmla="*/ 257420 h 505330"/>
              <a:gd name="connsiteX176" fmla="*/ 3973146 w 5487431"/>
              <a:gd name="connsiteY176" fmla="*/ 142174 h 505330"/>
              <a:gd name="connsiteX177" fmla="*/ 3876861 w 5487431"/>
              <a:gd name="connsiteY177" fmla="*/ 192547 h 505330"/>
              <a:gd name="connsiteX178" fmla="*/ 3872675 w 5487431"/>
              <a:gd name="connsiteY178" fmla="*/ 192547 h 505330"/>
              <a:gd name="connsiteX179" fmla="*/ 3872675 w 5487431"/>
              <a:gd name="connsiteY179" fmla="*/ 11016 h 505330"/>
              <a:gd name="connsiteX180" fmla="*/ 2730110 w 5487431"/>
              <a:gd name="connsiteY180" fmla="*/ 454864 h 505330"/>
              <a:gd name="connsiteX181" fmla="*/ 2622029 w 5487431"/>
              <a:gd name="connsiteY181" fmla="*/ 343761 h 505330"/>
              <a:gd name="connsiteX182" fmla="*/ 2664557 w 5487431"/>
              <a:gd name="connsiteY182" fmla="*/ 256102 h 505330"/>
              <a:gd name="connsiteX183" fmla="*/ 2822208 w 5487431"/>
              <a:gd name="connsiteY183" fmla="*/ 426617 h 505330"/>
              <a:gd name="connsiteX184" fmla="*/ 2730110 w 5487431"/>
              <a:gd name="connsiteY184" fmla="*/ 454864 h 505330"/>
              <a:gd name="connsiteX185" fmla="*/ 2883575 w 5487431"/>
              <a:gd name="connsiteY185" fmla="*/ 369936 h 505330"/>
              <a:gd name="connsiteX186" fmla="*/ 2746856 w 5487431"/>
              <a:gd name="connsiteY186" fmla="*/ 220794 h 505330"/>
              <a:gd name="connsiteX187" fmla="*/ 2814502 w 5487431"/>
              <a:gd name="connsiteY187" fmla="*/ 207706 h 505330"/>
              <a:gd name="connsiteX188" fmla="*/ 2905838 w 5487431"/>
              <a:gd name="connsiteY188" fmla="*/ 296118 h 505330"/>
              <a:gd name="connsiteX189" fmla="*/ 2883575 w 5487431"/>
              <a:gd name="connsiteY189" fmla="*/ 369936 h 505330"/>
              <a:gd name="connsiteX190" fmla="*/ 2728017 w 5487431"/>
              <a:gd name="connsiteY190" fmla="*/ 200833 h 505330"/>
              <a:gd name="connsiteX191" fmla="*/ 2698047 w 5487431"/>
              <a:gd name="connsiteY191" fmla="*/ 167690 h 505330"/>
              <a:gd name="connsiteX192" fmla="*/ 2663891 w 5487431"/>
              <a:gd name="connsiteY192" fmla="*/ 99334 h 505330"/>
              <a:gd name="connsiteX193" fmla="*/ 2730110 w 5487431"/>
              <a:gd name="connsiteY193" fmla="*/ 36532 h 505330"/>
              <a:gd name="connsiteX194" fmla="*/ 2795664 w 5487431"/>
              <a:gd name="connsiteY194" fmla="*/ 102817 h 505330"/>
              <a:gd name="connsiteX195" fmla="*/ 2728017 w 5487431"/>
              <a:gd name="connsiteY195" fmla="*/ 200833 h 505330"/>
              <a:gd name="connsiteX196" fmla="*/ 2732204 w 5487431"/>
              <a:gd name="connsiteY196" fmla="*/ 0 h 505330"/>
              <a:gd name="connsiteX197" fmla="*/ 2588539 w 5487431"/>
              <a:gd name="connsiteY197" fmla="*/ 119389 h 505330"/>
              <a:gd name="connsiteX198" fmla="*/ 2644387 w 5487431"/>
              <a:gd name="connsiteY198" fmla="*/ 234635 h 505330"/>
              <a:gd name="connsiteX199" fmla="*/ 2645053 w 5487431"/>
              <a:gd name="connsiteY199" fmla="*/ 236047 h 505330"/>
              <a:gd name="connsiteX200" fmla="*/ 2545344 w 5487431"/>
              <a:gd name="connsiteY200" fmla="*/ 374832 h 505330"/>
              <a:gd name="connsiteX201" fmla="*/ 2685584 w 5487431"/>
              <a:gd name="connsiteY201" fmla="*/ 505331 h 505330"/>
              <a:gd name="connsiteX202" fmla="*/ 2843235 w 5487431"/>
              <a:gd name="connsiteY202" fmla="*/ 449403 h 505330"/>
              <a:gd name="connsiteX203" fmla="*/ 2885097 w 5487431"/>
              <a:gd name="connsiteY203" fmla="*/ 494315 h 505330"/>
              <a:gd name="connsiteX204" fmla="*/ 2994606 w 5487431"/>
              <a:gd name="connsiteY204" fmla="*/ 494315 h 505330"/>
              <a:gd name="connsiteX205" fmla="*/ 2994606 w 5487431"/>
              <a:gd name="connsiteY205" fmla="*/ 490831 h 505330"/>
              <a:gd name="connsiteX206" fmla="*/ 2905363 w 5487431"/>
              <a:gd name="connsiteY206" fmla="*/ 393474 h 505330"/>
              <a:gd name="connsiteX207" fmla="*/ 2964637 w 5487431"/>
              <a:gd name="connsiteY207" fmla="*/ 258833 h 505330"/>
              <a:gd name="connsiteX208" fmla="*/ 2873300 w 5487431"/>
              <a:gd name="connsiteY208" fmla="*/ 171174 h 505330"/>
              <a:gd name="connsiteX209" fmla="*/ 2789574 w 5487431"/>
              <a:gd name="connsiteY209" fmla="*/ 187745 h 505330"/>
              <a:gd name="connsiteX210" fmla="*/ 2788147 w 5487431"/>
              <a:gd name="connsiteY210" fmla="*/ 185015 h 505330"/>
              <a:gd name="connsiteX211" fmla="*/ 2863500 w 5487431"/>
              <a:gd name="connsiteY211" fmla="*/ 93873 h 505330"/>
              <a:gd name="connsiteX212" fmla="*/ 2732204 w 5487431"/>
              <a:gd name="connsiteY212" fmla="*/ 0 h 50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5487431" h="505330">
                <a:moveTo>
                  <a:pt x="542692" y="463149"/>
                </a:moveTo>
                <a:cubicBezTo>
                  <a:pt x="488937" y="463149"/>
                  <a:pt x="458967" y="412776"/>
                  <a:pt x="458967" y="321634"/>
                </a:cubicBezTo>
                <a:cubicBezTo>
                  <a:pt x="458967" y="229080"/>
                  <a:pt x="488937" y="180119"/>
                  <a:pt x="542692" y="180119"/>
                </a:cubicBezTo>
                <a:cubicBezTo>
                  <a:pt x="596448" y="180119"/>
                  <a:pt x="626417" y="229833"/>
                  <a:pt x="626417" y="321634"/>
                </a:cubicBezTo>
                <a:cubicBezTo>
                  <a:pt x="626322" y="414189"/>
                  <a:pt x="596352" y="463149"/>
                  <a:pt x="542692" y="463149"/>
                </a:cubicBezTo>
                <a:moveTo>
                  <a:pt x="542692" y="142174"/>
                </a:moveTo>
                <a:cubicBezTo>
                  <a:pt x="433183" y="142174"/>
                  <a:pt x="372482" y="222959"/>
                  <a:pt x="372482" y="321634"/>
                </a:cubicBezTo>
                <a:cubicBezTo>
                  <a:pt x="372482" y="420309"/>
                  <a:pt x="433183" y="501094"/>
                  <a:pt x="542692" y="501094"/>
                </a:cubicBezTo>
                <a:cubicBezTo>
                  <a:pt x="652201" y="501094"/>
                  <a:pt x="712902" y="420309"/>
                  <a:pt x="712902" y="321634"/>
                </a:cubicBezTo>
                <a:cubicBezTo>
                  <a:pt x="712902" y="222959"/>
                  <a:pt x="652201" y="142174"/>
                  <a:pt x="542692" y="142174"/>
                </a:cubicBezTo>
                <a:moveTo>
                  <a:pt x="1303641" y="142174"/>
                </a:moveTo>
                <a:cubicBezTo>
                  <a:pt x="1251979" y="142174"/>
                  <a:pt x="1223436" y="164301"/>
                  <a:pt x="1207357" y="192547"/>
                </a:cubicBezTo>
                <a:lnTo>
                  <a:pt x="1203170" y="192547"/>
                </a:lnTo>
                <a:lnTo>
                  <a:pt x="1203170" y="149048"/>
                </a:lnTo>
                <a:lnTo>
                  <a:pt x="1120872" y="149048"/>
                </a:lnTo>
                <a:lnTo>
                  <a:pt x="1120872" y="494221"/>
                </a:lnTo>
                <a:lnTo>
                  <a:pt x="1203170" y="494221"/>
                </a:lnTo>
                <a:lnTo>
                  <a:pt x="1203170" y="271261"/>
                </a:lnTo>
                <a:cubicBezTo>
                  <a:pt x="1203170" y="220229"/>
                  <a:pt x="1229715" y="190476"/>
                  <a:pt x="1272244" y="190476"/>
                </a:cubicBezTo>
                <a:cubicBezTo>
                  <a:pt x="1313440" y="190476"/>
                  <a:pt x="1331518" y="217404"/>
                  <a:pt x="1331518" y="258173"/>
                </a:cubicBezTo>
                <a:lnTo>
                  <a:pt x="1331518" y="494221"/>
                </a:lnTo>
                <a:lnTo>
                  <a:pt x="1413816" y="494221"/>
                </a:lnTo>
                <a:lnTo>
                  <a:pt x="1413816" y="257420"/>
                </a:lnTo>
                <a:cubicBezTo>
                  <a:pt x="1413911" y="186333"/>
                  <a:pt x="1376234" y="142174"/>
                  <a:pt x="1303641" y="142174"/>
                </a:cubicBezTo>
                <a:moveTo>
                  <a:pt x="1600771" y="142174"/>
                </a:moveTo>
                <a:cubicBezTo>
                  <a:pt x="1524752" y="142174"/>
                  <a:pt x="1467571" y="173905"/>
                  <a:pt x="1467571" y="241602"/>
                </a:cubicBezTo>
                <a:cubicBezTo>
                  <a:pt x="1467571" y="298943"/>
                  <a:pt x="1507341" y="330014"/>
                  <a:pt x="1551962" y="341030"/>
                </a:cubicBezTo>
                <a:lnTo>
                  <a:pt x="1621702" y="358260"/>
                </a:lnTo>
                <a:cubicBezTo>
                  <a:pt x="1658712" y="367205"/>
                  <a:pt x="1675457" y="380387"/>
                  <a:pt x="1675457" y="409387"/>
                </a:cubicBezTo>
                <a:cubicBezTo>
                  <a:pt x="1675457" y="444601"/>
                  <a:pt x="1650340" y="464656"/>
                  <a:pt x="1606384" y="464656"/>
                </a:cubicBezTo>
                <a:cubicBezTo>
                  <a:pt x="1558908" y="464656"/>
                  <a:pt x="1534551" y="441870"/>
                  <a:pt x="1526845" y="384624"/>
                </a:cubicBezTo>
                <a:lnTo>
                  <a:pt x="1452919" y="405338"/>
                </a:lnTo>
                <a:cubicBezTo>
                  <a:pt x="1457106" y="464750"/>
                  <a:pt x="1512954" y="501282"/>
                  <a:pt x="1597345" y="501282"/>
                </a:cubicBezTo>
                <a:cubicBezTo>
                  <a:pt x="1691536" y="501282"/>
                  <a:pt x="1742438" y="457782"/>
                  <a:pt x="1742438" y="388767"/>
                </a:cubicBezTo>
                <a:cubicBezTo>
                  <a:pt x="1742438" y="323894"/>
                  <a:pt x="1697055" y="296965"/>
                  <a:pt x="1649674" y="285196"/>
                </a:cubicBezTo>
                <a:lnTo>
                  <a:pt x="1582693" y="268625"/>
                </a:lnTo>
                <a:cubicBezTo>
                  <a:pt x="1549203" y="260339"/>
                  <a:pt x="1534551" y="245180"/>
                  <a:pt x="1534551" y="223054"/>
                </a:cubicBezTo>
                <a:cubicBezTo>
                  <a:pt x="1534551" y="195466"/>
                  <a:pt x="1558242" y="178895"/>
                  <a:pt x="1593825" y="178895"/>
                </a:cubicBezTo>
                <a:cubicBezTo>
                  <a:pt x="1635688" y="178895"/>
                  <a:pt x="1661471" y="201680"/>
                  <a:pt x="1664992" y="245180"/>
                </a:cubicBezTo>
                <a:lnTo>
                  <a:pt x="1734731" y="224466"/>
                </a:lnTo>
                <a:cubicBezTo>
                  <a:pt x="1726358" y="175976"/>
                  <a:pt x="1678216" y="142174"/>
                  <a:pt x="1600771" y="142174"/>
                </a:cubicBezTo>
                <a:moveTo>
                  <a:pt x="1946803" y="463149"/>
                </a:moveTo>
                <a:cubicBezTo>
                  <a:pt x="1893048" y="463149"/>
                  <a:pt x="1863078" y="412776"/>
                  <a:pt x="1863078" y="321634"/>
                </a:cubicBezTo>
                <a:cubicBezTo>
                  <a:pt x="1863078" y="229080"/>
                  <a:pt x="1893048" y="180119"/>
                  <a:pt x="1946803" y="180119"/>
                </a:cubicBezTo>
                <a:cubicBezTo>
                  <a:pt x="2000559" y="180119"/>
                  <a:pt x="2030529" y="229833"/>
                  <a:pt x="2030529" y="321634"/>
                </a:cubicBezTo>
                <a:cubicBezTo>
                  <a:pt x="2030529" y="414189"/>
                  <a:pt x="2000464" y="463149"/>
                  <a:pt x="1946803" y="463149"/>
                </a:cubicBezTo>
                <a:moveTo>
                  <a:pt x="1946803" y="142174"/>
                </a:moveTo>
                <a:cubicBezTo>
                  <a:pt x="1837294" y="142174"/>
                  <a:pt x="1776594" y="222959"/>
                  <a:pt x="1776594" y="321634"/>
                </a:cubicBezTo>
                <a:cubicBezTo>
                  <a:pt x="1776594" y="420309"/>
                  <a:pt x="1837294" y="501094"/>
                  <a:pt x="1946803" y="501094"/>
                </a:cubicBezTo>
                <a:cubicBezTo>
                  <a:pt x="2056312" y="501094"/>
                  <a:pt x="2117013" y="420309"/>
                  <a:pt x="2117013" y="321634"/>
                </a:cubicBezTo>
                <a:cubicBezTo>
                  <a:pt x="2117013" y="222959"/>
                  <a:pt x="2056312" y="142174"/>
                  <a:pt x="1946803" y="142174"/>
                </a:cubicBezTo>
                <a:moveTo>
                  <a:pt x="2348590" y="142174"/>
                </a:moveTo>
                <a:cubicBezTo>
                  <a:pt x="2296927" y="142174"/>
                  <a:pt x="2268385" y="164301"/>
                  <a:pt x="2252306" y="192547"/>
                </a:cubicBezTo>
                <a:lnTo>
                  <a:pt x="2248119" y="192547"/>
                </a:lnTo>
                <a:lnTo>
                  <a:pt x="2248119" y="149048"/>
                </a:lnTo>
                <a:lnTo>
                  <a:pt x="2165821" y="149048"/>
                </a:lnTo>
                <a:lnTo>
                  <a:pt x="2165821" y="494221"/>
                </a:lnTo>
                <a:lnTo>
                  <a:pt x="2248119" y="494221"/>
                </a:lnTo>
                <a:lnTo>
                  <a:pt x="2248119" y="271261"/>
                </a:lnTo>
                <a:cubicBezTo>
                  <a:pt x="2248119" y="220229"/>
                  <a:pt x="2274664" y="190476"/>
                  <a:pt x="2317193" y="190476"/>
                </a:cubicBezTo>
                <a:cubicBezTo>
                  <a:pt x="2358389" y="190476"/>
                  <a:pt x="2376466" y="217404"/>
                  <a:pt x="2376466" y="258173"/>
                </a:cubicBezTo>
                <a:lnTo>
                  <a:pt x="2376466" y="494221"/>
                </a:lnTo>
                <a:lnTo>
                  <a:pt x="2458764" y="494221"/>
                </a:lnTo>
                <a:lnTo>
                  <a:pt x="2458764" y="257420"/>
                </a:lnTo>
                <a:cubicBezTo>
                  <a:pt x="2458764" y="186333"/>
                  <a:pt x="2421088" y="142174"/>
                  <a:pt x="2348590" y="142174"/>
                </a:cubicBezTo>
                <a:moveTo>
                  <a:pt x="3571359" y="463149"/>
                </a:moveTo>
                <a:cubicBezTo>
                  <a:pt x="3517604" y="463149"/>
                  <a:pt x="3487634" y="412776"/>
                  <a:pt x="3487634" y="321634"/>
                </a:cubicBezTo>
                <a:cubicBezTo>
                  <a:pt x="3487634" y="229080"/>
                  <a:pt x="3517604" y="180119"/>
                  <a:pt x="3571359" y="180119"/>
                </a:cubicBezTo>
                <a:cubicBezTo>
                  <a:pt x="3625115" y="180119"/>
                  <a:pt x="3655085" y="229833"/>
                  <a:pt x="3655085" y="321634"/>
                </a:cubicBezTo>
                <a:cubicBezTo>
                  <a:pt x="3655085" y="414189"/>
                  <a:pt x="3625020" y="463149"/>
                  <a:pt x="3571359" y="463149"/>
                </a:cubicBezTo>
                <a:moveTo>
                  <a:pt x="3571359" y="142174"/>
                </a:moveTo>
                <a:cubicBezTo>
                  <a:pt x="3461850" y="142174"/>
                  <a:pt x="3401150" y="222959"/>
                  <a:pt x="3401150" y="321634"/>
                </a:cubicBezTo>
                <a:cubicBezTo>
                  <a:pt x="3401150" y="420309"/>
                  <a:pt x="3461850" y="501094"/>
                  <a:pt x="3571359" y="501094"/>
                </a:cubicBezTo>
                <a:cubicBezTo>
                  <a:pt x="3680868" y="501094"/>
                  <a:pt x="3741569" y="420309"/>
                  <a:pt x="3741569" y="321634"/>
                </a:cubicBezTo>
                <a:cubicBezTo>
                  <a:pt x="3741569" y="222959"/>
                  <a:pt x="3680868" y="142174"/>
                  <a:pt x="3571359" y="142174"/>
                </a:cubicBezTo>
                <a:moveTo>
                  <a:pt x="4332308" y="142174"/>
                </a:moveTo>
                <a:cubicBezTo>
                  <a:pt x="4280646" y="142174"/>
                  <a:pt x="4252103" y="164301"/>
                  <a:pt x="4236024" y="192547"/>
                </a:cubicBezTo>
                <a:lnTo>
                  <a:pt x="4231838" y="192547"/>
                </a:lnTo>
                <a:lnTo>
                  <a:pt x="4231838" y="149048"/>
                </a:lnTo>
                <a:lnTo>
                  <a:pt x="4149539" y="149048"/>
                </a:lnTo>
                <a:lnTo>
                  <a:pt x="4149539" y="494221"/>
                </a:lnTo>
                <a:lnTo>
                  <a:pt x="4231838" y="494221"/>
                </a:lnTo>
                <a:lnTo>
                  <a:pt x="4231838" y="271261"/>
                </a:lnTo>
                <a:cubicBezTo>
                  <a:pt x="4231838" y="220229"/>
                  <a:pt x="4258383" y="190476"/>
                  <a:pt x="4300911" y="190476"/>
                </a:cubicBezTo>
                <a:cubicBezTo>
                  <a:pt x="4342108" y="190476"/>
                  <a:pt x="4360185" y="217404"/>
                  <a:pt x="4360185" y="258173"/>
                </a:cubicBezTo>
                <a:lnTo>
                  <a:pt x="4360185" y="494221"/>
                </a:lnTo>
                <a:lnTo>
                  <a:pt x="4442483" y="494221"/>
                </a:lnTo>
                <a:lnTo>
                  <a:pt x="4442483" y="257420"/>
                </a:lnTo>
                <a:cubicBezTo>
                  <a:pt x="4442578" y="186333"/>
                  <a:pt x="4404902" y="142174"/>
                  <a:pt x="4332308" y="142174"/>
                </a:cubicBezTo>
                <a:moveTo>
                  <a:pt x="4629533" y="142174"/>
                </a:moveTo>
                <a:cubicBezTo>
                  <a:pt x="4553514" y="142174"/>
                  <a:pt x="4496334" y="173905"/>
                  <a:pt x="4496334" y="241602"/>
                </a:cubicBezTo>
                <a:cubicBezTo>
                  <a:pt x="4496334" y="298943"/>
                  <a:pt x="4536103" y="330014"/>
                  <a:pt x="4580725" y="341030"/>
                </a:cubicBezTo>
                <a:lnTo>
                  <a:pt x="4650464" y="358260"/>
                </a:lnTo>
                <a:cubicBezTo>
                  <a:pt x="4687475" y="367205"/>
                  <a:pt x="4704220" y="380387"/>
                  <a:pt x="4704220" y="409387"/>
                </a:cubicBezTo>
                <a:cubicBezTo>
                  <a:pt x="4704220" y="444601"/>
                  <a:pt x="4679102" y="464656"/>
                  <a:pt x="4635146" y="464656"/>
                </a:cubicBezTo>
                <a:cubicBezTo>
                  <a:pt x="4587670" y="464656"/>
                  <a:pt x="4563314" y="441870"/>
                  <a:pt x="4555607" y="384624"/>
                </a:cubicBezTo>
                <a:lnTo>
                  <a:pt x="4481682" y="405338"/>
                </a:lnTo>
                <a:cubicBezTo>
                  <a:pt x="4485868" y="464750"/>
                  <a:pt x="4541716" y="501282"/>
                  <a:pt x="4626108" y="501282"/>
                </a:cubicBezTo>
                <a:cubicBezTo>
                  <a:pt x="4720299" y="501282"/>
                  <a:pt x="4771200" y="457782"/>
                  <a:pt x="4771200" y="388767"/>
                </a:cubicBezTo>
                <a:cubicBezTo>
                  <a:pt x="4771200" y="323894"/>
                  <a:pt x="4725817" y="296965"/>
                  <a:pt x="4678436" y="285196"/>
                </a:cubicBezTo>
                <a:lnTo>
                  <a:pt x="4611456" y="268625"/>
                </a:lnTo>
                <a:cubicBezTo>
                  <a:pt x="4577966" y="260339"/>
                  <a:pt x="4563314" y="245180"/>
                  <a:pt x="4563314" y="223054"/>
                </a:cubicBezTo>
                <a:cubicBezTo>
                  <a:pt x="4563314" y="195466"/>
                  <a:pt x="4587004" y="178895"/>
                  <a:pt x="4622588" y="178895"/>
                </a:cubicBezTo>
                <a:cubicBezTo>
                  <a:pt x="4664450" y="178895"/>
                  <a:pt x="4690234" y="201680"/>
                  <a:pt x="4693754" y="245180"/>
                </a:cubicBezTo>
                <a:lnTo>
                  <a:pt x="4763493" y="224466"/>
                </a:lnTo>
                <a:cubicBezTo>
                  <a:pt x="4755026" y="175976"/>
                  <a:pt x="4706884" y="142174"/>
                  <a:pt x="4629533" y="142174"/>
                </a:cubicBezTo>
                <a:moveTo>
                  <a:pt x="4975471" y="463149"/>
                </a:moveTo>
                <a:cubicBezTo>
                  <a:pt x="4921715" y="463149"/>
                  <a:pt x="4891745" y="412776"/>
                  <a:pt x="4891745" y="321634"/>
                </a:cubicBezTo>
                <a:cubicBezTo>
                  <a:pt x="4891745" y="229080"/>
                  <a:pt x="4921715" y="180119"/>
                  <a:pt x="4975471" y="180119"/>
                </a:cubicBezTo>
                <a:cubicBezTo>
                  <a:pt x="5029226" y="180119"/>
                  <a:pt x="5059196" y="229833"/>
                  <a:pt x="5059196" y="321634"/>
                </a:cubicBezTo>
                <a:cubicBezTo>
                  <a:pt x="5059196" y="414189"/>
                  <a:pt x="5029131" y="463149"/>
                  <a:pt x="4975471" y="463149"/>
                </a:cubicBezTo>
                <a:moveTo>
                  <a:pt x="4975471" y="142174"/>
                </a:moveTo>
                <a:cubicBezTo>
                  <a:pt x="4865962" y="142174"/>
                  <a:pt x="4805261" y="222959"/>
                  <a:pt x="4805261" y="321634"/>
                </a:cubicBezTo>
                <a:cubicBezTo>
                  <a:pt x="4805261" y="420309"/>
                  <a:pt x="4865962" y="501094"/>
                  <a:pt x="4975471" y="501094"/>
                </a:cubicBezTo>
                <a:cubicBezTo>
                  <a:pt x="5084980" y="501094"/>
                  <a:pt x="5145680" y="420309"/>
                  <a:pt x="5145680" y="321634"/>
                </a:cubicBezTo>
                <a:cubicBezTo>
                  <a:pt x="5145680" y="222959"/>
                  <a:pt x="5084980" y="142174"/>
                  <a:pt x="4975471" y="142174"/>
                </a:cubicBezTo>
                <a:moveTo>
                  <a:pt x="5377257" y="142174"/>
                </a:moveTo>
                <a:cubicBezTo>
                  <a:pt x="5325595" y="142174"/>
                  <a:pt x="5297052" y="164301"/>
                  <a:pt x="5280973" y="192547"/>
                </a:cubicBezTo>
                <a:lnTo>
                  <a:pt x="5276787" y="192547"/>
                </a:lnTo>
                <a:lnTo>
                  <a:pt x="5276787" y="149048"/>
                </a:lnTo>
                <a:lnTo>
                  <a:pt x="5194488" y="149048"/>
                </a:lnTo>
                <a:lnTo>
                  <a:pt x="5194488" y="494221"/>
                </a:lnTo>
                <a:lnTo>
                  <a:pt x="5276787" y="494221"/>
                </a:lnTo>
                <a:lnTo>
                  <a:pt x="5276787" y="271261"/>
                </a:lnTo>
                <a:cubicBezTo>
                  <a:pt x="5276787" y="220229"/>
                  <a:pt x="5303331" y="190476"/>
                  <a:pt x="5345860" y="190476"/>
                </a:cubicBezTo>
                <a:cubicBezTo>
                  <a:pt x="5387057" y="190476"/>
                  <a:pt x="5405134" y="217404"/>
                  <a:pt x="5405134" y="258173"/>
                </a:cubicBezTo>
                <a:lnTo>
                  <a:pt x="5405134" y="494221"/>
                </a:lnTo>
                <a:lnTo>
                  <a:pt x="5487432" y="494221"/>
                </a:lnTo>
                <a:lnTo>
                  <a:pt x="5487432" y="257420"/>
                </a:lnTo>
                <a:cubicBezTo>
                  <a:pt x="5487432" y="186333"/>
                  <a:pt x="5449755" y="142174"/>
                  <a:pt x="5377257" y="142174"/>
                </a:cubicBezTo>
                <a:moveTo>
                  <a:pt x="323674" y="11016"/>
                </a:moveTo>
                <a:lnTo>
                  <a:pt x="237190" y="11016"/>
                </a:lnTo>
                <a:lnTo>
                  <a:pt x="237190" y="367864"/>
                </a:lnTo>
                <a:cubicBezTo>
                  <a:pt x="237190" y="425864"/>
                  <a:pt x="214831" y="460325"/>
                  <a:pt x="161837" y="460325"/>
                </a:cubicBezTo>
                <a:cubicBezTo>
                  <a:pt x="109509" y="460325"/>
                  <a:pt x="86484" y="423698"/>
                  <a:pt x="86484" y="360897"/>
                </a:cubicBezTo>
                <a:lnTo>
                  <a:pt x="86484" y="294612"/>
                </a:lnTo>
                <a:lnTo>
                  <a:pt x="0" y="315985"/>
                </a:lnTo>
                <a:lnTo>
                  <a:pt x="0" y="345644"/>
                </a:lnTo>
                <a:cubicBezTo>
                  <a:pt x="0" y="436033"/>
                  <a:pt x="45383" y="505143"/>
                  <a:pt x="161837" y="505143"/>
                </a:cubicBezTo>
                <a:cubicBezTo>
                  <a:pt x="278291" y="505143"/>
                  <a:pt x="323674" y="436127"/>
                  <a:pt x="323674" y="345644"/>
                </a:cubicBezTo>
                <a:lnTo>
                  <a:pt x="323674" y="11016"/>
                </a:lnTo>
                <a:moveTo>
                  <a:pt x="844008" y="11016"/>
                </a:moveTo>
                <a:lnTo>
                  <a:pt x="761710" y="11016"/>
                </a:lnTo>
                <a:lnTo>
                  <a:pt x="761710" y="494221"/>
                </a:lnTo>
                <a:lnTo>
                  <a:pt x="844008" y="494221"/>
                </a:lnTo>
                <a:lnTo>
                  <a:pt x="844008" y="271261"/>
                </a:lnTo>
                <a:cubicBezTo>
                  <a:pt x="844008" y="220229"/>
                  <a:pt x="870553" y="190476"/>
                  <a:pt x="913081" y="190476"/>
                </a:cubicBezTo>
                <a:cubicBezTo>
                  <a:pt x="954278" y="190476"/>
                  <a:pt x="972355" y="217404"/>
                  <a:pt x="972355" y="258173"/>
                </a:cubicBezTo>
                <a:lnTo>
                  <a:pt x="972355" y="494221"/>
                </a:lnTo>
                <a:lnTo>
                  <a:pt x="1054653" y="494221"/>
                </a:lnTo>
                <a:lnTo>
                  <a:pt x="1054653" y="257420"/>
                </a:lnTo>
                <a:cubicBezTo>
                  <a:pt x="1054653" y="186333"/>
                  <a:pt x="1016977" y="142174"/>
                  <a:pt x="944478" y="142174"/>
                </a:cubicBezTo>
                <a:cubicBezTo>
                  <a:pt x="892816" y="142174"/>
                  <a:pt x="864273" y="164301"/>
                  <a:pt x="848194" y="192547"/>
                </a:cubicBezTo>
                <a:lnTo>
                  <a:pt x="844008" y="192547"/>
                </a:lnTo>
                <a:lnTo>
                  <a:pt x="844008" y="11016"/>
                </a:lnTo>
                <a:moveTo>
                  <a:pt x="3352342" y="11016"/>
                </a:moveTo>
                <a:lnTo>
                  <a:pt x="3265857" y="11016"/>
                </a:lnTo>
                <a:lnTo>
                  <a:pt x="3265857" y="367864"/>
                </a:lnTo>
                <a:cubicBezTo>
                  <a:pt x="3265857" y="425864"/>
                  <a:pt x="3243499" y="460325"/>
                  <a:pt x="3190504" y="460325"/>
                </a:cubicBezTo>
                <a:cubicBezTo>
                  <a:pt x="3138176" y="460325"/>
                  <a:pt x="3115152" y="423698"/>
                  <a:pt x="3115152" y="360897"/>
                </a:cubicBezTo>
                <a:lnTo>
                  <a:pt x="3115152" y="294612"/>
                </a:lnTo>
                <a:lnTo>
                  <a:pt x="3028667" y="315985"/>
                </a:lnTo>
                <a:lnTo>
                  <a:pt x="3028667" y="345644"/>
                </a:lnTo>
                <a:cubicBezTo>
                  <a:pt x="3028667" y="436033"/>
                  <a:pt x="3074050" y="505143"/>
                  <a:pt x="3190504" y="505143"/>
                </a:cubicBezTo>
                <a:cubicBezTo>
                  <a:pt x="3306959" y="505143"/>
                  <a:pt x="3352342" y="436127"/>
                  <a:pt x="3352342" y="345644"/>
                </a:cubicBezTo>
                <a:lnTo>
                  <a:pt x="3352342" y="11016"/>
                </a:lnTo>
                <a:moveTo>
                  <a:pt x="3872675" y="11016"/>
                </a:moveTo>
                <a:lnTo>
                  <a:pt x="3790377" y="11016"/>
                </a:lnTo>
                <a:lnTo>
                  <a:pt x="3790377" y="494221"/>
                </a:lnTo>
                <a:lnTo>
                  <a:pt x="3872675" y="494221"/>
                </a:lnTo>
                <a:lnTo>
                  <a:pt x="3872675" y="271261"/>
                </a:lnTo>
                <a:cubicBezTo>
                  <a:pt x="3872675" y="220229"/>
                  <a:pt x="3899220" y="190476"/>
                  <a:pt x="3941749" y="190476"/>
                </a:cubicBezTo>
                <a:cubicBezTo>
                  <a:pt x="3982945" y="190476"/>
                  <a:pt x="4001022" y="217404"/>
                  <a:pt x="4001022" y="258173"/>
                </a:cubicBezTo>
                <a:lnTo>
                  <a:pt x="4001022" y="494221"/>
                </a:lnTo>
                <a:lnTo>
                  <a:pt x="4083320" y="494221"/>
                </a:lnTo>
                <a:lnTo>
                  <a:pt x="4083320" y="257420"/>
                </a:lnTo>
                <a:cubicBezTo>
                  <a:pt x="4083320" y="186333"/>
                  <a:pt x="4045644" y="142174"/>
                  <a:pt x="3973146" y="142174"/>
                </a:cubicBezTo>
                <a:cubicBezTo>
                  <a:pt x="3921483" y="142174"/>
                  <a:pt x="3892941" y="164301"/>
                  <a:pt x="3876861" y="192547"/>
                </a:cubicBezTo>
                <a:lnTo>
                  <a:pt x="3872675" y="192547"/>
                </a:lnTo>
                <a:lnTo>
                  <a:pt x="3872675" y="11016"/>
                </a:lnTo>
                <a:moveTo>
                  <a:pt x="2730110" y="454864"/>
                </a:moveTo>
                <a:cubicBezTo>
                  <a:pt x="2663130" y="454864"/>
                  <a:pt x="2622029" y="401007"/>
                  <a:pt x="2622029" y="343761"/>
                </a:cubicBezTo>
                <a:cubicBezTo>
                  <a:pt x="2622029" y="307887"/>
                  <a:pt x="2638108" y="274745"/>
                  <a:pt x="2664557" y="256102"/>
                </a:cubicBezTo>
                <a:lnTo>
                  <a:pt x="2822208" y="426617"/>
                </a:lnTo>
                <a:cubicBezTo>
                  <a:pt x="2792904" y="443848"/>
                  <a:pt x="2760080" y="454864"/>
                  <a:pt x="2730110" y="454864"/>
                </a:cubicBezTo>
                <a:moveTo>
                  <a:pt x="2883575" y="369936"/>
                </a:moveTo>
                <a:lnTo>
                  <a:pt x="2746856" y="220794"/>
                </a:lnTo>
                <a:cubicBezTo>
                  <a:pt x="2771307" y="211096"/>
                  <a:pt x="2794998" y="207706"/>
                  <a:pt x="2814502" y="207706"/>
                </a:cubicBezTo>
                <a:cubicBezTo>
                  <a:pt x="2871016" y="207706"/>
                  <a:pt x="2905838" y="240190"/>
                  <a:pt x="2905838" y="296118"/>
                </a:cubicBezTo>
                <a:cubicBezTo>
                  <a:pt x="2905934" y="320975"/>
                  <a:pt x="2898893" y="346491"/>
                  <a:pt x="2883575" y="369936"/>
                </a:cubicBezTo>
                <a:moveTo>
                  <a:pt x="2728017" y="200833"/>
                </a:moveTo>
                <a:lnTo>
                  <a:pt x="2698047" y="167690"/>
                </a:lnTo>
                <a:cubicBezTo>
                  <a:pt x="2671503" y="138691"/>
                  <a:pt x="2663891" y="120707"/>
                  <a:pt x="2663891" y="99334"/>
                </a:cubicBezTo>
                <a:cubicBezTo>
                  <a:pt x="2663891" y="59318"/>
                  <a:pt x="2689675" y="36532"/>
                  <a:pt x="2730110" y="36532"/>
                </a:cubicBezTo>
                <a:cubicBezTo>
                  <a:pt x="2771307" y="36532"/>
                  <a:pt x="2795664" y="59977"/>
                  <a:pt x="2795664" y="102817"/>
                </a:cubicBezTo>
                <a:cubicBezTo>
                  <a:pt x="2795664" y="142174"/>
                  <a:pt x="2776159" y="179460"/>
                  <a:pt x="2728017" y="200833"/>
                </a:cubicBezTo>
                <a:moveTo>
                  <a:pt x="2732204" y="0"/>
                </a:moveTo>
                <a:cubicBezTo>
                  <a:pt x="2635920" y="0"/>
                  <a:pt x="2588539" y="53198"/>
                  <a:pt x="2588539" y="119389"/>
                </a:cubicBezTo>
                <a:cubicBezTo>
                  <a:pt x="2588539" y="155262"/>
                  <a:pt x="2603857" y="191229"/>
                  <a:pt x="2644387" y="234635"/>
                </a:cubicBezTo>
                <a:lnTo>
                  <a:pt x="2645053" y="236047"/>
                </a:lnTo>
                <a:cubicBezTo>
                  <a:pt x="2576741" y="268531"/>
                  <a:pt x="2545344" y="320975"/>
                  <a:pt x="2545344" y="374832"/>
                </a:cubicBezTo>
                <a:cubicBezTo>
                  <a:pt x="2545344" y="445919"/>
                  <a:pt x="2600432" y="505331"/>
                  <a:pt x="2685584" y="505331"/>
                </a:cubicBezTo>
                <a:cubicBezTo>
                  <a:pt x="2734392" y="505331"/>
                  <a:pt x="2791573" y="485276"/>
                  <a:pt x="2843235" y="449403"/>
                </a:cubicBezTo>
                <a:lnTo>
                  <a:pt x="2885097" y="494315"/>
                </a:lnTo>
                <a:lnTo>
                  <a:pt x="2994606" y="494315"/>
                </a:lnTo>
                <a:lnTo>
                  <a:pt x="2994606" y="490831"/>
                </a:lnTo>
                <a:lnTo>
                  <a:pt x="2905363" y="393474"/>
                </a:lnTo>
                <a:cubicBezTo>
                  <a:pt x="2943039" y="349316"/>
                  <a:pt x="2964637" y="301014"/>
                  <a:pt x="2964637" y="258833"/>
                </a:cubicBezTo>
                <a:cubicBezTo>
                  <a:pt x="2964637" y="206388"/>
                  <a:pt x="2929053" y="171174"/>
                  <a:pt x="2873300" y="171174"/>
                </a:cubicBezTo>
                <a:cubicBezTo>
                  <a:pt x="2843996" y="171174"/>
                  <a:pt x="2811172" y="179460"/>
                  <a:pt x="2789574" y="187745"/>
                </a:cubicBezTo>
                <a:lnTo>
                  <a:pt x="2788147" y="185015"/>
                </a:lnTo>
                <a:cubicBezTo>
                  <a:pt x="2841142" y="156674"/>
                  <a:pt x="2863500" y="130499"/>
                  <a:pt x="2863500" y="93873"/>
                </a:cubicBezTo>
                <a:cubicBezTo>
                  <a:pt x="2863310" y="41428"/>
                  <a:pt x="2815929" y="0"/>
                  <a:pt x="2732204" y="0"/>
                </a:cubicBezTo>
              </a:path>
            </a:pathLst>
          </a:custGeom>
          <a:solidFill>
            <a:schemeClr val="bg1"/>
          </a:solidFill>
          <a:ln w="9509" cap="flat">
            <a:noFill/>
            <a:prstDash val="solid"/>
            <a:miter/>
          </a:ln>
        </p:spPr>
        <p:txBody>
          <a:bodyPr rtlCol="0" anchor="ctr"/>
          <a:lstStyle/>
          <a:p>
            <a:endParaRPr lang="en-GB"/>
          </a:p>
        </p:txBody>
      </p:sp>
      <p:sp>
        <p:nvSpPr>
          <p:cNvPr id="3" name="Footer Placeholder 4">
            <a:extLst>
              <a:ext uri="{FF2B5EF4-FFF2-40B4-BE49-F238E27FC236}">
                <a16:creationId xmlns:a16="http://schemas.microsoft.com/office/drawing/2014/main" id="{ABB0B53B-8CD4-6B14-06ED-C68D2192235A}"/>
              </a:ext>
            </a:extLst>
          </p:cNvPr>
          <p:cNvSpPr txBox="1">
            <a:spLocks/>
          </p:cNvSpPr>
          <p:nvPr userDrawn="1"/>
        </p:nvSpPr>
        <p:spPr>
          <a:xfrm>
            <a:off x="9772073" y="6424023"/>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0" i="0" kern="1200">
                <a:solidFill>
                  <a:schemeClr val="bg1"/>
                </a:solidFill>
                <a:latin typeface="+mn-lt"/>
                <a:ea typeface="+mn-ea"/>
                <a:cs typeface="+mn-cs"/>
              </a:rPr>
              <a:t>HEALTH CARE COMPLIANCE</a:t>
            </a:r>
          </a:p>
        </p:txBody>
      </p:sp>
    </p:spTree>
    <p:extLst>
      <p:ext uri="{BB962C8B-B14F-4D97-AF65-F5344CB8AC3E}">
        <p14:creationId xmlns:p14="http://schemas.microsoft.com/office/powerpoint/2010/main" val="16826779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Header with Image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p:nvPr>
        </p:nvSpPr>
        <p:spPr>
          <a:xfrm>
            <a:off x="289384" y="270000"/>
            <a:ext cx="5732004" cy="2770117"/>
          </a:xfrm>
        </p:spPr>
        <p:txBody>
          <a:bodyPr anchor="t"/>
          <a:lstStyle>
            <a:lvl1pPr>
              <a:lnSpc>
                <a:spcPct val="80000"/>
              </a:lnSpc>
              <a:defRPr sz="7400" spc="0" baseline="0">
                <a:solidFill>
                  <a:schemeClr val="tx2"/>
                </a:solidFill>
              </a:defRPr>
            </a:lvl1pPr>
          </a:lstStyle>
          <a:p>
            <a:r>
              <a:rPr lang="en-US"/>
              <a:t>Click to edit Master title style</a:t>
            </a:r>
            <a:endParaRPr lang="en-GB"/>
          </a:p>
        </p:txBody>
      </p:sp>
      <p:sp>
        <p:nvSpPr>
          <p:cNvPr id="11" name="Picture Placeholder 10">
            <a:extLst>
              <a:ext uri="{FF2B5EF4-FFF2-40B4-BE49-F238E27FC236}">
                <a16:creationId xmlns:a16="http://schemas.microsoft.com/office/drawing/2014/main" id="{A6BED0E8-5F3C-7ED5-6D85-7ADCF623965A}"/>
              </a:ext>
            </a:extLst>
          </p:cNvPr>
          <p:cNvSpPr>
            <a:spLocks noGrp="1"/>
          </p:cNvSpPr>
          <p:nvPr>
            <p:ph type="pic" sz="quarter" idx="13" hasCustomPrompt="1"/>
          </p:nvPr>
        </p:nvSpPr>
        <p:spPr>
          <a:xfrm>
            <a:off x="6165850" y="0"/>
            <a:ext cx="6026150" cy="6858000"/>
          </a:xfrm>
          <a:solidFill>
            <a:srgbClr val="F6F3F2"/>
          </a:solidFill>
        </p:spPr>
        <p:txBody>
          <a:bodyPr/>
          <a:lstStyle>
            <a:lvl1pPr>
              <a:defRPr b="0" i="0">
                <a:latin typeface="+mn-lt"/>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3" name="Footer Placeholder 4">
            <a:extLst>
              <a:ext uri="{FF2B5EF4-FFF2-40B4-BE49-F238E27FC236}">
                <a16:creationId xmlns:a16="http://schemas.microsoft.com/office/drawing/2014/main" id="{67AB2696-A07F-B2A5-D8C5-7F85704314B5}"/>
              </a:ext>
            </a:extLst>
          </p:cNvPr>
          <p:cNvSpPr txBox="1">
            <a:spLocks/>
          </p:cNvSpPr>
          <p:nvPr userDrawn="1"/>
        </p:nvSpPr>
        <p:spPr>
          <a:xfrm>
            <a:off x="4345799" y="6415711"/>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0" i="0" kern="1200">
                <a:solidFill>
                  <a:schemeClr val="tx1"/>
                </a:solidFill>
                <a:latin typeface="+mn-lt"/>
                <a:ea typeface="+mn-ea"/>
                <a:cs typeface="+mn-cs"/>
              </a:rPr>
              <a:t>HEALTH CARE COMPLIANCE</a:t>
            </a:r>
          </a:p>
        </p:txBody>
      </p:sp>
    </p:spTree>
    <p:extLst>
      <p:ext uri="{BB962C8B-B14F-4D97-AF65-F5344CB8AC3E}">
        <p14:creationId xmlns:p14="http://schemas.microsoft.com/office/powerpoint/2010/main" val="40225764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eam Slide x 1-2">
    <p:bg>
      <p:bgPr>
        <a:solidFill>
          <a:schemeClr val="accent1"/>
        </a:solidFill>
        <a:effectLst/>
      </p:bgPr>
    </p:bg>
    <p:spTree>
      <p:nvGrpSpPr>
        <p:cNvPr id="1" name=""/>
        <p:cNvGrpSpPr/>
        <p:nvPr/>
      </p:nvGrpSpPr>
      <p:grpSpPr>
        <a:xfrm>
          <a:off x="0" y="0"/>
          <a:ext cx="0" cy="0"/>
          <a:chOff x="0" y="0"/>
          <a:chExt cx="0" cy="0"/>
        </a:xfrm>
      </p:grpSpPr>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8124825" y="285158"/>
            <a:ext cx="3775075" cy="3947118"/>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8124825" y="4376739"/>
            <a:ext cx="3775075" cy="1389062"/>
          </a:xfrm>
        </p:spPr>
        <p:txBody>
          <a:bodyPr/>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 name="Text Placeholder 7">
            <a:extLst>
              <a:ext uri="{FF2B5EF4-FFF2-40B4-BE49-F238E27FC236}">
                <a16:creationId xmlns:a16="http://schemas.microsoft.com/office/drawing/2014/main" id="{AE887C0B-D804-38AD-7676-333BDBFC1AF7}"/>
              </a:ext>
            </a:extLst>
          </p:cNvPr>
          <p:cNvSpPr>
            <a:spLocks noGrp="1"/>
          </p:cNvSpPr>
          <p:nvPr>
            <p:ph type="body" sz="quarter" idx="15" hasCustomPrompt="1"/>
          </p:nvPr>
        </p:nvSpPr>
        <p:spPr>
          <a:xfrm>
            <a:off x="288925" y="4376739"/>
            <a:ext cx="3778250" cy="1389062"/>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GB"/>
              <a:t>Click to add text. Delete if not required.</a:t>
            </a:r>
          </a:p>
          <a:p>
            <a:pPr lvl="1"/>
            <a:r>
              <a:rPr lang="en-GB"/>
              <a:t>Second level</a:t>
            </a:r>
          </a:p>
          <a:p>
            <a:pPr lvl="2"/>
            <a:r>
              <a:rPr lang="en-GB"/>
              <a:t>Third level</a:t>
            </a:r>
          </a:p>
        </p:txBody>
      </p:sp>
      <p:sp>
        <p:nvSpPr>
          <p:cNvPr id="2" name="Picture Placeholder 3">
            <a:extLst>
              <a:ext uri="{FF2B5EF4-FFF2-40B4-BE49-F238E27FC236}">
                <a16:creationId xmlns:a16="http://schemas.microsoft.com/office/drawing/2014/main" id="{AE4666F2-0E72-5C8A-DFF8-2DD7C6E4BAAE}"/>
              </a:ext>
            </a:extLst>
          </p:cNvPr>
          <p:cNvSpPr>
            <a:spLocks noGrp="1"/>
          </p:cNvSpPr>
          <p:nvPr>
            <p:ph type="pic" sz="quarter" idx="25" hasCustomPrompt="1"/>
          </p:nvPr>
        </p:nvSpPr>
        <p:spPr>
          <a:xfrm>
            <a:off x="4207732" y="285158"/>
            <a:ext cx="3775075" cy="3947118"/>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4207732" y="4376739"/>
            <a:ext cx="3775075" cy="1389062"/>
          </a:xfrm>
        </p:spPr>
        <p:txBody>
          <a:bodyPr/>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0" name="Title 7">
            <a:extLst>
              <a:ext uri="{FF2B5EF4-FFF2-40B4-BE49-F238E27FC236}">
                <a16:creationId xmlns:a16="http://schemas.microsoft.com/office/drawing/2014/main" id="{E80529FD-0171-E552-588C-C152AED56261}"/>
              </a:ext>
            </a:extLst>
          </p:cNvPr>
          <p:cNvSpPr>
            <a:spLocks noGrp="1"/>
          </p:cNvSpPr>
          <p:nvPr>
            <p:ph type="title" hasCustomPrompt="1"/>
          </p:nvPr>
        </p:nvSpPr>
        <p:spPr>
          <a:xfrm>
            <a:off x="288303" y="262800"/>
            <a:ext cx="3775073" cy="454529"/>
          </a:xfrm>
        </p:spPr>
        <p:txBody>
          <a:bodyPr/>
          <a:lstStyle>
            <a:lvl1pPr>
              <a:defRPr>
                <a:solidFill>
                  <a:schemeClr val="bg1"/>
                </a:solidFill>
              </a:defRPr>
            </a:lvl1pPr>
          </a:lstStyle>
          <a:p>
            <a:r>
              <a:rPr lang="en-US"/>
              <a:t>Master title style</a:t>
            </a:r>
            <a:endParaRPr lang="en-GB"/>
          </a:p>
        </p:txBody>
      </p:sp>
      <p:sp>
        <p:nvSpPr>
          <p:cNvPr id="5" name="Subtitle 2">
            <a:extLst>
              <a:ext uri="{FF2B5EF4-FFF2-40B4-BE49-F238E27FC236}">
                <a16:creationId xmlns:a16="http://schemas.microsoft.com/office/drawing/2014/main" id="{EA79EF84-4162-265E-6156-177364480E50}"/>
              </a:ext>
            </a:extLst>
          </p:cNvPr>
          <p:cNvSpPr>
            <a:spLocks noGrp="1"/>
          </p:cNvSpPr>
          <p:nvPr>
            <p:ph type="subTitle" idx="16" hasCustomPrompt="1"/>
          </p:nvPr>
        </p:nvSpPr>
        <p:spPr>
          <a:xfrm>
            <a:off x="288302" y="713620"/>
            <a:ext cx="3775075" cy="292965"/>
          </a:xfrm>
        </p:spPr>
        <p:txBody>
          <a:bodyPr vert="horz" wrap="square" lIns="0" tIns="0" rIns="0" bIns="0" rtlCol="0" anchor="t">
            <a:spAutoFit/>
          </a:bodyPr>
          <a:lstStyle>
            <a:lvl1pPr>
              <a:defRPr lang="en-GB" b="1" dirty="0">
                <a:solidFill>
                  <a:schemeClr val="bg1"/>
                </a:solidFill>
              </a:defRPr>
            </a:lvl1pPr>
          </a:lstStyle>
          <a:p>
            <a:pPr lvl="0"/>
            <a:r>
              <a:rPr lang="en-GB"/>
              <a:t>Subtitle. Delete if not required.</a:t>
            </a:r>
          </a:p>
        </p:txBody>
      </p:sp>
      <p:sp>
        <p:nvSpPr>
          <p:cNvPr id="13" name="Footer Placeholder 4">
            <a:extLst>
              <a:ext uri="{FF2B5EF4-FFF2-40B4-BE49-F238E27FC236}">
                <a16:creationId xmlns:a16="http://schemas.microsoft.com/office/drawing/2014/main" id="{99B23211-718F-C72D-C415-24096BDEEB7A}"/>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bg1"/>
                </a:solidFill>
                <a:latin typeface="+mn-lt"/>
              </a:defRPr>
            </a:lvl1pPr>
          </a:lstStyle>
          <a:p>
            <a:pPr>
              <a:spcBef>
                <a:spcPts val="0"/>
              </a:spcBef>
              <a:spcAft>
                <a:spcPts val="300"/>
              </a:spcAft>
            </a:pPr>
            <a:r>
              <a:rPr lang="en-US"/>
              <a:t>Job Aid and Guidance Document still under review.</a:t>
            </a:r>
          </a:p>
        </p:txBody>
      </p:sp>
      <p:sp>
        <p:nvSpPr>
          <p:cNvPr id="7" name="Slide Number Placeholder 5">
            <a:extLst>
              <a:ext uri="{FF2B5EF4-FFF2-40B4-BE49-F238E27FC236}">
                <a16:creationId xmlns:a16="http://schemas.microsoft.com/office/drawing/2014/main" id="{90BAE1C4-8C53-F889-33BD-2F49ACEA13D8}"/>
              </a:ext>
            </a:extLst>
          </p:cNvPr>
          <p:cNvSpPr>
            <a:spLocks noGrp="1"/>
          </p:cNvSpPr>
          <p:nvPr>
            <p:ph type="sldNum" sz="quarter" idx="12"/>
          </p:nvPr>
        </p:nvSpPr>
        <p:spPr>
          <a:xfrm>
            <a:off x="11581942" y="6433878"/>
            <a:ext cx="320674" cy="153463"/>
          </a:xfrm>
        </p:spPr>
        <p:txBody>
          <a:bodyPr/>
          <a:lstStyle>
            <a:lvl1pPr>
              <a:defRPr>
                <a:solidFill>
                  <a:schemeClr val="bg1"/>
                </a:solidFill>
              </a:defRPr>
            </a:lvl1pPr>
          </a:lstStyle>
          <a:p>
            <a:fld id="{AEC8D767-5246-2244-A4A3-B8AFB218393C}" type="slidenum">
              <a:rPr lang="en-GB" smtClean="0"/>
              <a:pPr/>
              <a:t>‹#›</a:t>
            </a:fld>
            <a:endParaRPr lang="en-GB"/>
          </a:p>
        </p:txBody>
      </p:sp>
      <p:sp>
        <p:nvSpPr>
          <p:cNvPr id="9" name="Graphic 8">
            <a:extLst>
              <a:ext uri="{FF2B5EF4-FFF2-40B4-BE49-F238E27FC236}">
                <a16:creationId xmlns:a16="http://schemas.microsoft.com/office/drawing/2014/main" id="{482CECF5-BBCB-3C3C-5C16-98CE56519A6A}"/>
              </a:ext>
            </a:extLst>
          </p:cNvPr>
          <p:cNvSpPr>
            <a:spLocks noChangeAspect="1"/>
          </p:cNvSpPr>
          <p:nvPr userDrawn="1"/>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a:p>
        </p:txBody>
      </p:sp>
    </p:spTree>
    <p:extLst>
      <p:ext uri="{BB962C8B-B14F-4D97-AF65-F5344CB8AC3E}">
        <p14:creationId xmlns:p14="http://schemas.microsoft.com/office/powerpoint/2010/main" val="340688664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eam Slide x 3">
    <p:bg>
      <p:bgPr>
        <a:solidFill>
          <a:schemeClr val="accent1"/>
        </a:solidFill>
        <a:effectLst/>
      </p:bgPr>
    </p:bg>
    <p:spTree>
      <p:nvGrpSpPr>
        <p:cNvPr id="1" name=""/>
        <p:cNvGrpSpPr/>
        <p:nvPr/>
      </p:nvGrpSpPr>
      <p:grpSpPr>
        <a:xfrm>
          <a:off x="0" y="0"/>
          <a:ext cx="0" cy="0"/>
          <a:chOff x="0" y="0"/>
          <a:chExt cx="0" cy="0"/>
        </a:xfrm>
      </p:grpSpPr>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6161089" y="1309284"/>
            <a:ext cx="2795588" cy="2922992"/>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6161088" y="4376739"/>
            <a:ext cx="2797905" cy="1389062"/>
          </a:xfrm>
        </p:spPr>
        <p:txBody>
          <a:bodyPr/>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 name="Picture Placeholder 3">
            <a:extLst>
              <a:ext uri="{FF2B5EF4-FFF2-40B4-BE49-F238E27FC236}">
                <a16:creationId xmlns:a16="http://schemas.microsoft.com/office/drawing/2014/main" id="{AE4666F2-0E72-5C8A-DFF8-2DD7C6E4BAAE}"/>
              </a:ext>
            </a:extLst>
          </p:cNvPr>
          <p:cNvSpPr>
            <a:spLocks noGrp="1"/>
          </p:cNvSpPr>
          <p:nvPr>
            <p:ph type="pic" sz="quarter" idx="25" hasCustomPrompt="1"/>
          </p:nvPr>
        </p:nvSpPr>
        <p:spPr>
          <a:xfrm>
            <a:off x="3225801" y="1309284"/>
            <a:ext cx="2795588" cy="2922992"/>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3225800" y="4376739"/>
            <a:ext cx="2794731" cy="1389062"/>
          </a:xfrm>
        </p:spPr>
        <p:txBody>
          <a:bodyPr/>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9" name="Picture Placeholder 3">
            <a:extLst>
              <a:ext uri="{FF2B5EF4-FFF2-40B4-BE49-F238E27FC236}">
                <a16:creationId xmlns:a16="http://schemas.microsoft.com/office/drawing/2014/main" id="{2D83ADDB-0799-3ABA-AFB5-0EF907EBBC1C}"/>
              </a:ext>
            </a:extLst>
          </p:cNvPr>
          <p:cNvSpPr>
            <a:spLocks noGrp="1"/>
          </p:cNvSpPr>
          <p:nvPr>
            <p:ph type="pic" sz="quarter" idx="27" hasCustomPrompt="1"/>
          </p:nvPr>
        </p:nvSpPr>
        <p:spPr>
          <a:xfrm>
            <a:off x="9119384" y="1309284"/>
            <a:ext cx="2795588" cy="2922992"/>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10" name="Text Placeholder 10">
            <a:extLst>
              <a:ext uri="{FF2B5EF4-FFF2-40B4-BE49-F238E27FC236}">
                <a16:creationId xmlns:a16="http://schemas.microsoft.com/office/drawing/2014/main" id="{5A40ED4D-9D7E-FA31-0E92-48608769B8DC}"/>
              </a:ext>
            </a:extLst>
          </p:cNvPr>
          <p:cNvSpPr>
            <a:spLocks noGrp="1"/>
          </p:cNvSpPr>
          <p:nvPr>
            <p:ph type="body" sz="quarter" idx="28" hasCustomPrompt="1"/>
          </p:nvPr>
        </p:nvSpPr>
        <p:spPr>
          <a:xfrm>
            <a:off x="9119383" y="4376739"/>
            <a:ext cx="2797905" cy="1389062"/>
          </a:xfrm>
        </p:spPr>
        <p:txBody>
          <a:bodyPr/>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8" name="Text Placeholder 7">
            <a:extLst>
              <a:ext uri="{FF2B5EF4-FFF2-40B4-BE49-F238E27FC236}">
                <a16:creationId xmlns:a16="http://schemas.microsoft.com/office/drawing/2014/main" id="{048FEEB1-636D-38E4-1003-F9C2F0009989}"/>
              </a:ext>
            </a:extLst>
          </p:cNvPr>
          <p:cNvSpPr>
            <a:spLocks noGrp="1"/>
          </p:cNvSpPr>
          <p:nvPr>
            <p:ph type="body" sz="quarter" idx="15" hasCustomPrompt="1"/>
          </p:nvPr>
        </p:nvSpPr>
        <p:spPr>
          <a:xfrm>
            <a:off x="288925" y="4376739"/>
            <a:ext cx="2776485" cy="1389062"/>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GB"/>
              <a:t>Click to add text. Delete if not required.</a:t>
            </a:r>
          </a:p>
          <a:p>
            <a:pPr lvl="1"/>
            <a:r>
              <a:rPr lang="en-GB"/>
              <a:t>Second level</a:t>
            </a:r>
          </a:p>
          <a:p>
            <a:pPr lvl="2"/>
            <a:r>
              <a:rPr lang="en-GB"/>
              <a:t>Third level</a:t>
            </a:r>
          </a:p>
        </p:txBody>
      </p:sp>
      <p:sp>
        <p:nvSpPr>
          <p:cNvPr id="12" name="Title 11">
            <a:extLst>
              <a:ext uri="{FF2B5EF4-FFF2-40B4-BE49-F238E27FC236}">
                <a16:creationId xmlns:a16="http://schemas.microsoft.com/office/drawing/2014/main" id="{C45B8B1D-DD68-528A-E1DB-9EC7F9835CC4}"/>
              </a:ext>
            </a:extLst>
          </p:cNvPr>
          <p:cNvSpPr>
            <a:spLocks noGrp="1"/>
          </p:cNvSpPr>
          <p:nvPr>
            <p:ph type="title"/>
          </p:nvPr>
        </p:nvSpPr>
        <p:spPr>
          <a:xfrm>
            <a:off x="288303" y="262800"/>
            <a:ext cx="9649446" cy="468590"/>
          </a:xfrm>
        </p:spPr>
        <p:txBody>
          <a:bodyPr/>
          <a:lstStyle>
            <a:lvl1pPr>
              <a:defRPr>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A56CA54C-86BC-245E-8EEE-F0C02489F097}"/>
              </a:ext>
            </a:extLst>
          </p:cNvPr>
          <p:cNvSpPr>
            <a:spLocks noGrp="1"/>
          </p:cNvSpPr>
          <p:nvPr>
            <p:ph type="subTitle" idx="16" hasCustomPrompt="1"/>
          </p:nvPr>
        </p:nvSpPr>
        <p:spPr>
          <a:xfrm>
            <a:off x="288301" y="713620"/>
            <a:ext cx="9649445" cy="292965"/>
          </a:xfrm>
        </p:spPr>
        <p:txBody>
          <a:bodyPr vert="horz" wrap="square" lIns="0" tIns="0" rIns="0" bIns="0" rtlCol="0" anchor="t">
            <a:spAutoFit/>
          </a:bodyPr>
          <a:lstStyle>
            <a:lvl1pPr>
              <a:defRPr lang="en-GB" b="1" dirty="0">
                <a:solidFill>
                  <a:schemeClr val="bg1"/>
                </a:solidFill>
              </a:defRPr>
            </a:lvl1pPr>
          </a:lstStyle>
          <a:p>
            <a:pPr lvl="0"/>
            <a:r>
              <a:rPr lang="en-GB"/>
              <a:t>Subtitle. Delete if not required.</a:t>
            </a:r>
          </a:p>
        </p:txBody>
      </p:sp>
      <p:sp>
        <p:nvSpPr>
          <p:cNvPr id="15" name="Footer Placeholder 4">
            <a:extLst>
              <a:ext uri="{FF2B5EF4-FFF2-40B4-BE49-F238E27FC236}">
                <a16:creationId xmlns:a16="http://schemas.microsoft.com/office/drawing/2014/main" id="{8498F38D-E287-CD9F-9BFC-10B3256FE9BE}"/>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bg1"/>
                </a:solidFill>
                <a:latin typeface="+mn-lt"/>
              </a:defRPr>
            </a:lvl1pPr>
          </a:lstStyle>
          <a:p>
            <a:pPr>
              <a:spcBef>
                <a:spcPts val="0"/>
              </a:spcBef>
              <a:spcAft>
                <a:spcPts val="300"/>
              </a:spcAft>
            </a:pPr>
            <a:r>
              <a:rPr lang="en-US"/>
              <a:t>Job Aid and Guidance Document still under review.</a:t>
            </a:r>
          </a:p>
        </p:txBody>
      </p:sp>
      <p:sp>
        <p:nvSpPr>
          <p:cNvPr id="7" name="Slide Number Placeholder 5">
            <a:extLst>
              <a:ext uri="{FF2B5EF4-FFF2-40B4-BE49-F238E27FC236}">
                <a16:creationId xmlns:a16="http://schemas.microsoft.com/office/drawing/2014/main" id="{7429701B-BA59-63AC-184E-531FE07F601E}"/>
              </a:ext>
            </a:extLst>
          </p:cNvPr>
          <p:cNvSpPr>
            <a:spLocks noGrp="1"/>
          </p:cNvSpPr>
          <p:nvPr>
            <p:ph type="sldNum" sz="quarter" idx="12"/>
          </p:nvPr>
        </p:nvSpPr>
        <p:spPr>
          <a:xfrm>
            <a:off x="11581942" y="6433878"/>
            <a:ext cx="320674" cy="153463"/>
          </a:xfrm>
        </p:spPr>
        <p:txBody>
          <a:bodyPr/>
          <a:lstStyle>
            <a:lvl1pPr>
              <a:defRPr>
                <a:solidFill>
                  <a:schemeClr val="bg1"/>
                </a:solidFill>
              </a:defRPr>
            </a:lvl1pPr>
          </a:lstStyle>
          <a:p>
            <a:fld id="{AEC8D767-5246-2244-A4A3-B8AFB218393C}" type="slidenum">
              <a:rPr lang="en-GB" smtClean="0"/>
              <a:pPr/>
              <a:t>‹#›</a:t>
            </a:fld>
            <a:endParaRPr lang="en-GB"/>
          </a:p>
        </p:txBody>
      </p:sp>
      <p:sp>
        <p:nvSpPr>
          <p:cNvPr id="6" name="Graphic 8">
            <a:extLst>
              <a:ext uri="{FF2B5EF4-FFF2-40B4-BE49-F238E27FC236}">
                <a16:creationId xmlns:a16="http://schemas.microsoft.com/office/drawing/2014/main" id="{9E2456D6-0DCE-CB9D-60A5-2CD05AD6A4F2}"/>
              </a:ext>
            </a:extLst>
          </p:cNvPr>
          <p:cNvSpPr>
            <a:spLocks noChangeAspect="1"/>
          </p:cNvSpPr>
          <p:nvPr userDrawn="1"/>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a:p>
        </p:txBody>
      </p:sp>
    </p:spTree>
    <p:extLst>
      <p:ext uri="{BB962C8B-B14F-4D97-AF65-F5344CB8AC3E}">
        <p14:creationId xmlns:p14="http://schemas.microsoft.com/office/powerpoint/2010/main" val="7194982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am Slide x 4">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6161089" y="1309284"/>
            <a:ext cx="2795588" cy="2922992"/>
          </a:xfrm>
          <a:solidFill>
            <a:schemeClr val="tx2"/>
          </a:solidFill>
        </p:spPr>
        <p:txBody>
          <a:bodyPr vert="horz" lIns="0" tIns="0" rIns="0" bIns="0" rtlCol="0">
            <a:noAutofit/>
          </a:bodyPr>
          <a:lstStyle>
            <a:lvl1pPr>
              <a:defRPr lang="en-GB" sz="16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6161088" y="4376739"/>
            <a:ext cx="2797905"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 name="Picture Placeholder 3">
            <a:extLst>
              <a:ext uri="{FF2B5EF4-FFF2-40B4-BE49-F238E27FC236}">
                <a16:creationId xmlns:a16="http://schemas.microsoft.com/office/drawing/2014/main" id="{AE4666F2-0E72-5C8A-DFF8-2DD7C6E4BAAE}"/>
              </a:ext>
            </a:extLst>
          </p:cNvPr>
          <p:cNvSpPr>
            <a:spLocks noGrp="1"/>
          </p:cNvSpPr>
          <p:nvPr>
            <p:ph type="pic" sz="quarter" idx="25" hasCustomPrompt="1"/>
          </p:nvPr>
        </p:nvSpPr>
        <p:spPr>
          <a:xfrm>
            <a:off x="3225801" y="1309284"/>
            <a:ext cx="2795588" cy="2922992"/>
          </a:xfrm>
          <a:solidFill>
            <a:schemeClr val="tx2"/>
          </a:solidFill>
        </p:spPr>
        <p:txBody>
          <a:bodyPr vert="horz" lIns="0" tIns="0" rIns="0" bIns="0" rtlCol="0">
            <a:noAutofit/>
          </a:bodyPr>
          <a:lstStyle>
            <a:lvl1pPr>
              <a:defRPr lang="en-GB" sz="16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3225800" y="4376739"/>
            <a:ext cx="2794731"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9" name="Picture Placeholder 3">
            <a:extLst>
              <a:ext uri="{FF2B5EF4-FFF2-40B4-BE49-F238E27FC236}">
                <a16:creationId xmlns:a16="http://schemas.microsoft.com/office/drawing/2014/main" id="{2D83ADDB-0799-3ABA-AFB5-0EF907EBBC1C}"/>
              </a:ext>
            </a:extLst>
          </p:cNvPr>
          <p:cNvSpPr>
            <a:spLocks noGrp="1"/>
          </p:cNvSpPr>
          <p:nvPr>
            <p:ph type="pic" sz="quarter" idx="27" hasCustomPrompt="1"/>
          </p:nvPr>
        </p:nvSpPr>
        <p:spPr>
          <a:xfrm>
            <a:off x="9119384" y="1309284"/>
            <a:ext cx="2795588" cy="2922992"/>
          </a:xfrm>
          <a:solidFill>
            <a:schemeClr val="tx2"/>
          </a:solidFill>
        </p:spPr>
        <p:txBody>
          <a:bodyPr vert="horz" lIns="0" tIns="0" rIns="0" bIns="0" rtlCol="0">
            <a:noAutofit/>
          </a:bodyPr>
          <a:lstStyle>
            <a:lvl1pPr>
              <a:defRPr lang="en-GB" sz="16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10" name="Text Placeholder 10">
            <a:extLst>
              <a:ext uri="{FF2B5EF4-FFF2-40B4-BE49-F238E27FC236}">
                <a16:creationId xmlns:a16="http://schemas.microsoft.com/office/drawing/2014/main" id="{5A40ED4D-9D7E-FA31-0E92-48608769B8DC}"/>
              </a:ext>
            </a:extLst>
          </p:cNvPr>
          <p:cNvSpPr>
            <a:spLocks noGrp="1"/>
          </p:cNvSpPr>
          <p:nvPr>
            <p:ph type="body" sz="quarter" idx="28" hasCustomPrompt="1"/>
          </p:nvPr>
        </p:nvSpPr>
        <p:spPr>
          <a:xfrm>
            <a:off x="9119383" y="4376739"/>
            <a:ext cx="2797905"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1" name="Picture Placeholder 3">
            <a:extLst>
              <a:ext uri="{FF2B5EF4-FFF2-40B4-BE49-F238E27FC236}">
                <a16:creationId xmlns:a16="http://schemas.microsoft.com/office/drawing/2014/main" id="{F5068F87-7E7A-B5CF-3CBC-E18B6DD0D732}"/>
              </a:ext>
            </a:extLst>
          </p:cNvPr>
          <p:cNvSpPr>
            <a:spLocks noGrp="1"/>
          </p:cNvSpPr>
          <p:nvPr>
            <p:ph type="pic" sz="quarter" idx="29" hasCustomPrompt="1"/>
          </p:nvPr>
        </p:nvSpPr>
        <p:spPr>
          <a:xfrm>
            <a:off x="291479" y="1309284"/>
            <a:ext cx="2795588" cy="2922992"/>
          </a:xfrm>
          <a:solidFill>
            <a:schemeClr val="tx2"/>
          </a:solidFill>
        </p:spPr>
        <p:txBody>
          <a:bodyPr vert="horz" lIns="0" tIns="0" rIns="0" bIns="0" rtlCol="0">
            <a:noAutofit/>
          </a:bodyPr>
          <a:lstStyle>
            <a:lvl1pPr>
              <a:defRPr lang="en-GB" sz="16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12" name="Text Placeholder 10">
            <a:extLst>
              <a:ext uri="{FF2B5EF4-FFF2-40B4-BE49-F238E27FC236}">
                <a16:creationId xmlns:a16="http://schemas.microsoft.com/office/drawing/2014/main" id="{B4F951B9-FA91-8764-4AF1-2302D32F8D5A}"/>
              </a:ext>
            </a:extLst>
          </p:cNvPr>
          <p:cNvSpPr>
            <a:spLocks noGrp="1"/>
          </p:cNvSpPr>
          <p:nvPr>
            <p:ph type="body" sz="quarter" idx="30" hasCustomPrompt="1"/>
          </p:nvPr>
        </p:nvSpPr>
        <p:spPr>
          <a:xfrm>
            <a:off x="291478" y="4376739"/>
            <a:ext cx="2794731"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 name="Text Placeholder 7">
            <a:extLst>
              <a:ext uri="{FF2B5EF4-FFF2-40B4-BE49-F238E27FC236}">
                <a16:creationId xmlns:a16="http://schemas.microsoft.com/office/drawing/2014/main" id="{5F91C3EF-5967-CDBE-EACE-2531D873C36A}"/>
              </a:ext>
            </a:extLst>
          </p:cNvPr>
          <p:cNvSpPr>
            <a:spLocks noGrp="1"/>
          </p:cNvSpPr>
          <p:nvPr>
            <p:ph type="body" sz="quarter" idx="31" hasCustomPrompt="1"/>
          </p:nvPr>
        </p:nvSpPr>
        <p:spPr>
          <a:xfrm>
            <a:off x="8125200" y="293525"/>
            <a:ext cx="3778870" cy="878050"/>
          </a:xfrm>
        </p:spPr>
        <p:txBody>
          <a:bodyPr/>
          <a:lstStyle>
            <a:lvl1pPr>
              <a:defRPr sz="1400"/>
            </a:lvl1pPr>
            <a:lvl2pPr>
              <a:defRPr sz="1400"/>
            </a:lvl2pPr>
            <a:lvl3pPr>
              <a:defRPr sz="1200"/>
            </a:lvl3pPr>
          </a:lstStyle>
          <a:p>
            <a:pPr lvl="0"/>
            <a:r>
              <a:rPr lang="en-GB"/>
              <a:t>Click to add text. Delete if not required.</a:t>
            </a:r>
          </a:p>
          <a:p>
            <a:pPr lvl="1"/>
            <a:r>
              <a:rPr lang="en-GB"/>
              <a:t>Second level</a:t>
            </a:r>
          </a:p>
          <a:p>
            <a:pPr lvl="2"/>
            <a:r>
              <a:rPr lang="en-GB"/>
              <a:t>Third level</a:t>
            </a:r>
          </a:p>
        </p:txBody>
      </p:sp>
      <p:sp>
        <p:nvSpPr>
          <p:cNvPr id="13" name="Title 7">
            <a:extLst>
              <a:ext uri="{FF2B5EF4-FFF2-40B4-BE49-F238E27FC236}">
                <a16:creationId xmlns:a16="http://schemas.microsoft.com/office/drawing/2014/main" id="{DA47195B-21A0-9A63-E4DA-58F9F29E98B6}"/>
              </a:ext>
            </a:extLst>
          </p:cNvPr>
          <p:cNvSpPr>
            <a:spLocks noGrp="1"/>
          </p:cNvSpPr>
          <p:nvPr>
            <p:ph type="title" hasCustomPrompt="1"/>
          </p:nvPr>
        </p:nvSpPr>
        <p:spPr>
          <a:xfrm>
            <a:off x="288303" y="262800"/>
            <a:ext cx="5733085" cy="468590"/>
          </a:xfrm>
        </p:spPr>
        <p:txBody>
          <a:bodyPr/>
          <a:lstStyle>
            <a:lvl1pPr>
              <a:defRPr>
                <a:solidFill>
                  <a:schemeClr val="accent1"/>
                </a:solidFill>
              </a:defRPr>
            </a:lvl1pPr>
          </a:lstStyle>
          <a:p>
            <a:r>
              <a:rPr lang="en-US"/>
              <a:t>Master title style</a:t>
            </a:r>
            <a:endParaRPr lang="en-GB"/>
          </a:p>
        </p:txBody>
      </p:sp>
      <p:sp>
        <p:nvSpPr>
          <p:cNvPr id="5" name="Subtitle 2">
            <a:extLst>
              <a:ext uri="{FF2B5EF4-FFF2-40B4-BE49-F238E27FC236}">
                <a16:creationId xmlns:a16="http://schemas.microsoft.com/office/drawing/2014/main" id="{FB220D96-C4B3-B7EB-A87A-9845F48C33C3}"/>
              </a:ext>
            </a:extLst>
          </p:cNvPr>
          <p:cNvSpPr>
            <a:spLocks noGrp="1"/>
          </p:cNvSpPr>
          <p:nvPr>
            <p:ph type="subTitle" idx="16" hasCustomPrompt="1"/>
          </p:nvPr>
        </p:nvSpPr>
        <p:spPr>
          <a:xfrm>
            <a:off x="288302" y="713620"/>
            <a:ext cx="5732229"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8" name="Footer Placeholder 4">
            <a:extLst>
              <a:ext uri="{FF2B5EF4-FFF2-40B4-BE49-F238E27FC236}">
                <a16:creationId xmlns:a16="http://schemas.microsoft.com/office/drawing/2014/main" id="{6606912E-45D9-5EEE-9496-4E85E1874A13}"/>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249911038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am Slide x 6">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4" name="Picture Placeholder 3">
            <a:extLst>
              <a:ext uri="{FF2B5EF4-FFF2-40B4-BE49-F238E27FC236}">
                <a16:creationId xmlns:a16="http://schemas.microsoft.com/office/drawing/2014/main" id="{3DD93883-FE82-F5D7-6954-1E4205A257B6}"/>
              </a:ext>
            </a:extLst>
          </p:cNvPr>
          <p:cNvSpPr>
            <a:spLocks noGrp="1"/>
          </p:cNvSpPr>
          <p:nvPr>
            <p:ph type="pic" sz="quarter" idx="13" hasCustomPrompt="1"/>
          </p:nvPr>
        </p:nvSpPr>
        <p:spPr>
          <a:xfrm>
            <a:off x="292100" y="2338388"/>
            <a:ext cx="1811338" cy="1893887"/>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11" name="Text Placeholder 10">
            <a:extLst>
              <a:ext uri="{FF2B5EF4-FFF2-40B4-BE49-F238E27FC236}">
                <a16:creationId xmlns:a16="http://schemas.microsoft.com/office/drawing/2014/main" id="{BAF95DAC-024B-BE13-C7C3-B8E962C0E286}"/>
              </a:ext>
            </a:extLst>
          </p:cNvPr>
          <p:cNvSpPr>
            <a:spLocks noGrp="1"/>
          </p:cNvSpPr>
          <p:nvPr>
            <p:ph type="body" sz="quarter" idx="14" hasCustomPrompt="1"/>
          </p:nvPr>
        </p:nvSpPr>
        <p:spPr>
          <a:xfrm>
            <a:off x="292100" y="4376739"/>
            <a:ext cx="1811338"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2" name="Picture Placeholder 3">
            <a:extLst>
              <a:ext uri="{FF2B5EF4-FFF2-40B4-BE49-F238E27FC236}">
                <a16:creationId xmlns:a16="http://schemas.microsoft.com/office/drawing/2014/main" id="{D5C0A3F1-8272-1EE9-CC5E-D2F51E93821E}"/>
              </a:ext>
            </a:extLst>
          </p:cNvPr>
          <p:cNvSpPr>
            <a:spLocks noGrp="1"/>
          </p:cNvSpPr>
          <p:nvPr>
            <p:ph type="pic" sz="quarter" idx="15" hasCustomPrompt="1"/>
          </p:nvPr>
        </p:nvSpPr>
        <p:spPr>
          <a:xfrm>
            <a:off x="2251075" y="2338388"/>
            <a:ext cx="1811338" cy="1893887"/>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13" name="Text Placeholder 10">
            <a:extLst>
              <a:ext uri="{FF2B5EF4-FFF2-40B4-BE49-F238E27FC236}">
                <a16:creationId xmlns:a16="http://schemas.microsoft.com/office/drawing/2014/main" id="{07824833-215E-5CBF-9B67-8C5BFCFF600B}"/>
              </a:ext>
            </a:extLst>
          </p:cNvPr>
          <p:cNvSpPr>
            <a:spLocks noGrp="1"/>
          </p:cNvSpPr>
          <p:nvPr>
            <p:ph type="body" sz="quarter" idx="16" hasCustomPrompt="1"/>
          </p:nvPr>
        </p:nvSpPr>
        <p:spPr>
          <a:xfrm>
            <a:off x="2251075" y="4376739"/>
            <a:ext cx="1811338"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7" name="Picture Placeholder 3">
            <a:extLst>
              <a:ext uri="{FF2B5EF4-FFF2-40B4-BE49-F238E27FC236}">
                <a16:creationId xmlns:a16="http://schemas.microsoft.com/office/drawing/2014/main" id="{BC82D359-5E82-6645-4BA5-091395FFBE4D}"/>
              </a:ext>
            </a:extLst>
          </p:cNvPr>
          <p:cNvSpPr>
            <a:spLocks noGrp="1"/>
          </p:cNvSpPr>
          <p:nvPr>
            <p:ph type="pic" sz="quarter" idx="17" hasCustomPrompt="1"/>
          </p:nvPr>
        </p:nvSpPr>
        <p:spPr>
          <a:xfrm>
            <a:off x="4206875" y="2338388"/>
            <a:ext cx="1811338" cy="1893887"/>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18" name="Text Placeholder 10">
            <a:extLst>
              <a:ext uri="{FF2B5EF4-FFF2-40B4-BE49-F238E27FC236}">
                <a16:creationId xmlns:a16="http://schemas.microsoft.com/office/drawing/2014/main" id="{988FBE5D-B4CD-CE1A-E7E9-92C4741B19DA}"/>
              </a:ext>
            </a:extLst>
          </p:cNvPr>
          <p:cNvSpPr>
            <a:spLocks noGrp="1"/>
          </p:cNvSpPr>
          <p:nvPr>
            <p:ph type="body" sz="quarter" idx="18" hasCustomPrompt="1"/>
          </p:nvPr>
        </p:nvSpPr>
        <p:spPr>
          <a:xfrm>
            <a:off x="4206875" y="4376739"/>
            <a:ext cx="1811338"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9" name="Picture Placeholder 3">
            <a:extLst>
              <a:ext uri="{FF2B5EF4-FFF2-40B4-BE49-F238E27FC236}">
                <a16:creationId xmlns:a16="http://schemas.microsoft.com/office/drawing/2014/main" id="{AE6CF7F4-E399-5395-4477-3A071CFE8BF6}"/>
              </a:ext>
            </a:extLst>
          </p:cNvPr>
          <p:cNvSpPr>
            <a:spLocks noGrp="1"/>
          </p:cNvSpPr>
          <p:nvPr>
            <p:ph type="pic" sz="quarter" idx="19" hasCustomPrompt="1"/>
          </p:nvPr>
        </p:nvSpPr>
        <p:spPr>
          <a:xfrm>
            <a:off x="6165850" y="2338388"/>
            <a:ext cx="1811338" cy="1893887"/>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20" name="Text Placeholder 10">
            <a:extLst>
              <a:ext uri="{FF2B5EF4-FFF2-40B4-BE49-F238E27FC236}">
                <a16:creationId xmlns:a16="http://schemas.microsoft.com/office/drawing/2014/main" id="{7F69C6C1-FD43-DD7E-F8C1-DD938FA7E864}"/>
              </a:ext>
            </a:extLst>
          </p:cNvPr>
          <p:cNvSpPr>
            <a:spLocks noGrp="1"/>
          </p:cNvSpPr>
          <p:nvPr>
            <p:ph type="body" sz="quarter" idx="20" hasCustomPrompt="1"/>
          </p:nvPr>
        </p:nvSpPr>
        <p:spPr>
          <a:xfrm>
            <a:off x="6165850" y="4376739"/>
            <a:ext cx="1811338"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1" name="Picture Placeholder 3">
            <a:extLst>
              <a:ext uri="{FF2B5EF4-FFF2-40B4-BE49-F238E27FC236}">
                <a16:creationId xmlns:a16="http://schemas.microsoft.com/office/drawing/2014/main" id="{C3F6ED5E-6C41-2A6E-8284-782D115E0AC8}"/>
              </a:ext>
            </a:extLst>
          </p:cNvPr>
          <p:cNvSpPr>
            <a:spLocks noGrp="1"/>
          </p:cNvSpPr>
          <p:nvPr>
            <p:ph type="pic" sz="quarter" idx="21" hasCustomPrompt="1"/>
          </p:nvPr>
        </p:nvSpPr>
        <p:spPr>
          <a:xfrm>
            <a:off x="8129587" y="2338388"/>
            <a:ext cx="1811338" cy="1893887"/>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22" name="Text Placeholder 10">
            <a:extLst>
              <a:ext uri="{FF2B5EF4-FFF2-40B4-BE49-F238E27FC236}">
                <a16:creationId xmlns:a16="http://schemas.microsoft.com/office/drawing/2014/main" id="{DE4654D5-A3A7-62DC-42E2-4450D8FF9149}"/>
              </a:ext>
            </a:extLst>
          </p:cNvPr>
          <p:cNvSpPr>
            <a:spLocks noGrp="1"/>
          </p:cNvSpPr>
          <p:nvPr>
            <p:ph type="body" sz="quarter" idx="22" hasCustomPrompt="1"/>
          </p:nvPr>
        </p:nvSpPr>
        <p:spPr>
          <a:xfrm>
            <a:off x="8129587" y="4376739"/>
            <a:ext cx="1811338"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10088562" y="2338388"/>
            <a:ext cx="1811338" cy="1893887"/>
          </a:xfrm>
          <a:solidFill>
            <a:schemeClr val="tx2"/>
          </a:solidFill>
        </p:spPr>
        <p:txBody>
          <a:bodyPr vert="horz" lIns="0" tIns="0" rIns="0" bIns="0" rtlCol="0">
            <a:noAutofit/>
          </a:bodyPr>
          <a:lstStyle>
            <a:lvl1pPr>
              <a:defRPr lang="en-GB" sz="12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10088562" y="4376739"/>
            <a:ext cx="1811338"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 name="Text Placeholder 7">
            <a:extLst>
              <a:ext uri="{FF2B5EF4-FFF2-40B4-BE49-F238E27FC236}">
                <a16:creationId xmlns:a16="http://schemas.microsoft.com/office/drawing/2014/main" id="{7BD20165-AAB7-7FF2-32A4-4043B7F5215A}"/>
              </a:ext>
            </a:extLst>
          </p:cNvPr>
          <p:cNvSpPr>
            <a:spLocks noGrp="1"/>
          </p:cNvSpPr>
          <p:nvPr>
            <p:ph type="body" sz="quarter" idx="25" hasCustomPrompt="1"/>
          </p:nvPr>
        </p:nvSpPr>
        <p:spPr>
          <a:xfrm>
            <a:off x="8124205" y="295200"/>
            <a:ext cx="3778870" cy="876375"/>
          </a:xfrm>
        </p:spPr>
        <p:txBody>
          <a:bodyPr/>
          <a:lstStyle>
            <a:lvl1pPr>
              <a:defRPr sz="1400"/>
            </a:lvl1pPr>
            <a:lvl2pPr>
              <a:defRPr sz="1400"/>
            </a:lvl2pPr>
            <a:lvl3pPr>
              <a:defRPr sz="1200"/>
            </a:lvl3pPr>
          </a:lstStyle>
          <a:p>
            <a:pPr lvl="0"/>
            <a:r>
              <a:rPr lang="en-GB"/>
              <a:t>Click to add text. Delete if not required.</a:t>
            </a:r>
          </a:p>
          <a:p>
            <a:pPr lvl="1"/>
            <a:r>
              <a:rPr lang="en-GB"/>
              <a:t>Second level</a:t>
            </a:r>
          </a:p>
          <a:p>
            <a:pPr lvl="2"/>
            <a:r>
              <a:rPr lang="en-GB"/>
              <a:t>Third level</a:t>
            </a:r>
          </a:p>
        </p:txBody>
      </p:sp>
      <p:sp>
        <p:nvSpPr>
          <p:cNvPr id="9" name="Title 7">
            <a:extLst>
              <a:ext uri="{FF2B5EF4-FFF2-40B4-BE49-F238E27FC236}">
                <a16:creationId xmlns:a16="http://schemas.microsoft.com/office/drawing/2014/main" id="{604F17DC-3526-6523-F6A2-A614A5877E66}"/>
              </a:ext>
            </a:extLst>
          </p:cNvPr>
          <p:cNvSpPr>
            <a:spLocks noGrp="1"/>
          </p:cNvSpPr>
          <p:nvPr>
            <p:ph type="title" hasCustomPrompt="1"/>
          </p:nvPr>
        </p:nvSpPr>
        <p:spPr>
          <a:xfrm>
            <a:off x="288303" y="262800"/>
            <a:ext cx="6710984" cy="468590"/>
          </a:xfrm>
        </p:spPr>
        <p:txBody>
          <a:bodyPr/>
          <a:lstStyle>
            <a:lvl1pPr>
              <a:defRPr>
                <a:solidFill>
                  <a:schemeClr val="accent1"/>
                </a:solidFill>
              </a:defRPr>
            </a:lvl1pPr>
          </a:lstStyle>
          <a:p>
            <a:r>
              <a:rPr lang="en-US"/>
              <a:t>Master title style</a:t>
            </a:r>
            <a:endParaRPr lang="en-GB"/>
          </a:p>
        </p:txBody>
      </p:sp>
      <p:sp>
        <p:nvSpPr>
          <p:cNvPr id="5" name="Subtitle 2">
            <a:extLst>
              <a:ext uri="{FF2B5EF4-FFF2-40B4-BE49-F238E27FC236}">
                <a16:creationId xmlns:a16="http://schemas.microsoft.com/office/drawing/2014/main" id="{C2B84ACE-520E-A875-5184-5F9EE6A46C07}"/>
              </a:ext>
            </a:extLst>
          </p:cNvPr>
          <p:cNvSpPr>
            <a:spLocks noGrp="1"/>
          </p:cNvSpPr>
          <p:nvPr>
            <p:ph type="subTitle" idx="26"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3" name="Footer Placeholder 4">
            <a:extLst>
              <a:ext uri="{FF2B5EF4-FFF2-40B4-BE49-F238E27FC236}">
                <a16:creationId xmlns:a16="http://schemas.microsoft.com/office/drawing/2014/main" id="{3736E8E3-26E6-DF9F-264A-BFE1AD9B09BE}"/>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392917774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eam Slide x 12">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4" name="Picture Placeholder 3">
            <a:extLst>
              <a:ext uri="{FF2B5EF4-FFF2-40B4-BE49-F238E27FC236}">
                <a16:creationId xmlns:a16="http://schemas.microsoft.com/office/drawing/2014/main" id="{3DD93883-FE82-F5D7-6954-1E4205A257B6}"/>
              </a:ext>
            </a:extLst>
          </p:cNvPr>
          <p:cNvSpPr>
            <a:spLocks noGrp="1"/>
          </p:cNvSpPr>
          <p:nvPr>
            <p:ph type="pic" sz="quarter" idx="13" hasCustomPrompt="1"/>
          </p:nvPr>
        </p:nvSpPr>
        <p:spPr>
          <a:xfrm>
            <a:off x="292100" y="1325991"/>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11" name="Text Placeholder 10">
            <a:extLst>
              <a:ext uri="{FF2B5EF4-FFF2-40B4-BE49-F238E27FC236}">
                <a16:creationId xmlns:a16="http://schemas.microsoft.com/office/drawing/2014/main" id="{BAF95DAC-024B-BE13-C7C3-B8E962C0E286}"/>
              </a:ext>
            </a:extLst>
          </p:cNvPr>
          <p:cNvSpPr>
            <a:spLocks noGrp="1"/>
          </p:cNvSpPr>
          <p:nvPr>
            <p:ph type="body" sz="quarter" idx="14" hasCustomPrompt="1"/>
          </p:nvPr>
        </p:nvSpPr>
        <p:spPr>
          <a:xfrm>
            <a:off x="292100"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2" name="Picture Placeholder 3">
            <a:extLst>
              <a:ext uri="{FF2B5EF4-FFF2-40B4-BE49-F238E27FC236}">
                <a16:creationId xmlns:a16="http://schemas.microsoft.com/office/drawing/2014/main" id="{D5C0A3F1-8272-1EE9-CC5E-D2F51E93821E}"/>
              </a:ext>
            </a:extLst>
          </p:cNvPr>
          <p:cNvSpPr>
            <a:spLocks noGrp="1"/>
          </p:cNvSpPr>
          <p:nvPr>
            <p:ph type="pic" sz="quarter" idx="15" hasCustomPrompt="1"/>
          </p:nvPr>
        </p:nvSpPr>
        <p:spPr>
          <a:xfrm>
            <a:off x="2251075" y="1325991"/>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13" name="Text Placeholder 10">
            <a:extLst>
              <a:ext uri="{FF2B5EF4-FFF2-40B4-BE49-F238E27FC236}">
                <a16:creationId xmlns:a16="http://schemas.microsoft.com/office/drawing/2014/main" id="{07824833-215E-5CBF-9B67-8C5BFCFF600B}"/>
              </a:ext>
            </a:extLst>
          </p:cNvPr>
          <p:cNvSpPr>
            <a:spLocks noGrp="1"/>
          </p:cNvSpPr>
          <p:nvPr>
            <p:ph type="body" sz="quarter" idx="16" hasCustomPrompt="1"/>
          </p:nvPr>
        </p:nvSpPr>
        <p:spPr>
          <a:xfrm>
            <a:off x="2251075"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7" name="Picture Placeholder 3">
            <a:extLst>
              <a:ext uri="{FF2B5EF4-FFF2-40B4-BE49-F238E27FC236}">
                <a16:creationId xmlns:a16="http://schemas.microsoft.com/office/drawing/2014/main" id="{BC82D359-5E82-6645-4BA5-091395FFBE4D}"/>
              </a:ext>
            </a:extLst>
          </p:cNvPr>
          <p:cNvSpPr>
            <a:spLocks noGrp="1"/>
          </p:cNvSpPr>
          <p:nvPr>
            <p:ph type="pic" sz="quarter" idx="17" hasCustomPrompt="1"/>
          </p:nvPr>
        </p:nvSpPr>
        <p:spPr>
          <a:xfrm>
            <a:off x="4206875" y="1325991"/>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18" name="Text Placeholder 10">
            <a:extLst>
              <a:ext uri="{FF2B5EF4-FFF2-40B4-BE49-F238E27FC236}">
                <a16:creationId xmlns:a16="http://schemas.microsoft.com/office/drawing/2014/main" id="{988FBE5D-B4CD-CE1A-E7E9-92C4741B19DA}"/>
              </a:ext>
            </a:extLst>
          </p:cNvPr>
          <p:cNvSpPr>
            <a:spLocks noGrp="1"/>
          </p:cNvSpPr>
          <p:nvPr>
            <p:ph type="body" sz="quarter" idx="18" hasCustomPrompt="1"/>
          </p:nvPr>
        </p:nvSpPr>
        <p:spPr>
          <a:xfrm>
            <a:off x="4206875"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9" name="Picture Placeholder 3">
            <a:extLst>
              <a:ext uri="{FF2B5EF4-FFF2-40B4-BE49-F238E27FC236}">
                <a16:creationId xmlns:a16="http://schemas.microsoft.com/office/drawing/2014/main" id="{AE6CF7F4-E399-5395-4477-3A071CFE8BF6}"/>
              </a:ext>
            </a:extLst>
          </p:cNvPr>
          <p:cNvSpPr>
            <a:spLocks noGrp="1"/>
          </p:cNvSpPr>
          <p:nvPr>
            <p:ph type="pic" sz="quarter" idx="19" hasCustomPrompt="1"/>
          </p:nvPr>
        </p:nvSpPr>
        <p:spPr>
          <a:xfrm>
            <a:off x="6165850" y="1325991"/>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20" name="Text Placeholder 10">
            <a:extLst>
              <a:ext uri="{FF2B5EF4-FFF2-40B4-BE49-F238E27FC236}">
                <a16:creationId xmlns:a16="http://schemas.microsoft.com/office/drawing/2014/main" id="{7F69C6C1-FD43-DD7E-F8C1-DD938FA7E864}"/>
              </a:ext>
            </a:extLst>
          </p:cNvPr>
          <p:cNvSpPr>
            <a:spLocks noGrp="1"/>
          </p:cNvSpPr>
          <p:nvPr>
            <p:ph type="body" sz="quarter" idx="20" hasCustomPrompt="1"/>
          </p:nvPr>
        </p:nvSpPr>
        <p:spPr>
          <a:xfrm>
            <a:off x="6165850"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1" name="Picture Placeholder 3">
            <a:extLst>
              <a:ext uri="{FF2B5EF4-FFF2-40B4-BE49-F238E27FC236}">
                <a16:creationId xmlns:a16="http://schemas.microsoft.com/office/drawing/2014/main" id="{C3F6ED5E-6C41-2A6E-8284-782D115E0AC8}"/>
              </a:ext>
            </a:extLst>
          </p:cNvPr>
          <p:cNvSpPr>
            <a:spLocks noGrp="1"/>
          </p:cNvSpPr>
          <p:nvPr>
            <p:ph type="pic" sz="quarter" idx="21" hasCustomPrompt="1"/>
          </p:nvPr>
        </p:nvSpPr>
        <p:spPr>
          <a:xfrm>
            <a:off x="8129587" y="1325991"/>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22" name="Text Placeholder 10">
            <a:extLst>
              <a:ext uri="{FF2B5EF4-FFF2-40B4-BE49-F238E27FC236}">
                <a16:creationId xmlns:a16="http://schemas.microsoft.com/office/drawing/2014/main" id="{DE4654D5-A3A7-62DC-42E2-4450D8FF9149}"/>
              </a:ext>
            </a:extLst>
          </p:cNvPr>
          <p:cNvSpPr>
            <a:spLocks noGrp="1"/>
          </p:cNvSpPr>
          <p:nvPr>
            <p:ph type="body" sz="quarter" idx="22" hasCustomPrompt="1"/>
          </p:nvPr>
        </p:nvSpPr>
        <p:spPr>
          <a:xfrm>
            <a:off x="8129587"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10088562" y="1325991"/>
            <a:ext cx="1810800" cy="1742358"/>
          </a:xfrm>
          <a:solidFill>
            <a:schemeClr val="tx2"/>
          </a:solidFill>
        </p:spPr>
        <p:txBody>
          <a:bodyPr vert="horz" lIns="0" tIns="0" rIns="0" bIns="0" rtlCol="0">
            <a:noAutofit/>
          </a:bodyPr>
          <a:lstStyle>
            <a:lvl1pPr>
              <a:defRPr lang="en-GB" sz="12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10088562"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 name="Text Placeholder 7">
            <a:extLst>
              <a:ext uri="{FF2B5EF4-FFF2-40B4-BE49-F238E27FC236}">
                <a16:creationId xmlns:a16="http://schemas.microsoft.com/office/drawing/2014/main" id="{7BD20165-AAB7-7FF2-32A4-4043B7F5215A}"/>
              </a:ext>
            </a:extLst>
          </p:cNvPr>
          <p:cNvSpPr>
            <a:spLocks noGrp="1"/>
          </p:cNvSpPr>
          <p:nvPr>
            <p:ph type="body" sz="quarter" idx="25" hasCustomPrompt="1"/>
          </p:nvPr>
        </p:nvSpPr>
        <p:spPr>
          <a:xfrm>
            <a:off x="8124205" y="295200"/>
            <a:ext cx="3778870" cy="876375"/>
          </a:xfrm>
        </p:spPr>
        <p:txBody>
          <a:bodyPr/>
          <a:lstStyle>
            <a:lvl1pPr>
              <a:defRPr sz="1400"/>
            </a:lvl1pPr>
            <a:lvl2pPr>
              <a:defRPr sz="1400"/>
            </a:lvl2pPr>
            <a:lvl3pPr>
              <a:defRPr sz="1200"/>
            </a:lvl3pPr>
          </a:lstStyle>
          <a:p>
            <a:pPr lvl="0"/>
            <a:r>
              <a:rPr lang="en-GB"/>
              <a:t>Click to add text. Delete if not required.</a:t>
            </a:r>
          </a:p>
          <a:p>
            <a:pPr lvl="1"/>
            <a:r>
              <a:rPr lang="en-GB"/>
              <a:t>Second level</a:t>
            </a:r>
          </a:p>
          <a:p>
            <a:pPr lvl="2"/>
            <a:r>
              <a:rPr lang="en-GB"/>
              <a:t>Third level</a:t>
            </a:r>
          </a:p>
        </p:txBody>
      </p:sp>
      <p:sp>
        <p:nvSpPr>
          <p:cNvPr id="30" name="Picture Placeholder 3">
            <a:extLst>
              <a:ext uri="{FF2B5EF4-FFF2-40B4-BE49-F238E27FC236}">
                <a16:creationId xmlns:a16="http://schemas.microsoft.com/office/drawing/2014/main" id="{1E351EF8-8286-87AC-38C6-7E9DC74AA5D5}"/>
              </a:ext>
            </a:extLst>
          </p:cNvPr>
          <p:cNvSpPr>
            <a:spLocks noGrp="1"/>
          </p:cNvSpPr>
          <p:nvPr>
            <p:ph type="pic" sz="quarter" idx="26" hasCustomPrompt="1"/>
          </p:nvPr>
        </p:nvSpPr>
        <p:spPr>
          <a:xfrm>
            <a:off x="292100" y="3832986"/>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31" name="Text Placeholder 10">
            <a:extLst>
              <a:ext uri="{FF2B5EF4-FFF2-40B4-BE49-F238E27FC236}">
                <a16:creationId xmlns:a16="http://schemas.microsoft.com/office/drawing/2014/main" id="{7D881FA5-55EC-F926-2B2E-C6A382AF84D6}"/>
              </a:ext>
            </a:extLst>
          </p:cNvPr>
          <p:cNvSpPr>
            <a:spLocks noGrp="1"/>
          </p:cNvSpPr>
          <p:nvPr>
            <p:ph type="body" sz="quarter" idx="27" hasCustomPrompt="1"/>
          </p:nvPr>
        </p:nvSpPr>
        <p:spPr>
          <a:xfrm>
            <a:off x="292100"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2" name="Picture Placeholder 3">
            <a:extLst>
              <a:ext uri="{FF2B5EF4-FFF2-40B4-BE49-F238E27FC236}">
                <a16:creationId xmlns:a16="http://schemas.microsoft.com/office/drawing/2014/main" id="{BBC82E01-F7FE-2EAB-B8E7-5960A7A58603}"/>
              </a:ext>
            </a:extLst>
          </p:cNvPr>
          <p:cNvSpPr>
            <a:spLocks noGrp="1"/>
          </p:cNvSpPr>
          <p:nvPr>
            <p:ph type="pic" sz="quarter" idx="28" hasCustomPrompt="1"/>
          </p:nvPr>
        </p:nvSpPr>
        <p:spPr>
          <a:xfrm>
            <a:off x="2251075" y="3832986"/>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33" name="Text Placeholder 10">
            <a:extLst>
              <a:ext uri="{FF2B5EF4-FFF2-40B4-BE49-F238E27FC236}">
                <a16:creationId xmlns:a16="http://schemas.microsoft.com/office/drawing/2014/main" id="{AF3DAD82-5491-5A1C-AF05-DBECB12413C0}"/>
              </a:ext>
            </a:extLst>
          </p:cNvPr>
          <p:cNvSpPr>
            <a:spLocks noGrp="1"/>
          </p:cNvSpPr>
          <p:nvPr>
            <p:ph type="body" sz="quarter" idx="29" hasCustomPrompt="1"/>
          </p:nvPr>
        </p:nvSpPr>
        <p:spPr>
          <a:xfrm>
            <a:off x="2251075"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4" name="Picture Placeholder 3">
            <a:extLst>
              <a:ext uri="{FF2B5EF4-FFF2-40B4-BE49-F238E27FC236}">
                <a16:creationId xmlns:a16="http://schemas.microsoft.com/office/drawing/2014/main" id="{D56B49B1-E5CE-83C1-0D25-0898269814D0}"/>
              </a:ext>
            </a:extLst>
          </p:cNvPr>
          <p:cNvSpPr>
            <a:spLocks noGrp="1"/>
          </p:cNvSpPr>
          <p:nvPr>
            <p:ph type="pic" sz="quarter" idx="30" hasCustomPrompt="1"/>
          </p:nvPr>
        </p:nvSpPr>
        <p:spPr>
          <a:xfrm>
            <a:off x="4206875" y="3832986"/>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35" name="Text Placeholder 10">
            <a:extLst>
              <a:ext uri="{FF2B5EF4-FFF2-40B4-BE49-F238E27FC236}">
                <a16:creationId xmlns:a16="http://schemas.microsoft.com/office/drawing/2014/main" id="{0D879563-9332-8DE6-BC2B-72B716864FC8}"/>
              </a:ext>
            </a:extLst>
          </p:cNvPr>
          <p:cNvSpPr>
            <a:spLocks noGrp="1"/>
          </p:cNvSpPr>
          <p:nvPr>
            <p:ph type="body" sz="quarter" idx="31" hasCustomPrompt="1"/>
          </p:nvPr>
        </p:nvSpPr>
        <p:spPr>
          <a:xfrm>
            <a:off x="4206875"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6" name="Picture Placeholder 3">
            <a:extLst>
              <a:ext uri="{FF2B5EF4-FFF2-40B4-BE49-F238E27FC236}">
                <a16:creationId xmlns:a16="http://schemas.microsoft.com/office/drawing/2014/main" id="{34E06054-2590-E998-043B-8F545070935C}"/>
              </a:ext>
            </a:extLst>
          </p:cNvPr>
          <p:cNvSpPr>
            <a:spLocks noGrp="1"/>
          </p:cNvSpPr>
          <p:nvPr>
            <p:ph type="pic" sz="quarter" idx="32" hasCustomPrompt="1"/>
          </p:nvPr>
        </p:nvSpPr>
        <p:spPr>
          <a:xfrm>
            <a:off x="6165850" y="3832986"/>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37" name="Text Placeholder 10">
            <a:extLst>
              <a:ext uri="{FF2B5EF4-FFF2-40B4-BE49-F238E27FC236}">
                <a16:creationId xmlns:a16="http://schemas.microsoft.com/office/drawing/2014/main" id="{B2E849EB-3C88-7D18-ED79-F55E7AB9250D}"/>
              </a:ext>
            </a:extLst>
          </p:cNvPr>
          <p:cNvSpPr>
            <a:spLocks noGrp="1"/>
          </p:cNvSpPr>
          <p:nvPr>
            <p:ph type="body" sz="quarter" idx="33" hasCustomPrompt="1"/>
          </p:nvPr>
        </p:nvSpPr>
        <p:spPr>
          <a:xfrm>
            <a:off x="6165850"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8" name="Picture Placeholder 3">
            <a:extLst>
              <a:ext uri="{FF2B5EF4-FFF2-40B4-BE49-F238E27FC236}">
                <a16:creationId xmlns:a16="http://schemas.microsoft.com/office/drawing/2014/main" id="{3A8CC4AE-06AB-5A91-10DC-6C53FFB4A23A}"/>
              </a:ext>
            </a:extLst>
          </p:cNvPr>
          <p:cNvSpPr>
            <a:spLocks noGrp="1"/>
          </p:cNvSpPr>
          <p:nvPr>
            <p:ph type="pic" sz="quarter" idx="34" hasCustomPrompt="1"/>
          </p:nvPr>
        </p:nvSpPr>
        <p:spPr>
          <a:xfrm>
            <a:off x="8129587" y="3832986"/>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39" name="Text Placeholder 10">
            <a:extLst>
              <a:ext uri="{FF2B5EF4-FFF2-40B4-BE49-F238E27FC236}">
                <a16:creationId xmlns:a16="http://schemas.microsoft.com/office/drawing/2014/main" id="{5B2ACD70-936B-5D18-96B7-1BF64FC6E214}"/>
              </a:ext>
            </a:extLst>
          </p:cNvPr>
          <p:cNvSpPr>
            <a:spLocks noGrp="1"/>
          </p:cNvSpPr>
          <p:nvPr>
            <p:ph type="body" sz="quarter" idx="35" hasCustomPrompt="1"/>
          </p:nvPr>
        </p:nvSpPr>
        <p:spPr>
          <a:xfrm>
            <a:off x="8129587"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40" name="Picture Placeholder 3">
            <a:extLst>
              <a:ext uri="{FF2B5EF4-FFF2-40B4-BE49-F238E27FC236}">
                <a16:creationId xmlns:a16="http://schemas.microsoft.com/office/drawing/2014/main" id="{96B65B4A-309C-6AFF-3233-21C6FE13D295}"/>
              </a:ext>
            </a:extLst>
          </p:cNvPr>
          <p:cNvSpPr>
            <a:spLocks noGrp="1"/>
          </p:cNvSpPr>
          <p:nvPr>
            <p:ph type="pic" sz="quarter" idx="36" hasCustomPrompt="1"/>
          </p:nvPr>
        </p:nvSpPr>
        <p:spPr>
          <a:xfrm>
            <a:off x="10088562" y="3832986"/>
            <a:ext cx="1810800" cy="1742358"/>
          </a:xfrm>
          <a:solidFill>
            <a:schemeClr val="tx2"/>
          </a:solidFill>
        </p:spPr>
        <p:txBody>
          <a:bodyPr vert="horz" lIns="0" tIns="0" rIns="0" bIns="0" rtlCol="0">
            <a:noAutofit/>
          </a:bodyPr>
          <a:lstStyle>
            <a:lvl1pPr>
              <a:defRPr lang="en-GB" sz="12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41" name="Text Placeholder 10">
            <a:extLst>
              <a:ext uri="{FF2B5EF4-FFF2-40B4-BE49-F238E27FC236}">
                <a16:creationId xmlns:a16="http://schemas.microsoft.com/office/drawing/2014/main" id="{56786C68-DCD8-DE01-5F52-6FF88150DD6E}"/>
              </a:ext>
            </a:extLst>
          </p:cNvPr>
          <p:cNvSpPr>
            <a:spLocks noGrp="1"/>
          </p:cNvSpPr>
          <p:nvPr>
            <p:ph type="body" sz="quarter" idx="37" hasCustomPrompt="1"/>
          </p:nvPr>
        </p:nvSpPr>
        <p:spPr>
          <a:xfrm>
            <a:off x="10088562"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5" name="Title 7">
            <a:extLst>
              <a:ext uri="{FF2B5EF4-FFF2-40B4-BE49-F238E27FC236}">
                <a16:creationId xmlns:a16="http://schemas.microsoft.com/office/drawing/2014/main" id="{520EE9D3-6988-A53A-4B71-0F5506C1DB6D}"/>
              </a:ext>
            </a:extLst>
          </p:cNvPr>
          <p:cNvSpPr>
            <a:spLocks noGrp="1"/>
          </p:cNvSpPr>
          <p:nvPr>
            <p:ph type="title" hasCustomPrompt="1"/>
          </p:nvPr>
        </p:nvSpPr>
        <p:spPr>
          <a:xfrm>
            <a:off x="288303" y="262800"/>
            <a:ext cx="6710984" cy="468590"/>
          </a:xfrm>
        </p:spPr>
        <p:txBody>
          <a:bodyPr/>
          <a:lstStyle>
            <a:lvl1pPr>
              <a:defRPr>
                <a:solidFill>
                  <a:schemeClr val="accent1"/>
                </a:solidFill>
              </a:defRPr>
            </a:lvl1pPr>
          </a:lstStyle>
          <a:p>
            <a:r>
              <a:rPr lang="en-US"/>
              <a:t>Master title style</a:t>
            </a:r>
            <a:endParaRPr lang="en-GB"/>
          </a:p>
        </p:txBody>
      </p:sp>
      <p:sp>
        <p:nvSpPr>
          <p:cNvPr id="8" name="Subtitle 2">
            <a:extLst>
              <a:ext uri="{FF2B5EF4-FFF2-40B4-BE49-F238E27FC236}">
                <a16:creationId xmlns:a16="http://schemas.microsoft.com/office/drawing/2014/main" id="{A29A91CD-56E3-1B05-9890-3FE2231364A5}"/>
              </a:ext>
            </a:extLst>
          </p:cNvPr>
          <p:cNvSpPr>
            <a:spLocks noGrp="1"/>
          </p:cNvSpPr>
          <p:nvPr>
            <p:ph type="subTitle" idx="38"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3" name="Footer Placeholder 4">
            <a:extLst>
              <a:ext uri="{FF2B5EF4-FFF2-40B4-BE49-F238E27FC236}">
                <a16:creationId xmlns:a16="http://schemas.microsoft.com/office/drawing/2014/main" id="{2FD0E279-D09C-E44C-0FD5-7AAE367C5D97}"/>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45647092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F71E3-AC39-2207-0CC4-1E2486610795}"/>
              </a:ext>
            </a:extLst>
          </p:cNvPr>
          <p:cNvSpPr>
            <a:spLocks noGrp="1"/>
          </p:cNvSpPr>
          <p:nvPr>
            <p:ph type="ctrTitle"/>
          </p:nvPr>
        </p:nvSpPr>
        <p:spPr>
          <a:xfrm>
            <a:off x="291593" y="280800"/>
            <a:ext cx="5734050" cy="2620397"/>
          </a:xfrm>
        </p:spPr>
        <p:txBody>
          <a:bodyPr wrap="square" anchor="t">
            <a:spAutoFit/>
          </a:bodyPr>
          <a:lstStyle>
            <a:lvl1pPr algn="l">
              <a:lnSpc>
                <a:spcPct val="80000"/>
              </a:lnSpc>
              <a:defRPr sz="7000" b="0" i="0" spc="0" baseline="0">
                <a:solidFill>
                  <a:schemeClr val="bg1"/>
                </a:solidFill>
                <a:latin typeface="+mj-lt"/>
              </a:defRPr>
            </a:lvl1pPr>
          </a:lstStyle>
          <a:p>
            <a:r>
              <a:rPr lang="en-US"/>
              <a:t>Click to edit Master title style</a:t>
            </a:r>
            <a:endParaRPr lang="en-GB"/>
          </a:p>
        </p:txBody>
      </p:sp>
      <p:sp>
        <p:nvSpPr>
          <p:cNvPr id="7" name="Text Placeholder 31">
            <a:extLst>
              <a:ext uri="{FF2B5EF4-FFF2-40B4-BE49-F238E27FC236}">
                <a16:creationId xmlns:a16="http://schemas.microsoft.com/office/drawing/2014/main" id="{B7E02200-51E6-11EB-F9C2-B25EC78CCA31}"/>
              </a:ext>
            </a:extLst>
          </p:cNvPr>
          <p:cNvSpPr>
            <a:spLocks noGrp="1"/>
          </p:cNvSpPr>
          <p:nvPr>
            <p:ph type="body" sz="quarter" idx="10" hasCustomPrompt="1"/>
          </p:nvPr>
        </p:nvSpPr>
        <p:spPr>
          <a:xfrm>
            <a:off x="287338" y="5035735"/>
            <a:ext cx="2795587" cy="717180"/>
          </a:xfrm>
        </p:spPr>
        <p:txBody>
          <a:bodyPr anchor="b"/>
          <a:lstStyle>
            <a:lvl1pPr>
              <a:lnSpc>
                <a:spcPct val="100000"/>
              </a:lnSpc>
              <a:spcBef>
                <a:spcPts val="0"/>
              </a:spcBef>
              <a:spcAft>
                <a:spcPts val="0"/>
              </a:spcAft>
              <a:defRPr sz="1000">
                <a:solidFill>
                  <a:schemeClr val="bg1"/>
                </a:solidFill>
              </a:defRPr>
            </a:lvl1pPr>
          </a:lstStyle>
          <a:p>
            <a:r>
              <a:rPr lang="en-GB"/>
              <a:t>Supporting details – delete if not required</a:t>
            </a:r>
          </a:p>
        </p:txBody>
      </p:sp>
      <p:sp>
        <p:nvSpPr>
          <p:cNvPr id="4" name="Graphic 2">
            <a:extLst>
              <a:ext uri="{FF2B5EF4-FFF2-40B4-BE49-F238E27FC236}">
                <a16:creationId xmlns:a16="http://schemas.microsoft.com/office/drawing/2014/main" id="{596B4D9D-1962-9920-7F5F-A7A616FD4C77}"/>
              </a:ext>
            </a:extLst>
          </p:cNvPr>
          <p:cNvSpPr>
            <a:spLocks noChangeAspect="1"/>
          </p:cNvSpPr>
          <p:nvPr userDrawn="1"/>
        </p:nvSpPr>
        <p:spPr>
          <a:xfrm>
            <a:off x="290513" y="6377853"/>
            <a:ext cx="2034000" cy="187309"/>
          </a:xfrm>
          <a:custGeom>
            <a:avLst/>
            <a:gdLst>
              <a:gd name="connsiteX0" fmla="*/ 542692 w 5487431"/>
              <a:gd name="connsiteY0" fmla="*/ 463149 h 505330"/>
              <a:gd name="connsiteX1" fmla="*/ 458967 w 5487431"/>
              <a:gd name="connsiteY1" fmla="*/ 321634 h 505330"/>
              <a:gd name="connsiteX2" fmla="*/ 542692 w 5487431"/>
              <a:gd name="connsiteY2" fmla="*/ 180119 h 505330"/>
              <a:gd name="connsiteX3" fmla="*/ 626417 w 5487431"/>
              <a:gd name="connsiteY3" fmla="*/ 321634 h 505330"/>
              <a:gd name="connsiteX4" fmla="*/ 542692 w 5487431"/>
              <a:gd name="connsiteY4" fmla="*/ 463149 h 505330"/>
              <a:gd name="connsiteX5" fmla="*/ 542692 w 5487431"/>
              <a:gd name="connsiteY5" fmla="*/ 142174 h 505330"/>
              <a:gd name="connsiteX6" fmla="*/ 372482 w 5487431"/>
              <a:gd name="connsiteY6" fmla="*/ 321634 h 505330"/>
              <a:gd name="connsiteX7" fmla="*/ 542692 w 5487431"/>
              <a:gd name="connsiteY7" fmla="*/ 501094 h 505330"/>
              <a:gd name="connsiteX8" fmla="*/ 712902 w 5487431"/>
              <a:gd name="connsiteY8" fmla="*/ 321634 h 505330"/>
              <a:gd name="connsiteX9" fmla="*/ 542692 w 5487431"/>
              <a:gd name="connsiteY9" fmla="*/ 142174 h 505330"/>
              <a:gd name="connsiteX10" fmla="*/ 1303641 w 5487431"/>
              <a:gd name="connsiteY10" fmla="*/ 142174 h 505330"/>
              <a:gd name="connsiteX11" fmla="*/ 1207357 w 5487431"/>
              <a:gd name="connsiteY11" fmla="*/ 192547 h 505330"/>
              <a:gd name="connsiteX12" fmla="*/ 1203170 w 5487431"/>
              <a:gd name="connsiteY12" fmla="*/ 192547 h 505330"/>
              <a:gd name="connsiteX13" fmla="*/ 1203170 w 5487431"/>
              <a:gd name="connsiteY13" fmla="*/ 149048 h 505330"/>
              <a:gd name="connsiteX14" fmla="*/ 1120872 w 5487431"/>
              <a:gd name="connsiteY14" fmla="*/ 149048 h 505330"/>
              <a:gd name="connsiteX15" fmla="*/ 1120872 w 5487431"/>
              <a:gd name="connsiteY15" fmla="*/ 494221 h 505330"/>
              <a:gd name="connsiteX16" fmla="*/ 1203170 w 5487431"/>
              <a:gd name="connsiteY16" fmla="*/ 494221 h 505330"/>
              <a:gd name="connsiteX17" fmla="*/ 1203170 w 5487431"/>
              <a:gd name="connsiteY17" fmla="*/ 271261 h 505330"/>
              <a:gd name="connsiteX18" fmla="*/ 1272244 w 5487431"/>
              <a:gd name="connsiteY18" fmla="*/ 190476 h 505330"/>
              <a:gd name="connsiteX19" fmla="*/ 1331518 w 5487431"/>
              <a:gd name="connsiteY19" fmla="*/ 258173 h 505330"/>
              <a:gd name="connsiteX20" fmla="*/ 1331518 w 5487431"/>
              <a:gd name="connsiteY20" fmla="*/ 494221 h 505330"/>
              <a:gd name="connsiteX21" fmla="*/ 1413816 w 5487431"/>
              <a:gd name="connsiteY21" fmla="*/ 494221 h 505330"/>
              <a:gd name="connsiteX22" fmla="*/ 1413816 w 5487431"/>
              <a:gd name="connsiteY22" fmla="*/ 257420 h 505330"/>
              <a:gd name="connsiteX23" fmla="*/ 1303641 w 5487431"/>
              <a:gd name="connsiteY23" fmla="*/ 142174 h 505330"/>
              <a:gd name="connsiteX24" fmla="*/ 1600771 w 5487431"/>
              <a:gd name="connsiteY24" fmla="*/ 142174 h 505330"/>
              <a:gd name="connsiteX25" fmla="*/ 1467571 w 5487431"/>
              <a:gd name="connsiteY25" fmla="*/ 241602 h 505330"/>
              <a:gd name="connsiteX26" fmla="*/ 1551962 w 5487431"/>
              <a:gd name="connsiteY26" fmla="*/ 341030 h 505330"/>
              <a:gd name="connsiteX27" fmla="*/ 1621702 w 5487431"/>
              <a:gd name="connsiteY27" fmla="*/ 358260 h 505330"/>
              <a:gd name="connsiteX28" fmla="*/ 1675457 w 5487431"/>
              <a:gd name="connsiteY28" fmla="*/ 409387 h 505330"/>
              <a:gd name="connsiteX29" fmla="*/ 1606384 w 5487431"/>
              <a:gd name="connsiteY29" fmla="*/ 464656 h 505330"/>
              <a:gd name="connsiteX30" fmla="*/ 1526845 w 5487431"/>
              <a:gd name="connsiteY30" fmla="*/ 384624 h 505330"/>
              <a:gd name="connsiteX31" fmla="*/ 1452919 w 5487431"/>
              <a:gd name="connsiteY31" fmla="*/ 405338 h 505330"/>
              <a:gd name="connsiteX32" fmla="*/ 1597345 w 5487431"/>
              <a:gd name="connsiteY32" fmla="*/ 501282 h 505330"/>
              <a:gd name="connsiteX33" fmla="*/ 1742438 w 5487431"/>
              <a:gd name="connsiteY33" fmla="*/ 388767 h 505330"/>
              <a:gd name="connsiteX34" fmla="*/ 1649674 w 5487431"/>
              <a:gd name="connsiteY34" fmla="*/ 285196 h 505330"/>
              <a:gd name="connsiteX35" fmla="*/ 1582693 w 5487431"/>
              <a:gd name="connsiteY35" fmla="*/ 268625 h 505330"/>
              <a:gd name="connsiteX36" fmla="*/ 1534551 w 5487431"/>
              <a:gd name="connsiteY36" fmla="*/ 223054 h 505330"/>
              <a:gd name="connsiteX37" fmla="*/ 1593825 w 5487431"/>
              <a:gd name="connsiteY37" fmla="*/ 178895 h 505330"/>
              <a:gd name="connsiteX38" fmla="*/ 1664992 w 5487431"/>
              <a:gd name="connsiteY38" fmla="*/ 245180 h 505330"/>
              <a:gd name="connsiteX39" fmla="*/ 1734731 w 5487431"/>
              <a:gd name="connsiteY39" fmla="*/ 224466 h 505330"/>
              <a:gd name="connsiteX40" fmla="*/ 1600771 w 5487431"/>
              <a:gd name="connsiteY40" fmla="*/ 142174 h 505330"/>
              <a:gd name="connsiteX41" fmla="*/ 1946803 w 5487431"/>
              <a:gd name="connsiteY41" fmla="*/ 463149 h 505330"/>
              <a:gd name="connsiteX42" fmla="*/ 1863078 w 5487431"/>
              <a:gd name="connsiteY42" fmla="*/ 321634 h 505330"/>
              <a:gd name="connsiteX43" fmla="*/ 1946803 w 5487431"/>
              <a:gd name="connsiteY43" fmla="*/ 180119 h 505330"/>
              <a:gd name="connsiteX44" fmla="*/ 2030529 w 5487431"/>
              <a:gd name="connsiteY44" fmla="*/ 321634 h 505330"/>
              <a:gd name="connsiteX45" fmla="*/ 1946803 w 5487431"/>
              <a:gd name="connsiteY45" fmla="*/ 463149 h 505330"/>
              <a:gd name="connsiteX46" fmla="*/ 1946803 w 5487431"/>
              <a:gd name="connsiteY46" fmla="*/ 142174 h 505330"/>
              <a:gd name="connsiteX47" fmla="*/ 1776594 w 5487431"/>
              <a:gd name="connsiteY47" fmla="*/ 321634 h 505330"/>
              <a:gd name="connsiteX48" fmla="*/ 1946803 w 5487431"/>
              <a:gd name="connsiteY48" fmla="*/ 501094 h 505330"/>
              <a:gd name="connsiteX49" fmla="*/ 2117013 w 5487431"/>
              <a:gd name="connsiteY49" fmla="*/ 321634 h 505330"/>
              <a:gd name="connsiteX50" fmla="*/ 1946803 w 5487431"/>
              <a:gd name="connsiteY50" fmla="*/ 142174 h 505330"/>
              <a:gd name="connsiteX51" fmla="*/ 2348590 w 5487431"/>
              <a:gd name="connsiteY51" fmla="*/ 142174 h 505330"/>
              <a:gd name="connsiteX52" fmla="*/ 2252306 w 5487431"/>
              <a:gd name="connsiteY52" fmla="*/ 192547 h 505330"/>
              <a:gd name="connsiteX53" fmla="*/ 2248119 w 5487431"/>
              <a:gd name="connsiteY53" fmla="*/ 192547 h 505330"/>
              <a:gd name="connsiteX54" fmla="*/ 2248119 w 5487431"/>
              <a:gd name="connsiteY54" fmla="*/ 149048 h 505330"/>
              <a:gd name="connsiteX55" fmla="*/ 2165821 w 5487431"/>
              <a:gd name="connsiteY55" fmla="*/ 149048 h 505330"/>
              <a:gd name="connsiteX56" fmla="*/ 2165821 w 5487431"/>
              <a:gd name="connsiteY56" fmla="*/ 494221 h 505330"/>
              <a:gd name="connsiteX57" fmla="*/ 2248119 w 5487431"/>
              <a:gd name="connsiteY57" fmla="*/ 494221 h 505330"/>
              <a:gd name="connsiteX58" fmla="*/ 2248119 w 5487431"/>
              <a:gd name="connsiteY58" fmla="*/ 271261 h 505330"/>
              <a:gd name="connsiteX59" fmla="*/ 2317193 w 5487431"/>
              <a:gd name="connsiteY59" fmla="*/ 190476 h 505330"/>
              <a:gd name="connsiteX60" fmla="*/ 2376466 w 5487431"/>
              <a:gd name="connsiteY60" fmla="*/ 258173 h 505330"/>
              <a:gd name="connsiteX61" fmla="*/ 2376466 w 5487431"/>
              <a:gd name="connsiteY61" fmla="*/ 494221 h 505330"/>
              <a:gd name="connsiteX62" fmla="*/ 2458764 w 5487431"/>
              <a:gd name="connsiteY62" fmla="*/ 494221 h 505330"/>
              <a:gd name="connsiteX63" fmla="*/ 2458764 w 5487431"/>
              <a:gd name="connsiteY63" fmla="*/ 257420 h 505330"/>
              <a:gd name="connsiteX64" fmla="*/ 2348590 w 5487431"/>
              <a:gd name="connsiteY64" fmla="*/ 142174 h 505330"/>
              <a:gd name="connsiteX65" fmla="*/ 3571359 w 5487431"/>
              <a:gd name="connsiteY65" fmla="*/ 463149 h 505330"/>
              <a:gd name="connsiteX66" fmla="*/ 3487634 w 5487431"/>
              <a:gd name="connsiteY66" fmla="*/ 321634 h 505330"/>
              <a:gd name="connsiteX67" fmla="*/ 3571359 w 5487431"/>
              <a:gd name="connsiteY67" fmla="*/ 180119 h 505330"/>
              <a:gd name="connsiteX68" fmla="*/ 3655085 w 5487431"/>
              <a:gd name="connsiteY68" fmla="*/ 321634 h 505330"/>
              <a:gd name="connsiteX69" fmla="*/ 3571359 w 5487431"/>
              <a:gd name="connsiteY69" fmla="*/ 463149 h 505330"/>
              <a:gd name="connsiteX70" fmla="*/ 3571359 w 5487431"/>
              <a:gd name="connsiteY70" fmla="*/ 142174 h 505330"/>
              <a:gd name="connsiteX71" fmla="*/ 3401150 w 5487431"/>
              <a:gd name="connsiteY71" fmla="*/ 321634 h 505330"/>
              <a:gd name="connsiteX72" fmla="*/ 3571359 w 5487431"/>
              <a:gd name="connsiteY72" fmla="*/ 501094 h 505330"/>
              <a:gd name="connsiteX73" fmla="*/ 3741569 w 5487431"/>
              <a:gd name="connsiteY73" fmla="*/ 321634 h 505330"/>
              <a:gd name="connsiteX74" fmla="*/ 3571359 w 5487431"/>
              <a:gd name="connsiteY74" fmla="*/ 142174 h 505330"/>
              <a:gd name="connsiteX75" fmla="*/ 4332308 w 5487431"/>
              <a:gd name="connsiteY75" fmla="*/ 142174 h 505330"/>
              <a:gd name="connsiteX76" fmla="*/ 4236024 w 5487431"/>
              <a:gd name="connsiteY76" fmla="*/ 192547 h 505330"/>
              <a:gd name="connsiteX77" fmla="*/ 4231838 w 5487431"/>
              <a:gd name="connsiteY77" fmla="*/ 192547 h 505330"/>
              <a:gd name="connsiteX78" fmla="*/ 4231838 w 5487431"/>
              <a:gd name="connsiteY78" fmla="*/ 149048 h 505330"/>
              <a:gd name="connsiteX79" fmla="*/ 4149539 w 5487431"/>
              <a:gd name="connsiteY79" fmla="*/ 149048 h 505330"/>
              <a:gd name="connsiteX80" fmla="*/ 4149539 w 5487431"/>
              <a:gd name="connsiteY80" fmla="*/ 494221 h 505330"/>
              <a:gd name="connsiteX81" fmla="*/ 4231838 w 5487431"/>
              <a:gd name="connsiteY81" fmla="*/ 494221 h 505330"/>
              <a:gd name="connsiteX82" fmla="*/ 4231838 w 5487431"/>
              <a:gd name="connsiteY82" fmla="*/ 271261 h 505330"/>
              <a:gd name="connsiteX83" fmla="*/ 4300911 w 5487431"/>
              <a:gd name="connsiteY83" fmla="*/ 190476 h 505330"/>
              <a:gd name="connsiteX84" fmla="*/ 4360185 w 5487431"/>
              <a:gd name="connsiteY84" fmla="*/ 258173 h 505330"/>
              <a:gd name="connsiteX85" fmla="*/ 4360185 w 5487431"/>
              <a:gd name="connsiteY85" fmla="*/ 494221 h 505330"/>
              <a:gd name="connsiteX86" fmla="*/ 4442483 w 5487431"/>
              <a:gd name="connsiteY86" fmla="*/ 494221 h 505330"/>
              <a:gd name="connsiteX87" fmla="*/ 4442483 w 5487431"/>
              <a:gd name="connsiteY87" fmla="*/ 257420 h 505330"/>
              <a:gd name="connsiteX88" fmla="*/ 4332308 w 5487431"/>
              <a:gd name="connsiteY88" fmla="*/ 142174 h 505330"/>
              <a:gd name="connsiteX89" fmla="*/ 4629533 w 5487431"/>
              <a:gd name="connsiteY89" fmla="*/ 142174 h 505330"/>
              <a:gd name="connsiteX90" fmla="*/ 4496334 w 5487431"/>
              <a:gd name="connsiteY90" fmla="*/ 241602 h 505330"/>
              <a:gd name="connsiteX91" fmla="*/ 4580725 w 5487431"/>
              <a:gd name="connsiteY91" fmla="*/ 341030 h 505330"/>
              <a:gd name="connsiteX92" fmla="*/ 4650464 w 5487431"/>
              <a:gd name="connsiteY92" fmla="*/ 358260 h 505330"/>
              <a:gd name="connsiteX93" fmla="*/ 4704220 w 5487431"/>
              <a:gd name="connsiteY93" fmla="*/ 409387 h 505330"/>
              <a:gd name="connsiteX94" fmla="*/ 4635146 w 5487431"/>
              <a:gd name="connsiteY94" fmla="*/ 464656 h 505330"/>
              <a:gd name="connsiteX95" fmla="*/ 4555607 w 5487431"/>
              <a:gd name="connsiteY95" fmla="*/ 384624 h 505330"/>
              <a:gd name="connsiteX96" fmla="*/ 4481682 w 5487431"/>
              <a:gd name="connsiteY96" fmla="*/ 405338 h 505330"/>
              <a:gd name="connsiteX97" fmla="*/ 4626108 w 5487431"/>
              <a:gd name="connsiteY97" fmla="*/ 501282 h 505330"/>
              <a:gd name="connsiteX98" fmla="*/ 4771200 w 5487431"/>
              <a:gd name="connsiteY98" fmla="*/ 388767 h 505330"/>
              <a:gd name="connsiteX99" fmla="*/ 4678436 w 5487431"/>
              <a:gd name="connsiteY99" fmla="*/ 285196 h 505330"/>
              <a:gd name="connsiteX100" fmla="*/ 4611456 w 5487431"/>
              <a:gd name="connsiteY100" fmla="*/ 268625 h 505330"/>
              <a:gd name="connsiteX101" fmla="*/ 4563314 w 5487431"/>
              <a:gd name="connsiteY101" fmla="*/ 223054 h 505330"/>
              <a:gd name="connsiteX102" fmla="*/ 4622588 w 5487431"/>
              <a:gd name="connsiteY102" fmla="*/ 178895 h 505330"/>
              <a:gd name="connsiteX103" fmla="*/ 4693754 w 5487431"/>
              <a:gd name="connsiteY103" fmla="*/ 245180 h 505330"/>
              <a:gd name="connsiteX104" fmla="*/ 4763493 w 5487431"/>
              <a:gd name="connsiteY104" fmla="*/ 224466 h 505330"/>
              <a:gd name="connsiteX105" fmla="*/ 4629533 w 5487431"/>
              <a:gd name="connsiteY105" fmla="*/ 142174 h 505330"/>
              <a:gd name="connsiteX106" fmla="*/ 4975471 w 5487431"/>
              <a:gd name="connsiteY106" fmla="*/ 463149 h 505330"/>
              <a:gd name="connsiteX107" fmla="*/ 4891745 w 5487431"/>
              <a:gd name="connsiteY107" fmla="*/ 321634 h 505330"/>
              <a:gd name="connsiteX108" fmla="*/ 4975471 w 5487431"/>
              <a:gd name="connsiteY108" fmla="*/ 180119 h 505330"/>
              <a:gd name="connsiteX109" fmla="*/ 5059196 w 5487431"/>
              <a:gd name="connsiteY109" fmla="*/ 321634 h 505330"/>
              <a:gd name="connsiteX110" fmla="*/ 4975471 w 5487431"/>
              <a:gd name="connsiteY110" fmla="*/ 463149 h 505330"/>
              <a:gd name="connsiteX111" fmla="*/ 4975471 w 5487431"/>
              <a:gd name="connsiteY111" fmla="*/ 142174 h 505330"/>
              <a:gd name="connsiteX112" fmla="*/ 4805261 w 5487431"/>
              <a:gd name="connsiteY112" fmla="*/ 321634 h 505330"/>
              <a:gd name="connsiteX113" fmla="*/ 4975471 w 5487431"/>
              <a:gd name="connsiteY113" fmla="*/ 501094 h 505330"/>
              <a:gd name="connsiteX114" fmla="*/ 5145680 w 5487431"/>
              <a:gd name="connsiteY114" fmla="*/ 321634 h 505330"/>
              <a:gd name="connsiteX115" fmla="*/ 4975471 w 5487431"/>
              <a:gd name="connsiteY115" fmla="*/ 142174 h 505330"/>
              <a:gd name="connsiteX116" fmla="*/ 5377257 w 5487431"/>
              <a:gd name="connsiteY116" fmla="*/ 142174 h 505330"/>
              <a:gd name="connsiteX117" fmla="*/ 5280973 w 5487431"/>
              <a:gd name="connsiteY117" fmla="*/ 192547 h 505330"/>
              <a:gd name="connsiteX118" fmla="*/ 5276787 w 5487431"/>
              <a:gd name="connsiteY118" fmla="*/ 192547 h 505330"/>
              <a:gd name="connsiteX119" fmla="*/ 5276787 w 5487431"/>
              <a:gd name="connsiteY119" fmla="*/ 149048 h 505330"/>
              <a:gd name="connsiteX120" fmla="*/ 5194488 w 5487431"/>
              <a:gd name="connsiteY120" fmla="*/ 149048 h 505330"/>
              <a:gd name="connsiteX121" fmla="*/ 5194488 w 5487431"/>
              <a:gd name="connsiteY121" fmla="*/ 494221 h 505330"/>
              <a:gd name="connsiteX122" fmla="*/ 5276787 w 5487431"/>
              <a:gd name="connsiteY122" fmla="*/ 494221 h 505330"/>
              <a:gd name="connsiteX123" fmla="*/ 5276787 w 5487431"/>
              <a:gd name="connsiteY123" fmla="*/ 271261 h 505330"/>
              <a:gd name="connsiteX124" fmla="*/ 5345860 w 5487431"/>
              <a:gd name="connsiteY124" fmla="*/ 190476 h 505330"/>
              <a:gd name="connsiteX125" fmla="*/ 5405134 w 5487431"/>
              <a:gd name="connsiteY125" fmla="*/ 258173 h 505330"/>
              <a:gd name="connsiteX126" fmla="*/ 5405134 w 5487431"/>
              <a:gd name="connsiteY126" fmla="*/ 494221 h 505330"/>
              <a:gd name="connsiteX127" fmla="*/ 5487432 w 5487431"/>
              <a:gd name="connsiteY127" fmla="*/ 494221 h 505330"/>
              <a:gd name="connsiteX128" fmla="*/ 5487432 w 5487431"/>
              <a:gd name="connsiteY128" fmla="*/ 257420 h 505330"/>
              <a:gd name="connsiteX129" fmla="*/ 5377257 w 5487431"/>
              <a:gd name="connsiteY129" fmla="*/ 142174 h 505330"/>
              <a:gd name="connsiteX130" fmla="*/ 323674 w 5487431"/>
              <a:gd name="connsiteY130" fmla="*/ 11016 h 505330"/>
              <a:gd name="connsiteX131" fmla="*/ 237190 w 5487431"/>
              <a:gd name="connsiteY131" fmla="*/ 11016 h 505330"/>
              <a:gd name="connsiteX132" fmla="*/ 237190 w 5487431"/>
              <a:gd name="connsiteY132" fmla="*/ 367864 h 505330"/>
              <a:gd name="connsiteX133" fmla="*/ 161837 w 5487431"/>
              <a:gd name="connsiteY133" fmla="*/ 460325 h 505330"/>
              <a:gd name="connsiteX134" fmla="*/ 86484 w 5487431"/>
              <a:gd name="connsiteY134" fmla="*/ 360897 h 505330"/>
              <a:gd name="connsiteX135" fmla="*/ 86484 w 5487431"/>
              <a:gd name="connsiteY135" fmla="*/ 294612 h 505330"/>
              <a:gd name="connsiteX136" fmla="*/ 0 w 5487431"/>
              <a:gd name="connsiteY136" fmla="*/ 315985 h 505330"/>
              <a:gd name="connsiteX137" fmla="*/ 0 w 5487431"/>
              <a:gd name="connsiteY137" fmla="*/ 345644 h 505330"/>
              <a:gd name="connsiteX138" fmla="*/ 161837 w 5487431"/>
              <a:gd name="connsiteY138" fmla="*/ 505143 h 505330"/>
              <a:gd name="connsiteX139" fmla="*/ 323674 w 5487431"/>
              <a:gd name="connsiteY139" fmla="*/ 345644 h 505330"/>
              <a:gd name="connsiteX140" fmla="*/ 323674 w 5487431"/>
              <a:gd name="connsiteY140" fmla="*/ 11016 h 505330"/>
              <a:gd name="connsiteX141" fmla="*/ 844008 w 5487431"/>
              <a:gd name="connsiteY141" fmla="*/ 11016 h 505330"/>
              <a:gd name="connsiteX142" fmla="*/ 761710 w 5487431"/>
              <a:gd name="connsiteY142" fmla="*/ 11016 h 505330"/>
              <a:gd name="connsiteX143" fmla="*/ 761710 w 5487431"/>
              <a:gd name="connsiteY143" fmla="*/ 494221 h 505330"/>
              <a:gd name="connsiteX144" fmla="*/ 844008 w 5487431"/>
              <a:gd name="connsiteY144" fmla="*/ 494221 h 505330"/>
              <a:gd name="connsiteX145" fmla="*/ 844008 w 5487431"/>
              <a:gd name="connsiteY145" fmla="*/ 271261 h 505330"/>
              <a:gd name="connsiteX146" fmla="*/ 913081 w 5487431"/>
              <a:gd name="connsiteY146" fmla="*/ 190476 h 505330"/>
              <a:gd name="connsiteX147" fmla="*/ 972355 w 5487431"/>
              <a:gd name="connsiteY147" fmla="*/ 258173 h 505330"/>
              <a:gd name="connsiteX148" fmla="*/ 972355 w 5487431"/>
              <a:gd name="connsiteY148" fmla="*/ 494221 h 505330"/>
              <a:gd name="connsiteX149" fmla="*/ 1054653 w 5487431"/>
              <a:gd name="connsiteY149" fmla="*/ 494221 h 505330"/>
              <a:gd name="connsiteX150" fmla="*/ 1054653 w 5487431"/>
              <a:gd name="connsiteY150" fmla="*/ 257420 h 505330"/>
              <a:gd name="connsiteX151" fmla="*/ 944478 w 5487431"/>
              <a:gd name="connsiteY151" fmla="*/ 142174 h 505330"/>
              <a:gd name="connsiteX152" fmla="*/ 848194 w 5487431"/>
              <a:gd name="connsiteY152" fmla="*/ 192547 h 505330"/>
              <a:gd name="connsiteX153" fmla="*/ 844008 w 5487431"/>
              <a:gd name="connsiteY153" fmla="*/ 192547 h 505330"/>
              <a:gd name="connsiteX154" fmla="*/ 844008 w 5487431"/>
              <a:gd name="connsiteY154" fmla="*/ 11016 h 505330"/>
              <a:gd name="connsiteX155" fmla="*/ 3352342 w 5487431"/>
              <a:gd name="connsiteY155" fmla="*/ 11016 h 505330"/>
              <a:gd name="connsiteX156" fmla="*/ 3265857 w 5487431"/>
              <a:gd name="connsiteY156" fmla="*/ 11016 h 505330"/>
              <a:gd name="connsiteX157" fmla="*/ 3265857 w 5487431"/>
              <a:gd name="connsiteY157" fmla="*/ 367864 h 505330"/>
              <a:gd name="connsiteX158" fmla="*/ 3190504 w 5487431"/>
              <a:gd name="connsiteY158" fmla="*/ 460325 h 505330"/>
              <a:gd name="connsiteX159" fmla="*/ 3115152 w 5487431"/>
              <a:gd name="connsiteY159" fmla="*/ 360897 h 505330"/>
              <a:gd name="connsiteX160" fmla="*/ 3115152 w 5487431"/>
              <a:gd name="connsiteY160" fmla="*/ 294612 h 505330"/>
              <a:gd name="connsiteX161" fmla="*/ 3028667 w 5487431"/>
              <a:gd name="connsiteY161" fmla="*/ 315985 h 505330"/>
              <a:gd name="connsiteX162" fmla="*/ 3028667 w 5487431"/>
              <a:gd name="connsiteY162" fmla="*/ 345644 h 505330"/>
              <a:gd name="connsiteX163" fmla="*/ 3190504 w 5487431"/>
              <a:gd name="connsiteY163" fmla="*/ 505143 h 505330"/>
              <a:gd name="connsiteX164" fmla="*/ 3352342 w 5487431"/>
              <a:gd name="connsiteY164" fmla="*/ 345644 h 505330"/>
              <a:gd name="connsiteX165" fmla="*/ 3352342 w 5487431"/>
              <a:gd name="connsiteY165" fmla="*/ 11016 h 505330"/>
              <a:gd name="connsiteX166" fmla="*/ 3872675 w 5487431"/>
              <a:gd name="connsiteY166" fmla="*/ 11016 h 505330"/>
              <a:gd name="connsiteX167" fmla="*/ 3790377 w 5487431"/>
              <a:gd name="connsiteY167" fmla="*/ 11016 h 505330"/>
              <a:gd name="connsiteX168" fmla="*/ 3790377 w 5487431"/>
              <a:gd name="connsiteY168" fmla="*/ 494221 h 505330"/>
              <a:gd name="connsiteX169" fmla="*/ 3872675 w 5487431"/>
              <a:gd name="connsiteY169" fmla="*/ 494221 h 505330"/>
              <a:gd name="connsiteX170" fmla="*/ 3872675 w 5487431"/>
              <a:gd name="connsiteY170" fmla="*/ 271261 h 505330"/>
              <a:gd name="connsiteX171" fmla="*/ 3941749 w 5487431"/>
              <a:gd name="connsiteY171" fmla="*/ 190476 h 505330"/>
              <a:gd name="connsiteX172" fmla="*/ 4001022 w 5487431"/>
              <a:gd name="connsiteY172" fmla="*/ 258173 h 505330"/>
              <a:gd name="connsiteX173" fmla="*/ 4001022 w 5487431"/>
              <a:gd name="connsiteY173" fmla="*/ 494221 h 505330"/>
              <a:gd name="connsiteX174" fmla="*/ 4083320 w 5487431"/>
              <a:gd name="connsiteY174" fmla="*/ 494221 h 505330"/>
              <a:gd name="connsiteX175" fmla="*/ 4083320 w 5487431"/>
              <a:gd name="connsiteY175" fmla="*/ 257420 h 505330"/>
              <a:gd name="connsiteX176" fmla="*/ 3973146 w 5487431"/>
              <a:gd name="connsiteY176" fmla="*/ 142174 h 505330"/>
              <a:gd name="connsiteX177" fmla="*/ 3876861 w 5487431"/>
              <a:gd name="connsiteY177" fmla="*/ 192547 h 505330"/>
              <a:gd name="connsiteX178" fmla="*/ 3872675 w 5487431"/>
              <a:gd name="connsiteY178" fmla="*/ 192547 h 505330"/>
              <a:gd name="connsiteX179" fmla="*/ 3872675 w 5487431"/>
              <a:gd name="connsiteY179" fmla="*/ 11016 h 505330"/>
              <a:gd name="connsiteX180" fmla="*/ 2730110 w 5487431"/>
              <a:gd name="connsiteY180" fmla="*/ 454864 h 505330"/>
              <a:gd name="connsiteX181" fmla="*/ 2622029 w 5487431"/>
              <a:gd name="connsiteY181" fmla="*/ 343761 h 505330"/>
              <a:gd name="connsiteX182" fmla="*/ 2664557 w 5487431"/>
              <a:gd name="connsiteY182" fmla="*/ 256102 h 505330"/>
              <a:gd name="connsiteX183" fmla="*/ 2822208 w 5487431"/>
              <a:gd name="connsiteY183" fmla="*/ 426617 h 505330"/>
              <a:gd name="connsiteX184" fmla="*/ 2730110 w 5487431"/>
              <a:gd name="connsiteY184" fmla="*/ 454864 h 505330"/>
              <a:gd name="connsiteX185" fmla="*/ 2883575 w 5487431"/>
              <a:gd name="connsiteY185" fmla="*/ 369936 h 505330"/>
              <a:gd name="connsiteX186" fmla="*/ 2746856 w 5487431"/>
              <a:gd name="connsiteY186" fmla="*/ 220794 h 505330"/>
              <a:gd name="connsiteX187" fmla="*/ 2814502 w 5487431"/>
              <a:gd name="connsiteY187" fmla="*/ 207706 h 505330"/>
              <a:gd name="connsiteX188" fmla="*/ 2905838 w 5487431"/>
              <a:gd name="connsiteY188" fmla="*/ 296118 h 505330"/>
              <a:gd name="connsiteX189" fmla="*/ 2883575 w 5487431"/>
              <a:gd name="connsiteY189" fmla="*/ 369936 h 505330"/>
              <a:gd name="connsiteX190" fmla="*/ 2728017 w 5487431"/>
              <a:gd name="connsiteY190" fmla="*/ 200833 h 505330"/>
              <a:gd name="connsiteX191" fmla="*/ 2698047 w 5487431"/>
              <a:gd name="connsiteY191" fmla="*/ 167690 h 505330"/>
              <a:gd name="connsiteX192" fmla="*/ 2663891 w 5487431"/>
              <a:gd name="connsiteY192" fmla="*/ 99334 h 505330"/>
              <a:gd name="connsiteX193" fmla="*/ 2730110 w 5487431"/>
              <a:gd name="connsiteY193" fmla="*/ 36532 h 505330"/>
              <a:gd name="connsiteX194" fmla="*/ 2795664 w 5487431"/>
              <a:gd name="connsiteY194" fmla="*/ 102817 h 505330"/>
              <a:gd name="connsiteX195" fmla="*/ 2728017 w 5487431"/>
              <a:gd name="connsiteY195" fmla="*/ 200833 h 505330"/>
              <a:gd name="connsiteX196" fmla="*/ 2732204 w 5487431"/>
              <a:gd name="connsiteY196" fmla="*/ 0 h 505330"/>
              <a:gd name="connsiteX197" fmla="*/ 2588539 w 5487431"/>
              <a:gd name="connsiteY197" fmla="*/ 119389 h 505330"/>
              <a:gd name="connsiteX198" fmla="*/ 2644387 w 5487431"/>
              <a:gd name="connsiteY198" fmla="*/ 234635 h 505330"/>
              <a:gd name="connsiteX199" fmla="*/ 2645053 w 5487431"/>
              <a:gd name="connsiteY199" fmla="*/ 236047 h 505330"/>
              <a:gd name="connsiteX200" fmla="*/ 2545344 w 5487431"/>
              <a:gd name="connsiteY200" fmla="*/ 374832 h 505330"/>
              <a:gd name="connsiteX201" fmla="*/ 2685584 w 5487431"/>
              <a:gd name="connsiteY201" fmla="*/ 505331 h 505330"/>
              <a:gd name="connsiteX202" fmla="*/ 2843235 w 5487431"/>
              <a:gd name="connsiteY202" fmla="*/ 449403 h 505330"/>
              <a:gd name="connsiteX203" fmla="*/ 2885097 w 5487431"/>
              <a:gd name="connsiteY203" fmla="*/ 494315 h 505330"/>
              <a:gd name="connsiteX204" fmla="*/ 2994606 w 5487431"/>
              <a:gd name="connsiteY204" fmla="*/ 494315 h 505330"/>
              <a:gd name="connsiteX205" fmla="*/ 2994606 w 5487431"/>
              <a:gd name="connsiteY205" fmla="*/ 490831 h 505330"/>
              <a:gd name="connsiteX206" fmla="*/ 2905363 w 5487431"/>
              <a:gd name="connsiteY206" fmla="*/ 393474 h 505330"/>
              <a:gd name="connsiteX207" fmla="*/ 2964637 w 5487431"/>
              <a:gd name="connsiteY207" fmla="*/ 258833 h 505330"/>
              <a:gd name="connsiteX208" fmla="*/ 2873300 w 5487431"/>
              <a:gd name="connsiteY208" fmla="*/ 171174 h 505330"/>
              <a:gd name="connsiteX209" fmla="*/ 2789574 w 5487431"/>
              <a:gd name="connsiteY209" fmla="*/ 187745 h 505330"/>
              <a:gd name="connsiteX210" fmla="*/ 2788147 w 5487431"/>
              <a:gd name="connsiteY210" fmla="*/ 185015 h 505330"/>
              <a:gd name="connsiteX211" fmla="*/ 2863500 w 5487431"/>
              <a:gd name="connsiteY211" fmla="*/ 93873 h 505330"/>
              <a:gd name="connsiteX212" fmla="*/ 2732204 w 5487431"/>
              <a:gd name="connsiteY212" fmla="*/ 0 h 50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5487431" h="505330">
                <a:moveTo>
                  <a:pt x="542692" y="463149"/>
                </a:moveTo>
                <a:cubicBezTo>
                  <a:pt x="488937" y="463149"/>
                  <a:pt x="458967" y="412776"/>
                  <a:pt x="458967" y="321634"/>
                </a:cubicBezTo>
                <a:cubicBezTo>
                  <a:pt x="458967" y="229080"/>
                  <a:pt x="488937" y="180119"/>
                  <a:pt x="542692" y="180119"/>
                </a:cubicBezTo>
                <a:cubicBezTo>
                  <a:pt x="596448" y="180119"/>
                  <a:pt x="626417" y="229833"/>
                  <a:pt x="626417" y="321634"/>
                </a:cubicBezTo>
                <a:cubicBezTo>
                  <a:pt x="626322" y="414189"/>
                  <a:pt x="596352" y="463149"/>
                  <a:pt x="542692" y="463149"/>
                </a:cubicBezTo>
                <a:moveTo>
                  <a:pt x="542692" y="142174"/>
                </a:moveTo>
                <a:cubicBezTo>
                  <a:pt x="433183" y="142174"/>
                  <a:pt x="372482" y="222959"/>
                  <a:pt x="372482" y="321634"/>
                </a:cubicBezTo>
                <a:cubicBezTo>
                  <a:pt x="372482" y="420309"/>
                  <a:pt x="433183" y="501094"/>
                  <a:pt x="542692" y="501094"/>
                </a:cubicBezTo>
                <a:cubicBezTo>
                  <a:pt x="652201" y="501094"/>
                  <a:pt x="712902" y="420309"/>
                  <a:pt x="712902" y="321634"/>
                </a:cubicBezTo>
                <a:cubicBezTo>
                  <a:pt x="712902" y="222959"/>
                  <a:pt x="652201" y="142174"/>
                  <a:pt x="542692" y="142174"/>
                </a:cubicBezTo>
                <a:moveTo>
                  <a:pt x="1303641" y="142174"/>
                </a:moveTo>
                <a:cubicBezTo>
                  <a:pt x="1251979" y="142174"/>
                  <a:pt x="1223436" y="164301"/>
                  <a:pt x="1207357" y="192547"/>
                </a:cubicBezTo>
                <a:lnTo>
                  <a:pt x="1203170" y="192547"/>
                </a:lnTo>
                <a:lnTo>
                  <a:pt x="1203170" y="149048"/>
                </a:lnTo>
                <a:lnTo>
                  <a:pt x="1120872" y="149048"/>
                </a:lnTo>
                <a:lnTo>
                  <a:pt x="1120872" y="494221"/>
                </a:lnTo>
                <a:lnTo>
                  <a:pt x="1203170" y="494221"/>
                </a:lnTo>
                <a:lnTo>
                  <a:pt x="1203170" y="271261"/>
                </a:lnTo>
                <a:cubicBezTo>
                  <a:pt x="1203170" y="220229"/>
                  <a:pt x="1229715" y="190476"/>
                  <a:pt x="1272244" y="190476"/>
                </a:cubicBezTo>
                <a:cubicBezTo>
                  <a:pt x="1313440" y="190476"/>
                  <a:pt x="1331518" y="217404"/>
                  <a:pt x="1331518" y="258173"/>
                </a:cubicBezTo>
                <a:lnTo>
                  <a:pt x="1331518" y="494221"/>
                </a:lnTo>
                <a:lnTo>
                  <a:pt x="1413816" y="494221"/>
                </a:lnTo>
                <a:lnTo>
                  <a:pt x="1413816" y="257420"/>
                </a:lnTo>
                <a:cubicBezTo>
                  <a:pt x="1413911" y="186333"/>
                  <a:pt x="1376234" y="142174"/>
                  <a:pt x="1303641" y="142174"/>
                </a:cubicBezTo>
                <a:moveTo>
                  <a:pt x="1600771" y="142174"/>
                </a:moveTo>
                <a:cubicBezTo>
                  <a:pt x="1524752" y="142174"/>
                  <a:pt x="1467571" y="173905"/>
                  <a:pt x="1467571" y="241602"/>
                </a:cubicBezTo>
                <a:cubicBezTo>
                  <a:pt x="1467571" y="298943"/>
                  <a:pt x="1507341" y="330014"/>
                  <a:pt x="1551962" y="341030"/>
                </a:cubicBezTo>
                <a:lnTo>
                  <a:pt x="1621702" y="358260"/>
                </a:lnTo>
                <a:cubicBezTo>
                  <a:pt x="1658712" y="367205"/>
                  <a:pt x="1675457" y="380387"/>
                  <a:pt x="1675457" y="409387"/>
                </a:cubicBezTo>
                <a:cubicBezTo>
                  <a:pt x="1675457" y="444601"/>
                  <a:pt x="1650340" y="464656"/>
                  <a:pt x="1606384" y="464656"/>
                </a:cubicBezTo>
                <a:cubicBezTo>
                  <a:pt x="1558908" y="464656"/>
                  <a:pt x="1534551" y="441870"/>
                  <a:pt x="1526845" y="384624"/>
                </a:cubicBezTo>
                <a:lnTo>
                  <a:pt x="1452919" y="405338"/>
                </a:lnTo>
                <a:cubicBezTo>
                  <a:pt x="1457106" y="464750"/>
                  <a:pt x="1512954" y="501282"/>
                  <a:pt x="1597345" y="501282"/>
                </a:cubicBezTo>
                <a:cubicBezTo>
                  <a:pt x="1691536" y="501282"/>
                  <a:pt x="1742438" y="457782"/>
                  <a:pt x="1742438" y="388767"/>
                </a:cubicBezTo>
                <a:cubicBezTo>
                  <a:pt x="1742438" y="323894"/>
                  <a:pt x="1697055" y="296965"/>
                  <a:pt x="1649674" y="285196"/>
                </a:cubicBezTo>
                <a:lnTo>
                  <a:pt x="1582693" y="268625"/>
                </a:lnTo>
                <a:cubicBezTo>
                  <a:pt x="1549203" y="260339"/>
                  <a:pt x="1534551" y="245180"/>
                  <a:pt x="1534551" y="223054"/>
                </a:cubicBezTo>
                <a:cubicBezTo>
                  <a:pt x="1534551" y="195466"/>
                  <a:pt x="1558242" y="178895"/>
                  <a:pt x="1593825" y="178895"/>
                </a:cubicBezTo>
                <a:cubicBezTo>
                  <a:pt x="1635688" y="178895"/>
                  <a:pt x="1661471" y="201680"/>
                  <a:pt x="1664992" y="245180"/>
                </a:cubicBezTo>
                <a:lnTo>
                  <a:pt x="1734731" y="224466"/>
                </a:lnTo>
                <a:cubicBezTo>
                  <a:pt x="1726358" y="175976"/>
                  <a:pt x="1678216" y="142174"/>
                  <a:pt x="1600771" y="142174"/>
                </a:cubicBezTo>
                <a:moveTo>
                  <a:pt x="1946803" y="463149"/>
                </a:moveTo>
                <a:cubicBezTo>
                  <a:pt x="1893048" y="463149"/>
                  <a:pt x="1863078" y="412776"/>
                  <a:pt x="1863078" y="321634"/>
                </a:cubicBezTo>
                <a:cubicBezTo>
                  <a:pt x="1863078" y="229080"/>
                  <a:pt x="1893048" y="180119"/>
                  <a:pt x="1946803" y="180119"/>
                </a:cubicBezTo>
                <a:cubicBezTo>
                  <a:pt x="2000559" y="180119"/>
                  <a:pt x="2030529" y="229833"/>
                  <a:pt x="2030529" y="321634"/>
                </a:cubicBezTo>
                <a:cubicBezTo>
                  <a:pt x="2030529" y="414189"/>
                  <a:pt x="2000464" y="463149"/>
                  <a:pt x="1946803" y="463149"/>
                </a:cubicBezTo>
                <a:moveTo>
                  <a:pt x="1946803" y="142174"/>
                </a:moveTo>
                <a:cubicBezTo>
                  <a:pt x="1837294" y="142174"/>
                  <a:pt x="1776594" y="222959"/>
                  <a:pt x="1776594" y="321634"/>
                </a:cubicBezTo>
                <a:cubicBezTo>
                  <a:pt x="1776594" y="420309"/>
                  <a:pt x="1837294" y="501094"/>
                  <a:pt x="1946803" y="501094"/>
                </a:cubicBezTo>
                <a:cubicBezTo>
                  <a:pt x="2056312" y="501094"/>
                  <a:pt x="2117013" y="420309"/>
                  <a:pt x="2117013" y="321634"/>
                </a:cubicBezTo>
                <a:cubicBezTo>
                  <a:pt x="2117013" y="222959"/>
                  <a:pt x="2056312" y="142174"/>
                  <a:pt x="1946803" y="142174"/>
                </a:cubicBezTo>
                <a:moveTo>
                  <a:pt x="2348590" y="142174"/>
                </a:moveTo>
                <a:cubicBezTo>
                  <a:pt x="2296927" y="142174"/>
                  <a:pt x="2268385" y="164301"/>
                  <a:pt x="2252306" y="192547"/>
                </a:cubicBezTo>
                <a:lnTo>
                  <a:pt x="2248119" y="192547"/>
                </a:lnTo>
                <a:lnTo>
                  <a:pt x="2248119" y="149048"/>
                </a:lnTo>
                <a:lnTo>
                  <a:pt x="2165821" y="149048"/>
                </a:lnTo>
                <a:lnTo>
                  <a:pt x="2165821" y="494221"/>
                </a:lnTo>
                <a:lnTo>
                  <a:pt x="2248119" y="494221"/>
                </a:lnTo>
                <a:lnTo>
                  <a:pt x="2248119" y="271261"/>
                </a:lnTo>
                <a:cubicBezTo>
                  <a:pt x="2248119" y="220229"/>
                  <a:pt x="2274664" y="190476"/>
                  <a:pt x="2317193" y="190476"/>
                </a:cubicBezTo>
                <a:cubicBezTo>
                  <a:pt x="2358389" y="190476"/>
                  <a:pt x="2376466" y="217404"/>
                  <a:pt x="2376466" y="258173"/>
                </a:cubicBezTo>
                <a:lnTo>
                  <a:pt x="2376466" y="494221"/>
                </a:lnTo>
                <a:lnTo>
                  <a:pt x="2458764" y="494221"/>
                </a:lnTo>
                <a:lnTo>
                  <a:pt x="2458764" y="257420"/>
                </a:lnTo>
                <a:cubicBezTo>
                  <a:pt x="2458764" y="186333"/>
                  <a:pt x="2421088" y="142174"/>
                  <a:pt x="2348590" y="142174"/>
                </a:cubicBezTo>
                <a:moveTo>
                  <a:pt x="3571359" y="463149"/>
                </a:moveTo>
                <a:cubicBezTo>
                  <a:pt x="3517604" y="463149"/>
                  <a:pt x="3487634" y="412776"/>
                  <a:pt x="3487634" y="321634"/>
                </a:cubicBezTo>
                <a:cubicBezTo>
                  <a:pt x="3487634" y="229080"/>
                  <a:pt x="3517604" y="180119"/>
                  <a:pt x="3571359" y="180119"/>
                </a:cubicBezTo>
                <a:cubicBezTo>
                  <a:pt x="3625115" y="180119"/>
                  <a:pt x="3655085" y="229833"/>
                  <a:pt x="3655085" y="321634"/>
                </a:cubicBezTo>
                <a:cubicBezTo>
                  <a:pt x="3655085" y="414189"/>
                  <a:pt x="3625020" y="463149"/>
                  <a:pt x="3571359" y="463149"/>
                </a:cubicBezTo>
                <a:moveTo>
                  <a:pt x="3571359" y="142174"/>
                </a:moveTo>
                <a:cubicBezTo>
                  <a:pt x="3461850" y="142174"/>
                  <a:pt x="3401150" y="222959"/>
                  <a:pt x="3401150" y="321634"/>
                </a:cubicBezTo>
                <a:cubicBezTo>
                  <a:pt x="3401150" y="420309"/>
                  <a:pt x="3461850" y="501094"/>
                  <a:pt x="3571359" y="501094"/>
                </a:cubicBezTo>
                <a:cubicBezTo>
                  <a:pt x="3680868" y="501094"/>
                  <a:pt x="3741569" y="420309"/>
                  <a:pt x="3741569" y="321634"/>
                </a:cubicBezTo>
                <a:cubicBezTo>
                  <a:pt x="3741569" y="222959"/>
                  <a:pt x="3680868" y="142174"/>
                  <a:pt x="3571359" y="142174"/>
                </a:cubicBezTo>
                <a:moveTo>
                  <a:pt x="4332308" y="142174"/>
                </a:moveTo>
                <a:cubicBezTo>
                  <a:pt x="4280646" y="142174"/>
                  <a:pt x="4252103" y="164301"/>
                  <a:pt x="4236024" y="192547"/>
                </a:cubicBezTo>
                <a:lnTo>
                  <a:pt x="4231838" y="192547"/>
                </a:lnTo>
                <a:lnTo>
                  <a:pt x="4231838" y="149048"/>
                </a:lnTo>
                <a:lnTo>
                  <a:pt x="4149539" y="149048"/>
                </a:lnTo>
                <a:lnTo>
                  <a:pt x="4149539" y="494221"/>
                </a:lnTo>
                <a:lnTo>
                  <a:pt x="4231838" y="494221"/>
                </a:lnTo>
                <a:lnTo>
                  <a:pt x="4231838" y="271261"/>
                </a:lnTo>
                <a:cubicBezTo>
                  <a:pt x="4231838" y="220229"/>
                  <a:pt x="4258383" y="190476"/>
                  <a:pt x="4300911" y="190476"/>
                </a:cubicBezTo>
                <a:cubicBezTo>
                  <a:pt x="4342108" y="190476"/>
                  <a:pt x="4360185" y="217404"/>
                  <a:pt x="4360185" y="258173"/>
                </a:cubicBezTo>
                <a:lnTo>
                  <a:pt x="4360185" y="494221"/>
                </a:lnTo>
                <a:lnTo>
                  <a:pt x="4442483" y="494221"/>
                </a:lnTo>
                <a:lnTo>
                  <a:pt x="4442483" y="257420"/>
                </a:lnTo>
                <a:cubicBezTo>
                  <a:pt x="4442578" y="186333"/>
                  <a:pt x="4404902" y="142174"/>
                  <a:pt x="4332308" y="142174"/>
                </a:cubicBezTo>
                <a:moveTo>
                  <a:pt x="4629533" y="142174"/>
                </a:moveTo>
                <a:cubicBezTo>
                  <a:pt x="4553514" y="142174"/>
                  <a:pt x="4496334" y="173905"/>
                  <a:pt x="4496334" y="241602"/>
                </a:cubicBezTo>
                <a:cubicBezTo>
                  <a:pt x="4496334" y="298943"/>
                  <a:pt x="4536103" y="330014"/>
                  <a:pt x="4580725" y="341030"/>
                </a:cubicBezTo>
                <a:lnTo>
                  <a:pt x="4650464" y="358260"/>
                </a:lnTo>
                <a:cubicBezTo>
                  <a:pt x="4687475" y="367205"/>
                  <a:pt x="4704220" y="380387"/>
                  <a:pt x="4704220" y="409387"/>
                </a:cubicBezTo>
                <a:cubicBezTo>
                  <a:pt x="4704220" y="444601"/>
                  <a:pt x="4679102" y="464656"/>
                  <a:pt x="4635146" y="464656"/>
                </a:cubicBezTo>
                <a:cubicBezTo>
                  <a:pt x="4587670" y="464656"/>
                  <a:pt x="4563314" y="441870"/>
                  <a:pt x="4555607" y="384624"/>
                </a:cubicBezTo>
                <a:lnTo>
                  <a:pt x="4481682" y="405338"/>
                </a:lnTo>
                <a:cubicBezTo>
                  <a:pt x="4485868" y="464750"/>
                  <a:pt x="4541716" y="501282"/>
                  <a:pt x="4626108" y="501282"/>
                </a:cubicBezTo>
                <a:cubicBezTo>
                  <a:pt x="4720299" y="501282"/>
                  <a:pt x="4771200" y="457782"/>
                  <a:pt x="4771200" y="388767"/>
                </a:cubicBezTo>
                <a:cubicBezTo>
                  <a:pt x="4771200" y="323894"/>
                  <a:pt x="4725817" y="296965"/>
                  <a:pt x="4678436" y="285196"/>
                </a:cubicBezTo>
                <a:lnTo>
                  <a:pt x="4611456" y="268625"/>
                </a:lnTo>
                <a:cubicBezTo>
                  <a:pt x="4577966" y="260339"/>
                  <a:pt x="4563314" y="245180"/>
                  <a:pt x="4563314" y="223054"/>
                </a:cubicBezTo>
                <a:cubicBezTo>
                  <a:pt x="4563314" y="195466"/>
                  <a:pt x="4587004" y="178895"/>
                  <a:pt x="4622588" y="178895"/>
                </a:cubicBezTo>
                <a:cubicBezTo>
                  <a:pt x="4664450" y="178895"/>
                  <a:pt x="4690234" y="201680"/>
                  <a:pt x="4693754" y="245180"/>
                </a:cubicBezTo>
                <a:lnTo>
                  <a:pt x="4763493" y="224466"/>
                </a:lnTo>
                <a:cubicBezTo>
                  <a:pt x="4755026" y="175976"/>
                  <a:pt x="4706884" y="142174"/>
                  <a:pt x="4629533" y="142174"/>
                </a:cubicBezTo>
                <a:moveTo>
                  <a:pt x="4975471" y="463149"/>
                </a:moveTo>
                <a:cubicBezTo>
                  <a:pt x="4921715" y="463149"/>
                  <a:pt x="4891745" y="412776"/>
                  <a:pt x="4891745" y="321634"/>
                </a:cubicBezTo>
                <a:cubicBezTo>
                  <a:pt x="4891745" y="229080"/>
                  <a:pt x="4921715" y="180119"/>
                  <a:pt x="4975471" y="180119"/>
                </a:cubicBezTo>
                <a:cubicBezTo>
                  <a:pt x="5029226" y="180119"/>
                  <a:pt x="5059196" y="229833"/>
                  <a:pt x="5059196" y="321634"/>
                </a:cubicBezTo>
                <a:cubicBezTo>
                  <a:pt x="5059196" y="414189"/>
                  <a:pt x="5029131" y="463149"/>
                  <a:pt x="4975471" y="463149"/>
                </a:cubicBezTo>
                <a:moveTo>
                  <a:pt x="4975471" y="142174"/>
                </a:moveTo>
                <a:cubicBezTo>
                  <a:pt x="4865962" y="142174"/>
                  <a:pt x="4805261" y="222959"/>
                  <a:pt x="4805261" y="321634"/>
                </a:cubicBezTo>
                <a:cubicBezTo>
                  <a:pt x="4805261" y="420309"/>
                  <a:pt x="4865962" y="501094"/>
                  <a:pt x="4975471" y="501094"/>
                </a:cubicBezTo>
                <a:cubicBezTo>
                  <a:pt x="5084980" y="501094"/>
                  <a:pt x="5145680" y="420309"/>
                  <a:pt x="5145680" y="321634"/>
                </a:cubicBezTo>
                <a:cubicBezTo>
                  <a:pt x="5145680" y="222959"/>
                  <a:pt x="5084980" y="142174"/>
                  <a:pt x="4975471" y="142174"/>
                </a:cubicBezTo>
                <a:moveTo>
                  <a:pt x="5377257" y="142174"/>
                </a:moveTo>
                <a:cubicBezTo>
                  <a:pt x="5325595" y="142174"/>
                  <a:pt x="5297052" y="164301"/>
                  <a:pt x="5280973" y="192547"/>
                </a:cubicBezTo>
                <a:lnTo>
                  <a:pt x="5276787" y="192547"/>
                </a:lnTo>
                <a:lnTo>
                  <a:pt x="5276787" y="149048"/>
                </a:lnTo>
                <a:lnTo>
                  <a:pt x="5194488" y="149048"/>
                </a:lnTo>
                <a:lnTo>
                  <a:pt x="5194488" y="494221"/>
                </a:lnTo>
                <a:lnTo>
                  <a:pt x="5276787" y="494221"/>
                </a:lnTo>
                <a:lnTo>
                  <a:pt x="5276787" y="271261"/>
                </a:lnTo>
                <a:cubicBezTo>
                  <a:pt x="5276787" y="220229"/>
                  <a:pt x="5303331" y="190476"/>
                  <a:pt x="5345860" y="190476"/>
                </a:cubicBezTo>
                <a:cubicBezTo>
                  <a:pt x="5387057" y="190476"/>
                  <a:pt x="5405134" y="217404"/>
                  <a:pt x="5405134" y="258173"/>
                </a:cubicBezTo>
                <a:lnTo>
                  <a:pt x="5405134" y="494221"/>
                </a:lnTo>
                <a:lnTo>
                  <a:pt x="5487432" y="494221"/>
                </a:lnTo>
                <a:lnTo>
                  <a:pt x="5487432" y="257420"/>
                </a:lnTo>
                <a:cubicBezTo>
                  <a:pt x="5487432" y="186333"/>
                  <a:pt x="5449755" y="142174"/>
                  <a:pt x="5377257" y="142174"/>
                </a:cubicBezTo>
                <a:moveTo>
                  <a:pt x="323674" y="11016"/>
                </a:moveTo>
                <a:lnTo>
                  <a:pt x="237190" y="11016"/>
                </a:lnTo>
                <a:lnTo>
                  <a:pt x="237190" y="367864"/>
                </a:lnTo>
                <a:cubicBezTo>
                  <a:pt x="237190" y="425864"/>
                  <a:pt x="214831" y="460325"/>
                  <a:pt x="161837" y="460325"/>
                </a:cubicBezTo>
                <a:cubicBezTo>
                  <a:pt x="109509" y="460325"/>
                  <a:pt x="86484" y="423698"/>
                  <a:pt x="86484" y="360897"/>
                </a:cubicBezTo>
                <a:lnTo>
                  <a:pt x="86484" y="294612"/>
                </a:lnTo>
                <a:lnTo>
                  <a:pt x="0" y="315985"/>
                </a:lnTo>
                <a:lnTo>
                  <a:pt x="0" y="345644"/>
                </a:lnTo>
                <a:cubicBezTo>
                  <a:pt x="0" y="436033"/>
                  <a:pt x="45383" y="505143"/>
                  <a:pt x="161837" y="505143"/>
                </a:cubicBezTo>
                <a:cubicBezTo>
                  <a:pt x="278291" y="505143"/>
                  <a:pt x="323674" y="436127"/>
                  <a:pt x="323674" y="345644"/>
                </a:cubicBezTo>
                <a:lnTo>
                  <a:pt x="323674" y="11016"/>
                </a:lnTo>
                <a:moveTo>
                  <a:pt x="844008" y="11016"/>
                </a:moveTo>
                <a:lnTo>
                  <a:pt x="761710" y="11016"/>
                </a:lnTo>
                <a:lnTo>
                  <a:pt x="761710" y="494221"/>
                </a:lnTo>
                <a:lnTo>
                  <a:pt x="844008" y="494221"/>
                </a:lnTo>
                <a:lnTo>
                  <a:pt x="844008" y="271261"/>
                </a:lnTo>
                <a:cubicBezTo>
                  <a:pt x="844008" y="220229"/>
                  <a:pt x="870553" y="190476"/>
                  <a:pt x="913081" y="190476"/>
                </a:cubicBezTo>
                <a:cubicBezTo>
                  <a:pt x="954278" y="190476"/>
                  <a:pt x="972355" y="217404"/>
                  <a:pt x="972355" y="258173"/>
                </a:cubicBezTo>
                <a:lnTo>
                  <a:pt x="972355" y="494221"/>
                </a:lnTo>
                <a:lnTo>
                  <a:pt x="1054653" y="494221"/>
                </a:lnTo>
                <a:lnTo>
                  <a:pt x="1054653" y="257420"/>
                </a:lnTo>
                <a:cubicBezTo>
                  <a:pt x="1054653" y="186333"/>
                  <a:pt x="1016977" y="142174"/>
                  <a:pt x="944478" y="142174"/>
                </a:cubicBezTo>
                <a:cubicBezTo>
                  <a:pt x="892816" y="142174"/>
                  <a:pt x="864273" y="164301"/>
                  <a:pt x="848194" y="192547"/>
                </a:cubicBezTo>
                <a:lnTo>
                  <a:pt x="844008" y="192547"/>
                </a:lnTo>
                <a:lnTo>
                  <a:pt x="844008" y="11016"/>
                </a:lnTo>
                <a:moveTo>
                  <a:pt x="3352342" y="11016"/>
                </a:moveTo>
                <a:lnTo>
                  <a:pt x="3265857" y="11016"/>
                </a:lnTo>
                <a:lnTo>
                  <a:pt x="3265857" y="367864"/>
                </a:lnTo>
                <a:cubicBezTo>
                  <a:pt x="3265857" y="425864"/>
                  <a:pt x="3243499" y="460325"/>
                  <a:pt x="3190504" y="460325"/>
                </a:cubicBezTo>
                <a:cubicBezTo>
                  <a:pt x="3138176" y="460325"/>
                  <a:pt x="3115152" y="423698"/>
                  <a:pt x="3115152" y="360897"/>
                </a:cubicBezTo>
                <a:lnTo>
                  <a:pt x="3115152" y="294612"/>
                </a:lnTo>
                <a:lnTo>
                  <a:pt x="3028667" y="315985"/>
                </a:lnTo>
                <a:lnTo>
                  <a:pt x="3028667" y="345644"/>
                </a:lnTo>
                <a:cubicBezTo>
                  <a:pt x="3028667" y="436033"/>
                  <a:pt x="3074050" y="505143"/>
                  <a:pt x="3190504" y="505143"/>
                </a:cubicBezTo>
                <a:cubicBezTo>
                  <a:pt x="3306959" y="505143"/>
                  <a:pt x="3352342" y="436127"/>
                  <a:pt x="3352342" y="345644"/>
                </a:cubicBezTo>
                <a:lnTo>
                  <a:pt x="3352342" y="11016"/>
                </a:lnTo>
                <a:moveTo>
                  <a:pt x="3872675" y="11016"/>
                </a:moveTo>
                <a:lnTo>
                  <a:pt x="3790377" y="11016"/>
                </a:lnTo>
                <a:lnTo>
                  <a:pt x="3790377" y="494221"/>
                </a:lnTo>
                <a:lnTo>
                  <a:pt x="3872675" y="494221"/>
                </a:lnTo>
                <a:lnTo>
                  <a:pt x="3872675" y="271261"/>
                </a:lnTo>
                <a:cubicBezTo>
                  <a:pt x="3872675" y="220229"/>
                  <a:pt x="3899220" y="190476"/>
                  <a:pt x="3941749" y="190476"/>
                </a:cubicBezTo>
                <a:cubicBezTo>
                  <a:pt x="3982945" y="190476"/>
                  <a:pt x="4001022" y="217404"/>
                  <a:pt x="4001022" y="258173"/>
                </a:cubicBezTo>
                <a:lnTo>
                  <a:pt x="4001022" y="494221"/>
                </a:lnTo>
                <a:lnTo>
                  <a:pt x="4083320" y="494221"/>
                </a:lnTo>
                <a:lnTo>
                  <a:pt x="4083320" y="257420"/>
                </a:lnTo>
                <a:cubicBezTo>
                  <a:pt x="4083320" y="186333"/>
                  <a:pt x="4045644" y="142174"/>
                  <a:pt x="3973146" y="142174"/>
                </a:cubicBezTo>
                <a:cubicBezTo>
                  <a:pt x="3921483" y="142174"/>
                  <a:pt x="3892941" y="164301"/>
                  <a:pt x="3876861" y="192547"/>
                </a:cubicBezTo>
                <a:lnTo>
                  <a:pt x="3872675" y="192547"/>
                </a:lnTo>
                <a:lnTo>
                  <a:pt x="3872675" y="11016"/>
                </a:lnTo>
                <a:moveTo>
                  <a:pt x="2730110" y="454864"/>
                </a:moveTo>
                <a:cubicBezTo>
                  <a:pt x="2663130" y="454864"/>
                  <a:pt x="2622029" y="401007"/>
                  <a:pt x="2622029" y="343761"/>
                </a:cubicBezTo>
                <a:cubicBezTo>
                  <a:pt x="2622029" y="307887"/>
                  <a:pt x="2638108" y="274745"/>
                  <a:pt x="2664557" y="256102"/>
                </a:cubicBezTo>
                <a:lnTo>
                  <a:pt x="2822208" y="426617"/>
                </a:lnTo>
                <a:cubicBezTo>
                  <a:pt x="2792904" y="443848"/>
                  <a:pt x="2760080" y="454864"/>
                  <a:pt x="2730110" y="454864"/>
                </a:cubicBezTo>
                <a:moveTo>
                  <a:pt x="2883575" y="369936"/>
                </a:moveTo>
                <a:lnTo>
                  <a:pt x="2746856" y="220794"/>
                </a:lnTo>
                <a:cubicBezTo>
                  <a:pt x="2771307" y="211096"/>
                  <a:pt x="2794998" y="207706"/>
                  <a:pt x="2814502" y="207706"/>
                </a:cubicBezTo>
                <a:cubicBezTo>
                  <a:pt x="2871016" y="207706"/>
                  <a:pt x="2905838" y="240190"/>
                  <a:pt x="2905838" y="296118"/>
                </a:cubicBezTo>
                <a:cubicBezTo>
                  <a:pt x="2905934" y="320975"/>
                  <a:pt x="2898893" y="346491"/>
                  <a:pt x="2883575" y="369936"/>
                </a:cubicBezTo>
                <a:moveTo>
                  <a:pt x="2728017" y="200833"/>
                </a:moveTo>
                <a:lnTo>
                  <a:pt x="2698047" y="167690"/>
                </a:lnTo>
                <a:cubicBezTo>
                  <a:pt x="2671503" y="138691"/>
                  <a:pt x="2663891" y="120707"/>
                  <a:pt x="2663891" y="99334"/>
                </a:cubicBezTo>
                <a:cubicBezTo>
                  <a:pt x="2663891" y="59318"/>
                  <a:pt x="2689675" y="36532"/>
                  <a:pt x="2730110" y="36532"/>
                </a:cubicBezTo>
                <a:cubicBezTo>
                  <a:pt x="2771307" y="36532"/>
                  <a:pt x="2795664" y="59977"/>
                  <a:pt x="2795664" y="102817"/>
                </a:cubicBezTo>
                <a:cubicBezTo>
                  <a:pt x="2795664" y="142174"/>
                  <a:pt x="2776159" y="179460"/>
                  <a:pt x="2728017" y="200833"/>
                </a:cubicBezTo>
                <a:moveTo>
                  <a:pt x="2732204" y="0"/>
                </a:moveTo>
                <a:cubicBezTo>
                  <a:pt x="2635920" y="0"/>
                  <a:pt x="2588539" y="53198"/>
                  <a:pt x="2588539" y="119389"/>
                </a:cubicBezTo>
                <a:cubicBezTo>
                  <a:pt x="2588539" y="155262"/>
                  <a:pt x="2603857" y="191229"/>
                  <a:pt x="2644387" y="234635"/>
                </a:cubicBezTo>
                <a:lnTo>
                  <a:pt x="2645053" y="236047"/>
                </a:lnTo>
                <a:cubicBezTo>
                  <a:pt x="2576741" y="268531"/>
                  <a:pt x="2545344" y="320975"/>
                  <a:pt x="2545344" y="374832"/>
                </a:cubicBezTo>
                <a:cubicBezTo>
                  <a:pt x="2545344" y="445919"/>
                  <a:pt x="2600432" y="505331"/>
                  <a:pt x="2685584" y="505331"/>
                </a:cubicBezTo>
                <a:cubicBezTo>
                  <a:pt x="2734392" y="505331"/>
                  <a:pt x="2791573" y="485276"/>
                  <a:pt x="2843235" y="449403"/>
                </a:cubicBezTo>
                <a:lnTo>
                  <a:pt x="2885097" y="494315"/>
                </a:lnTo>
                <a:lnTo>
                  <a:pt x="2994606" y="494315"/>
                </a:lnTo>
                <a:lnTo>
                  <a:pt x="2994606" y="490831"/>
                </a:lnTo>
                <a:lnTo>
                  <a:pt x="2905363" y="393474"/>
                </a:lnTo>
                <a:cubicBezTo>
                  <a:pt x="2943039" y="349316"/>
                  <a:pt x="2964637" y="301014"/>
                  <a:pt x="2964637" y="258833"/>
                </a:cubicBezTo>
                <a:cubicBezTo>
                  <a:pt x="2964637" y="206388"/>
                  <a:pt x="2929053" y="171174"/>
                  <a:pt x="2873300" y="171174"/>
                </a:cubicBezTo>
                <a:cubicBezTo>
                  <a:pt x="2843996" y="171174"/>
                  <a:pt x="2811172" y="179460"/>
                  <a:pt x="2789574" y="187745"/>
                </a:cubicBezTo>
                <a:lnTo>
                  <a:pt x="2788147" y="185015"/>
                </a:lnTo>
                <a:cubicBezTo>
                  <a:pt x="2841142" y="156674"/>
                  <a:pt x="2863500" y="130499"/>
                  <a:pt x="2863500" y="93873"/>
                </a:cubicBezTo>
                <a:cubicBezTo>
                  <a:pt x="2863310" y="41428"/>
                  <a:pt x="2815929" y="0"/>
                  <a:pt x="2732204" y="0"/>
                </a:cubicBezTo>
              </a:path>
            </a:pathLst>
          </a:custGeom>
          <a:solidFill>
            <a:schemeClr val="bg1"/>
          </a:solidFill>
          <a:ln w="9509" cap="flat">
            <a:noFill/>
            <a:prstDash val="solid"/>
            <a:miter/>
          </a:ln>
        </p:spPr>
        <p:txBody>
          <a:bodyPr rtlCol="0" anchor="ctr"/>
          <a:lstStyle/>
          <a:p>
            <a:endParaRPr lang="en-GB"/>
          </a:p>
        </p:txBody>
      </p:sp>
    </p:spTree>
    <p:extLst>
      <p:ext uri="{BB962C8B-B14F-4D97-AF65-F5344CB8AC3E}">
        <p14:creationId xmlns:p14="http://schemas.microsoft.com/office/powerpoint/2010/main" val="384678807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End Slide [Accessible Version]">
    <p:bg>
      <p:bgPr>
        <a:solidFill>
          <a:schemeClr val="bg1"/>
        </a:solidFill>
        <a:effectLst/>
      </p:bgPr>
    </p:bg>
    <p:spTree>
      <p:nvGrpSpPr>
        <p:cNvPr id="1" name=""/>
        <p:cNvGrpSpPr/>
        <p:nvPr/>
      </p:nvGrpSpPr>
      <p:grpSpPr>
        <a:xfrm>
          <a:off x="0" y="0"/>
          <a:ext cx="0" cy="0"/>
          <a:chOff x="0" y="0"/>
          <a:chExt cx="0" cy="0"/>
        </a:xfrm>
      </p:grpSpPr>
      <p:sp>
        <p:nvSpPr>
          <p:cNvPr id="10" name="Text Placeholder 31">
            <a:extLst>
              <a:ext uri="{FF2B5EF4-FFF2-40B4-BE49-F238E27FC236}">
                <a16:creationId xmlns:a16="http://schemas.microsoft.com/office/drawing/2014/main" id="{938BB031-45ED-95FB-C1C5-66605571CD90}"/>
              </a:ext>
            </a:extLst>
          </p:cNvPr>
          <p:cNvSpPr>
            <a:spLocks noGrp="1"/>
          </p:cNvSpPr>
          <p:nvPr>
            <p:ph type="body" sz="quarter" idx="10" hasCustomPrompt="1"/>
          </p:nvPr>
        </p:nvSpPr>
        <p:spPr>
          <a:xfrm>
            <a:off x="287338" y="5035735"/>
            <a:ext cx="2795587" cy="717180"/>
          </a:xfrm>
        </p:spPr>
        <p:txBody>
          <a:bodyPr anchor="b"/>
          <a:lstStyle>
            <a:lvl1pPr>
              <a:lnSpc>
                <a:spcPct val="100000"/>
              </a:lnSpc>
              <a:spcBef>
                <a:spcPts val="0"/>
              </a:spcBef>
              <a:spcAft>
                <a:spcPts val="0"/>
              </a:spcAft>
              <a:defRPr sz="1000">
                <a:solidFill>
                  <a:schemeClr val="tx1"/>
                </a:solidFill>
              </a:defRPr>
            </a:lvl1pPr>
          </a:lstStyle>
          <a:p>
            <a:r>
              <a:rPr lang="en-GB"/>
              <a:t>Supporting details – delete if not required</a:t>
            </a:r>
          </a:p>
        </p:txBody>
      </p:sp>
      <p:sp>
        <p:nvSpPr>
          <p:cNvPr id="2" name="Title 1">
            <a:extLst>
              <a:ext uri="{FF2B5EF4-FFF2-40B4-BE49-F238E27FC236}">
                <a16:creationId xmlns:a16="http://schemas.microsoft.com/office/drawing/2014/main" id="{241F71E3-AC39-2207-0CC4-1E2486610795}"/>
              </a:ext>
            </a:extLst>
          </p:cNvPr>
          <p:cNvSpPr>
            <a:spLocks noGrp="1"/>
          </p:cNvSpPr>
          <p:nvPr>
            <p:ph type="ctrTitle"/>
          </p:nvPr>
        </p:nvSpPr>
        <p:spPr>
          <a:xfrm>
            <a:off x="291593" y="280800"/>
            <a:ext cx="5734050" cy="2620397"/>
          </a:xfrm>
        </p:spPr>
        <p:txBody>
          <a:bodyPr wrap="square" anchor="t">
            <a:spAutoFit/>
          </a:bodyPr>
          <a:lstStyle>
            <a:lvl1pPr algn="l">
              <a:lnSpc>
                <a:spcPct val="80000"/>
              </a:lnSpc>
              <a:defRPr sz="7000" b="0" i="0" spc="0" baseline="0">
                <a:solidFill>
                  <a:schemeClr val="accent1"/>
                </a:solidFill>
                <a:latin typeface="+mj-lt"/>
              </a:defRPr>
            </a:lvl1pPr>
          </a:lstStyle>
          <a:p>
            <a:r>
              <a:rPr lang="en-US"/>
              <a:t>Click to edit Master title style</a:t>
            </a:r>
            <a:endParaRPr lang="en-GB"/>
          </a:p>
        </p:txBody>
      </p:sp>
      <p:sp>
        <p:nvSpPr>
          <p:cNvPr id="4" name="Graphic 2">
            <a:extLst>
              <a:ext uri="{FF2B5EF4-FFF2-40B4-BE49-F238E27FC236}">
                <a16:creationId xmlns:a16="http://schemas.microsoft.com/office/drawing/2014/main" id="{EA53A9D8-7E77-B7F4-501A-731F65EFB066}"/>
              </a:ext>
            </a:extLst>
          </p:cNvPr>
          <p:cNvSpPr>
            <a:spLocks noChangeAspect="1"/>
          </p:cNvSpPr>
          <p:nvPr userDrawn="1"/>
        </p:nvSpPr>
        <p:spPr>
          <a:xfrm>
            <a:off x="290513" y="6377853"/>
            <a:ext cx="2034000" cy="187309"/>
          </a:xfrm>
          <a:custGeom>
            <a:avLst/>
            <a:gdLst>
              <a:gd name="connsiteX0" fmla="*/ 542692 w 5487431"/>
              <a:gd name="connsiteY0" fmla="*/ 463149 h 505330"/>
              <a:gd name="connsiteX1" fmla="*/ 458967 w 5487431"/>
              <a:gd name="connsiteY1" fmla="*/ 321634 h 505330"/>
              <a:gd name="connsiteX2" fmla="*/ 542692 w 5487431"/>
              <a:gd name="connsiteY2" fmla="*/ 180119 h 505330"/>
              <a:gd name="connsiteX3" fmla="*/ 626417 w 5487431"/>
              <a:gd name="connsiteY3" fmla="*/ 321634 h 505330"/>
              <a:gd name="connsiteX4" fmla="*/ 542692 w 5487431"/>
              <a:gd name="connsiteY4" fmla="*/ 463149 h 505330"/>
              <a:gd name="connsiteX5" fmla="*/ 542692 w 5487431"/>
              <a:gd name="connsiteY5" fmla="*/ 142174 h 505330"/>
              <a:gd name="connsiteX6" fmla="*/ 372482 w 5487431"/>
              <a:gd name="connsiteY6" fmla="*/ 321634 h 505330"/>
              <a:gd name="connsiteX7" fmla="*/ 542692 w 5487431"/>
              <a:gd name="connsiteY7" fmla="*/ 501094 h 505330"/>
              <a:gd name="connsiteX8" fmla="*/ 712902 w 5487431"/>
              <a:gd name="connsiteY8" fmla="*/ 321634 h 505330"/>
              <a:gd name="connsiteX9" fmla="*/ 542692 w 5487431"/>
              <a:gd name="connsiteY9" fmla="*/ 142174 h 505330"/>
              <a:gd name="connsiteX10" fmla="*/ 1303641 w 5487431"/>
              <a:gd name="connsiteY10" fmla="*/ 142174 h 505330"/>
              <a:gd name="connsiteX11" fmla="*/ 1207357 w 5487431"/>
              <a:gd name="connsiteY11" fmla="*/ 192547 h 505330"/>
              <a:gd name="connsiteX12" fmla="*/ 1203170 w 5487431"/>
              <a:gd name="connsiteY12" fmla="*/ 192547 h 505330"/>
              <a:gd name="connsiteX13" fmla="*/ 1203170 w 5487431"/>
              <a:gd name="connsiteY13" fmla="*/ 149048 h 505330"/>
              <a:gd name="connsiteX14" fmla="*/ 1120872 w 5487431"/>
              <a:gd name="connsiteY14" fmla="*/ 149048 h 505330"/>
              <a:gd name="connsiteX15" fmla="*/ 1120872 w 5487431"/>
              <a:gd name="connsiteY15" fmla="*/ 494221 h 505330"/>
              <a:gd name="connsiteX16" fmla="*/ 1203170 w 5487431"/>
              <a:gd name="connsiteY16" fmla="*/ 494221 h 505330"/>
              <a:gd name="connsiteX17" fmla="*/ 1203170 w 5487431"/>
              <a:gd name="connsiteY17" fmla="*/ 271261 h 505330"/>
              <a:gd name="connsiteX18" fmla="*/ 1272244 w 5487431"/>
              <a:gd name="connsiteY18" fmla="*/ 190476 h 505330"/>
              <a:gd name="connsiteX19" fmla="*/ 1331518 w 5487431"/>
              <a:gd name="connsiteY19" fmla="*/ 258173 h 505330"/>
              <a:gd name="connsiteX20" fmla="*/ 1331518 w 5487431"/>
              <a:gd name="connsiteY20" fmla="*/ 494221 h 505330"/>
              <a:gd name="connsiteX21" fmla="*/ 1413816 w 5487431"/>
              <a:gd name="connsiteY21" fmla="*/ 494221 h 505330"/>
              <a:gd name="connsiteX22" fmla="*/ 1413816 w 5487431"/>
              <a:gd name="connsiteY22" fmla="*/ 257420 h 505330"/>
              <a:gd name="connsiteX23" fmla="*/ 1303641 w 5487431"/>
              <a:gd name="connsiteY23" fmla="*/ 142174 h 505330"/>
              <a:gd name="connsiteX24" fmla="*/ 1600771 w 5487431"/>
              <a:gd name="connsiteY24" fmla="*/ 142174 h 505330"/>
              <a:gd name="connsiteX25" fmla="*/ 1467571 w 5487431"/>
              <a:gd name="connsiteY25" fmla="*/ 241602 h 505330"/>
              <a:gd name="connsiteX26" fmla="*/ 1551962 w 5487431"/>
              <a:gd name="connsiteY26" fmla="*/ 341030 h 505330"/>
              <a:gd name="connsiteX27" fmla="*/ 1621702 w 5487431"/>
              <a:gd name="connsiteY27" fmla="*/ 358260 h 505330"/>
              <a:gd name="connsiteX28" fmla="*/ 1675457 w 5487431"/>
              <a:gd name="connsiteY28" fmla="*/ 409387 h 505330"/>
              <a:gd name="connsiteX29" fmla="*/ 1606384 w 5487431"/>
              <a:gd name="connsiteY29" fmla="*/ 464656 h 505330"/>
              <a:gd name="connsiteX30" fmla="*/ 1526845 w 5487431"/>
              <a:gd name="connsiteY30" fmla="*/ 384624 h 505330"/>
              <a:gd name="connsiteX31" fmla="*/ 1452919 w 5487431"/>
              <a:gd name="connsiteY31" fmla="*/ 405338 h 505330"/>
              <a:gd name="connsiteX32" fmla="*/ 1597345 w 5487431"/>
              <a:gd name="connsiteY32" fmla="*/ 501282 h 505330"/>
              <a:gd name="connsiteX33" fmla="*/ 1742438 w 5487431"/>
              <a:gd name="connsiteY33" fmla="*/ 388767 h 505330"/>
              <a:gd name="connsiteX34" fmla="*/ 1649674 w 5487431"/>
              <a:gd name="connsiteY34" fmla="*/ 285196 h 505330"/>
              <a:gd name="connsiteX35" fmla="*/ 1582693 w 5487431"/>
              <a:gd name="connsiteY35" fmla="*/ 268625 h 505330"/>
              <a:gd name="connsiteX36" fmla="*/ 1534551 w 5487431"/>
              <a:gd name="connsiteY36" fmla="*/ 223054 h 505330"/>
              <a:gd name="connsiteX37" fmla="*/ 1593825 w 5487431"/>
              <a:gd name="connsiteY37" fmla="*/ 178895 h 505330"/>
              <a:gd name="connsiteX38" fmla="*/ 1664992 w 5487431"/>
              <a:gd name="connsiteY38" fmla="*/ 245180 h 505330"/>
              <a:gd name="connsiteX39" fmla="*/ 1734731 w 5487431"/>
              <a:gd name="connsiteY39" fmla="*/ 224466 h 505330"/>
              <a:gd name="connsiteX40" fmla="*/ 1600771 w 5487431"/>
              <a:gd name="connsiteY40" fmla="*/ 142174 h 505330"/>
              <a:gd name="connsiteX41" fmla="*/ 1946803 w 5487431"/>
              <a:gd name="connsiteY41" fmla="*/ 463149 h 505330"/>
              <a:gd name="connsiteX42" fmla="*/ 1863078 w 5487431"/>
              <a:gd name="connsiteY42" fmla="*/ 321634 h 505330"/>
              <a:gd name="connsiteX43" fmla="*/ 1946803 w 5487431"/>
              <a:gd name="connsiteY43" fmla="*/ 180119 h 505330"/>
              <a:gd name="connsiteX44" fmla="*/ 2030529 w 5487431"/>
              <a:gd name="connsiteY44" fmla="*/ 321634 h 505330"/>
              <a:gd name="connsiteX45" fmla="*/ 1946803 w 5487431"/>
              <a:gd name="connsiteY45" fmla="*/ 463149 h 505330"/>
              <a:gd name="connsiteX46" fmla="*/ 1946803 w 5487431"/>
              <a:gd name="connsiteY46" fmla="*/ 142174 h 505330"/>
              <a:gd name="connsiteX47" fmla="*/ 1776594 w 5487431"/>
              <a:gd name="connsiteY47" fmla="*/ 321634 h 505330"/>
              <a:gd name="connsiteX48" fmla="*/ 1946803 w 5487431"/>
              <a:gd name="connsiteY48" fmla="*/ 501094 h 505330"/>
              <a:gd name="connsiteX49" fmla="*/ 2117013 w 5487431"/>
              <a:gd name="connsiteY49" fmla="*/ 321634 h 505330"/>
              <a:gd name="connsiteX50" fmla="*/ 1946803 w 5487431"/>
              <a:gd name="connsiteY50" fmla="*/ 142174 h 505330"/>
              <a:gd name="connsiteX51" fmla="*/ 2348590 w 5487431"/>
              <a:gd name="connsiteY51" fmla="*/ 142174 h 505330"/>
              <a:gd name="connsiteX52" fmla="*/ 2252306 w 5487431"/>
              <a:gd name="connsiteY52" fmla="*/ 192547 h 505330"/>
              <a:gd name="connsiteX53" fmla="*/ 2248119 w 5487431"/>
              <a:gd name="connsiteY53" fmla="*/ 192547 h 505330"/>
              <a:gd name="connsiteX54" fmla="*/ 2248119 w 5487431"/>
              <a:gd name="connsiteY54" fmla="*/ 149048 h 505330"/>
              <a:gd name="connsiteX55" fmla="*/ 2165821 w 5487431"/>
              <a:gd name="connsiteY55" fmla="*/ 149048 h 505330"/>
              <a:gd name="connsiteX56" fmla="*/ 2165821 w 5487431"/>
              <a:gd name="connsiteY56" fmla="*/ 494221 h 505330"/>
              <a:gd name="connsiteX57" fmla="*/ 2248119 w 5487431"/>
              <a:gd name="connsiteY57" fmla="*/ 494221 h 505330"/>
              <a:gd name="connsiteX58" fmla="*/ 2248119 w 5487431"/>
              <a:gd name="connsiteY58" fmla="*/ 271261 h 505330"/>
              <a:gd name="connsiteX59" fmla="*/ 2317193 w 5487431"/>
              <a:gd name="connsiteY59" fmla="*/ 190476 h 505330"/>
              <a:gd name="connsiteX60" fmla="*/ 2376466 w 5487431"/>
              <a:gd name="connsiteY60" fmla="*/ 258173 h 505330"/>
              <a:gd name="connsiteX61" fmla="*/ 2376466 w 5487431"/>
              <a:gd name="connsiteY61" fmla="*/ 494221 h 505330"/>
              <a:gd name="connsiteX62" fmla="*/ 2458764 w 5487431"/>
              <a:gd name="connsiteY62" fmla="*/ 494221 h 505330"/>
              <a:gd name="connsiteX63" fmla="*/ 2458764 w 5487431"/>
              <a:gd name="connsiteY63" fmla="*/ 257420 h 505330"/>
              <a:gd name="connsiteX64" fmla="*/ 2348590 w 5487431"/>
              <a:gd name="connsiteY64" fmla="*/ 142174 h 505330"/>
              <a:gd name="connsiteX65" fmla="*/ 3571359 w 5487431"/>
              <a:gd name="connsiteY65" fmla="*/ 463149 h 505330"/>
              <a:gd name="connsiteX66" fmla="*/ 3487634 w 5487431"/>
              <a:gd name="connsiteY66" fmla="*/ 321634 h 505330"/>
              <a:gd name="connsiteX67" fmla="*/ 3571359 w 5487431"/>
              <a:gd name="connsiteY67" fmla="*/ 180119 h 505330"/>
              <a:gd name="connsiteX68" fmla="*/ 3655085 w 5487431"/>
              <a:gd name="connsiteY68" fmla="*/ 321634 h 505330"/>
              <a:gd name="connsiteX69" fmla="*/ 3571359 w 5487431"/>
              <a:gd name="connsiteY69" fmla="*/ 463149 h 505330"/>
              <a:gd name="connsiteX70" fmla="*/ 3571359 w 5487431"/>
              <a:gd name="connsiteY70" fmla="*/ 142174 h 505330"/>
              <a:gd name="connsiteX71" fmla="*/ 3401150 w 5487431"/>
              <a:gd name="connsiteY71" fmla="*/ 321634 h 505330"/>
              <a:gd name="connsiteX72" fmla="*/ 3571359 w 5487431"/>
              <a:gd name="connsiteY72" fmla="*/ 501094 h 505330"/>
              <a:gd name="connsiteX73" fmla="*/ 3741569 w 5487431"/>
              <a:gd name="connsiteY73" fmla="*/ 321634 h 505330"/>
              <a:gd name="connsiteX74" fmla="*/ 3571359 w 5487431"/>
              <a:gd name="connsiteY74" fmla="*/ 142174 h 505330"/>
              <a:gd name="connsiteX75" fmla="*/ 4332308 w 5487431"/>
              <a:gd name="connsiteY75" fmla="*/ 142174 h 505330"/>
              <a:gd name="connsiteX76" fmla="*/ 4236024 w 5487431"/>
              <a:gd name="connsiteY76" fmla="*/ 192547 h 505330"/>
              <a:gd name="connsiteX77" fmla="*/ 4231838 w 5487431"/>
              <a:gd name="connsiteY77" fmla="*/ 192547 h 505330"/>
              <a:gd name="connsiteX78" fmla="*/ 4231838 w 5487431"/>
              <a:gd name="connsiteY78" fmla="*/ 149048 h 505330"/>
              <a:gd name="connsiteX79" fmla="*/ 4149539 w 5487431"/>
              <a:gd name="connsiteY79" fmla="*/ 149048 h 505330"/>
              <a:gd name="connsiteX80" fmla="*/ 4149539 w 5487431"/>
              <a:gd name="connsiteY80" fmla="*/ 494221 h 505330"/>
              <a:gd name="connsiteX81" fmla="*/ 4231838 w 5487431"/>
              <a:gd name="connsiteY81" fmla="*/ 494221 h 505330"/>
              <a:gd name="connsiteX82" fmla="*/ 4231838 w 5487431"/>
              <a:gd name="connsiteY82" fmla="*/ 271261 h 505330"/>
              <a:gd name="connsiteX83" fmla="*/ 4300911 w 5487431"/>
              <a:gd name="connsiteY83" fmla="*/ 190476 h 505330"/>
              <a:gd name="connsiteX84" fmla="*/ 4360185 w 5487431"/>
              <a:gd name="connsiteY84" fmla="*/ 258173 h 505330"/>
              <a:gd name="connsiteX85" fmla="*/ 4360185 w 5487431"/>
              <a:gd name="connsiteY85" fmla="*/ 494221 h 505330"/>
              <a:gd name="connsiteX86" fmla="*/ 4442483 w 5487431"/>
              <a:gd name="connsiteY86" fmla="*/ 494221 h 505330"/>
              <a:gd name="connsiteX87" fmla="*/ 4442483 w 5487431"/>
              <a:gd name="connsiteY87" fmla="*/ 257420 h 505330"/>
              <a:gd name="connsiteX88" fmla="*/ 4332308 w 5487431"/>
              <a:gd name="connsiteY88" fmla="*/ 142174 h 505330"/>
              <a:gd name="connsiteX89" fmla="*/ 4629533 w 5487431"/>
              <a:gd name="connsiteY89" fmla="*/ 142174 h 505330"/>
              <a:gd name="connsiteX90" fmla="*/ 4496334 w 5487431"/>
              <a:gd name="connsiteY90" fmla="*/ 241602 h 505330"/>
              <a:gd name="connsiteX91" fmla="*/ 4580725 w 5487431"/>
              <a:gd name="connsiteY91" fmla="*/ 341030 h 505330"/>
              <a:gd name="connsiteX92" fmla="*/ 4650464 w 5487431"/>
              <a:gd name="connsiteY92" fmla="*/ 358260 h 505330"/>
              <a:gd name="connsiteX93" fmla="*/ 4704220 w 5487431"/>
              <a:gd name="connsiteY93" fmla="*/ 409387 h 505330"/>
              <a:gd name="connsiteX94" fmla="*/ 4635146 w 5487431"/>
              <a:gd name="connsiteY94" fmla="*/ 464656 h 505330"/>
              <a:gd name="connsiteX95" fmla="*/ 4555607 w 5487431"/>
              <a:gd name="connsiteY95" fmla="*/ 384624 h 505330"/>
              <a:gd name="connsiteX96" fmla="*/ 4481682 w 5487431"/>
              <a:gd name="connsiteY96" fmla="*/ 405338 h 505330"/>
              <a:gd name="connsiteX97" fmla="*/ 4626108 w 5487431"/>
              <a:gd name="connsiteY97" fmla="*/ 501282 h 505330"/>
              <a:gd name="connsiteX98" fmla="*/ 4771200 w 5487431"/>
              <a:gd name="connsiteY98" fmla="*/ 388767 h 505330"/>
              <a:gd name="connsiteX99" fmla="*/ 4678436 w 5487431"/>
              <a:gd name="connsiteY99" fmla="*/ 285196 h 505330"/>
              <a:gd name="connsiteX100" fmla="*/ 4611456 w 5487431"/>
              <a:gd name="connsiteY100" fmla="*/ 268625 h 505330"/>
              <a:gd name="connsiteX101" fmla="*/ 4563314 w 5487431"/>
              <a:gd name="connsiteY101" fmla="*/ 223054 h 505330"/>
              <a:gd name="connsiteX102" fmla="*/ 4622588 w 5487431"/>
              <a:gd name="connsiteY102" fmla="*/ 178895 h 505330"/>
              <a:gd name="connsiteX103" fmla="*/ 4693754 w 5487431"/>
              <a:gd name="connsiteY103" fmla="*/ 245180 h 505330"/>
              <a:gd name="connsiteX104" fmla="*/ 4763493 w 5487431"/>
              <a:gd name="connsiteY104" fmla="*/ 224466 h 505330"/>
              <a:gd name="connsiteX105" fmla="*/ 4629533 w 5487431"/>
              <a:gd name="connsiteY105" fmla="*/ 142174 h 505330"/>
              <a:gd name="connsiteX106" fmla="*/ 4975471 w 5487431"/>
              <a:gd name="connsiteY106" fmla="*/ 463149 h 505330"/>
              <a:gd name="connsiteX107" fmla="*/ 4891745 w 5487431"/>
              <a:gd name="connsiteY107" fmla="*/ 321634 h 505330"/>
              <a:gd name="connsiteX108" fmla="*/ 4975471 w 5487431"/>
              <a:gd name="connsiteY108" fmla="*/ 180119 h 505330"/>
              <a:gd name="connsiteX109" fmla="*/ 5059196 w 5487431"/>
              <a:gd name="connsiteY109" fmla="*/ 321634 h 505330"/>
              <a:gd name="connsiteX110" fmla="*/ 4975471 w 5487431"/>
              <a:gd name="connsiteY110" fmla="*/ 463149 h 505330"/>
              <a:gd name="connsiteX111" fmla="*/ 4975471 w 5487431"/>
              <a:gd name="connsiteY111" fmla="*/ 142174 h 505330"/>
              <a:gd name="connsiteX112" fmla="*/ 4805261 w 5487431"/>
              <a:gd name="connsiteY112" fmla="*/ 321634 h 505330"/>
              <a:gd name="connsiteX113" fmla="*/ 4975471 w 5487431"/>
              <a:gd name="connsiteY113" fmla="*/ 501094 h 505330"/>
              <a:gd name="connsiteX114" fmla="*/ 5145680 w 5487431"/>
              <a:gd name="connsiteY114" fmla="*/ 321634 h 505330"/>
              <a:gd name="connsiteX115" fmla="*/ 4975471 w 5487431"/>
              <a:gd name="connsiteY115" fmla="*/ 142174 h 505330"/>
              <a:gd name="connsiteX116" fmla="*/ 5377257 w 5487431"/>
              <a:gd name="connsiteY116" fmla="*/ 142174 h 505330"/>
              <a:gd name="connsiteX117" fmla="*/ 5280973 w 5487431"/>
              <a:gd name="connsiteY117" fmla="*/ 192547 h 505330"/>
              <a:gd name="connsiteX118" fmla="*/ 5276787 w 5487431"/>
              <a:gd name="connsiteY118" fmla="*/ 192547 h 505330"/>
              <a:gd name="connsiteX119" fmla="*/ 5276787 w 5487431"/>
              <a:gd name="connsiteY119" fmla="*/ 149048 h 505330"/>
              <a:gd name="connsiteX120" fmla="*/ 5194488 w 5487431"/>
              <a:gd name="connsiteY120" fmla="*/ 149048 h 505330"/>
              <a:gd name="connsiteX121" fmla="*/ 5194488 w 5487431"/>
              <a:gd name="connsiteY121" fmla="*/ 494221 h 505330"/>
              <a:gd name="connsiteX122" fmla="*/ 5276787 w 5487431"/>
              <a:gd name="connsiteY122" fmla="*/ 494221 h 505330"/>
              <a:gd name="connsiteX123" fmla="*/ 5276787 w 5487431"/>
              <a:gd name="connsiteY123" fmla="*/ 271261 h 505330"/>
              <a:gd name="connsiteX124" fmla="*/ 5345860 w 5487431"/>
              <a:gd name="connsiteY124" fmla="*/ 190476 h 505330"/>
              <a:gd name="connsiteX125" fmla="*/ 5405134 w 5487431"/>
              <a:gd name="connsiteY125" fmla="*/ 258173 h 505330"/>
              <a:gd name="connsiteX126" fmla="*/ 5405134 w 5487431"/>
              <a:gd name="connsiteY126" fmla="*/ 494221 h 505330"/>
              <a:gd name="connsiteX127" fmla="*/ 5487432 w 5487431"/>
              <a:gd name="connsiteY127" fmla="*/ 494221 h 505330"/>
              <a:gd name="connsiteX128" fmla="*/ 5487432 w 5487431"/>
              <a:gd name="connsiteY128" fmla="*/ 257420 h 505330"/>
              <a:gd name="connsiteX129" fmla="*/ 5377257 w 5487431"/>
              <a:gd name="connsiteY129" fmla="*/ 142174 h 505330"/>
              <a:gd name="connsiteX130" fmla="*/ 323674 w 5487431"/>
              <a:gd name="connsiteY130" fmla="*/ 11016 h 505330"/>
              <a:gd name="connsiteX131" fmla="*/ 237190 w 5487431"/>
              <a:gd name="connsiteY131" fmla="*/ 11016 h 505330"/>
              <a:gd name="connsiteX132" fmla="*/ 237190 w 5487431"/>
              <a:gd name="connsiteY132" fmla="*/ 367864 h 505330"/>
              <a:gd name="connsiteX133" fmla="*/ 161837 w 5487431"/>
              <a:gd name="connsiteY133" fmla="*/ 460325 h 505330"/>
              <a:gd name="connsiteX134" fmla="*/ 86484 w 5487431"/>
              <a:gd name="connsiteY134" fmla="*/ 360897 h 505330"/>
              <a:gd name="connsiteX135" fmla="*/ 86484 w 5487431"/>
              <a:gd name="connsiteY135" fmla="*/ 294612 h 505330"/>
              <a:gd name="connsiteX136" fmla="*/ 0 w 5487431"/>
              <a:gd name="connsiteY136" fmla="*/ 315985 h 505330"/>
              <a:gd name="connsiteX137" fmla="*/ 0 w 5487431"/>
              <a:gd name="connsiteY137" fmla="*/ 345644 h 505330"/>
              <a:gd name="connsiteX138" fmla="*/ 161837 w 5487431"/>
              <a:gd name="connsiteY138" fmla="*/ 505143 h 505330"/>
              <a:gd name="connsiteX139" fmla="*/ 323674 w 5487431"/>
              <a:gd name="connsiteY139" fmla="*/ 345644 h 505330"/>
              <a:gd name="connsiteX140" fmla="*/ 323674 w 5487431"/>
              <a:gd name="connsiteY140" fmla="*/ 11016 h 505330"/>
              <a:gd name="connsiteX141" fmla="*/ 844008 w 5487431"/>
              <a:gd name="connsiteY141" fmla="*/ 11016 h 505330"/>
              <a:gd name="connsiteX142" fmla="*/ 761710 w 5487431"/>
              <a:gd name="connsiteY142" fmla="*/ 11016 h 505330"/>
              <a:gd name="connsiteX143" fmla="*/ 761710 w 5487431"/>
              <a:gd name="connsiteY143" fmla="*/ 494221 h 505330"/>
              <a:gd name="connsiteX144" fmla="*/ 844008 w 5487431"/>
              <a:gd name="connsiteY144" fmla="*/ 494221 h 505330"/>
              <a:gd name="connsiteX145" fmla="*/ 844008 w 5487431"/>
              <a:gd name="connsiteY145" fmla="*/ 271261 h 505330"/>
              <a:gd name="connsiteX146" fmla="*/ 913081 w 5487431"/>
              <a:gd name="connsiteY146" fmla="*/ 190476 h 505330"/>
              <a:gd name="connsiteX147" fmla="*/ 972355 w 5487431"/>
              <a:gd name="connsiteY147" fmla="*/ 258173 h 505330"/>
              <a:gd name="connsiteX148" fmla="*/ 972355 w 5487431"/>
              <a:gd name="connsiteY148" fmla="*/ 494221 h 505330"/>
              <a:gd name="connsiteX149" fmla="*/ 1054653 w 5487431"/>
              <a:gd name="connsiteY149" fmla="*/ 494221 h 505330"/>
              <a:gd name="connsiteX150" fmla="*/ 1054653 w 5487431"/>
              <a:gd name="connsiteY150" fmla="*/ 257420 h 505330"/>
              <a:gd name="connsiteX151" fmla="*/ 944478 w 5487431"/>
              <a:gd name="connsiteY151" fmla="*/ 142174 h 505330"/>
              <a:gd name="connsiteX152" fmla="*/ 848194 w 5487431"/>
              <a:gd name="connsiteY152" fmla="*/ 192547 h 505330"/>
              <a:gd name="connsiteX153" fmla="*/ 844008 w 5487431"/>
              <a:gd name="connsiteY153" fmla="*/ 192547 h 505330"/>
              <a:gd name="connsiteX154" fmla="*/ 844008 w 5487431"/>
              <a:gd name="connsiteY154" fmla="*/ 11016 h 505330"/>
              <a:gd name="connsiteX155" fmla="*/ 3352342 w 5487431"/>
              <a:gd name="connsiteY155" fmla="*/ 11016 h 505330"/>
              <a:gd name="connsiteX156" fmla="*/ 3265857 w 5487431"/>
              <a:gd name="connsiteY156" fmla="*/ 11016 h 505330"/>
              <a:gd name="connsiteX157" fmla="*/ 3265857 w 5487431"/>
              <a:gd name="connsiteY157" fmla="*/ 367864 h 505330"/>
              <a:gd name="connsiteX158" fmla="*/ 3190504 w 5487431"/>
              <a:gd name="connsiteY158" fmla="*/ 460325 h 505330"/>
              <a:gd name="connsiteX159" fmla="*/ 3115152 w 5487431"/>
              <a:gd name="connsiteY159" fmla="*/ 360897 h 505330"/>
              <a:gd name="connsiteX160" fmla="*/ 3115152 w 5487431"/>
              <a:gd name="connsiteY160" fmla="*/ 294612 h 505330"/>
              <a:gd name="connsiteX161" fmla="*/ 3028667 w 5487431"/>
              <a:gd name="connsiteY161" fmla="*/ 315985 h 505330"/>
              <a:gd name="connsiteX162" fmla="*/ 3028667 w 5487431"/>
              <a:gd name="connsiteY162" fmla="*/ 345644 h 505330"/>
              <a:gd name="connsiteX163" fmla="*/ 3190504 w 5487431"/>
              <a:gd name="connsiteY163" fmla="*/ 505143 h 505330"/>
              <a:gd name="connsiteX164" fmla="*/ 3352342 w 5487431"/>
              <a:gd name="connsiteY164" fmla="*/ 345644 h 505330"/>
              <a:gd name="connsiteX165" fmla="*/ 3352342 w 5487431"/>
              <a:gd name="connsiteY165" fmla="*/ 11016 h 505330"/>
              <a:gd name="connsiteX166" fmla="*/ 3872675 w 5487431"/>
              <a:gd name="connsiteY166" fmla="*/ 11016 h 505330"/>
              <a:gd name="connsiteX167" fmla="*/ 3790377 w 5487431"/>
              <a:gd name="connsiteY167" fmla="*/ 11016 h 505330"/>
              <a:gd name="connsiteX168" fmla="*/ 3790377 w 5487431"/>
              <a:gd name="connsiteY168" fmla="*/ 494221 h 505330"/>
              <a:gd name="connsiteX169" fmla="*/ 3872675 w 5487431"/>
              <a:gd name="connsiteY169" fmla="*/ 494221 h 505330"/>
              <a:gd name="connsiteX170" fmla="*/ 3872675 w 5487431"/>
              <a:gd name="connsiteY170" fmla="*/ 271261 h 505330"/>
              <a:gd name="connsiteX171" fmla="*/ 3941749 w 5487431"/>
              <a:gd name="connsiteY171" fmla="*/ 190476 h 505330"/>
              <a:gd name="connsiteX172" fmla="*/ 4001022 w 5487431"/>
              <a:gd name="connsiteY172" fmla="*/ 258173 h 505330"/>
              <a:gd name="connsiteX173" fmla="*/ 4001022 w 5487431"/>
              <a:gd name="connsiteY173" fmla="*/ 494221 h 505330"/>
              <a:gd name="connsiteX174" fmla="*/ 4083320 w 5487431"/>
              <a:gd name="connsiteY174" fmla="*/ 494221 h 505330"/>
              <a:gd name="connsiteX175" fmla="*/ 4083320 w 5487431"/>
              <a:gd name="connsiteY175" fmla="*/ 257420 h 505330"/>
              <a:gd name="connsiteX176" fmla="*/ 3973146 w 5487431"/>
              <a:gd name="connsiteY176" fmla="*/ 142174 h 505330"/>
              <a:gd name="connsiteX177" fmla="*/ 3876861 w 5487431"/>
              <a:gd name="connsiteY177" fmla="*/ 192547 h 505330"/>
              <a:gd name="connsiteX178" fmla="*/ 3872675 w 5487431"/>
              <a:gd name="connsiteY178" fmla="*/ 192547 h 505330"/>
              <a:gd name="connsiteX179" fmla="*/ 3872675 w 5487431"/>
              <a:gd name="connsiteY179" fmla="*/ 11016 h 505330"/>
              <a:gd name="connsiteX180" fmla="*/ 2730110 w 5487431"/>
              <a:gd name="connsiteY180" fmla="*/ 454864 h 505330"/>
              <a:gd name="connsiteX181" fmla="*/ 2622029 w 5487431"/>
              <a:gd name="connsiteY181" fmla="*/ 343761 h 505330"/>
              <a:gd name="connsiteX182" fmla="*/ 2664557 w 5487431"/>
              <a:gd name="connsiteY182" fmla="*/ 256102 h 505330"/>
              <a:gd name="connsiteX183" fmla="*/ 2822208 w 5487431"/>
              <a:gd name="connsiteY183" fmla="*/ 426617 h 505330"/>
              <a:gd name="connsiteX184" fmla="*/ 2730110 w 5487431"/>
              <a:gd name="connsiteY184" fmla="*/ 454864 h 505330"/>
              <a:gd name="connsiteX185" fmla="*/ 2883575 w 5487431"/>
              <a:gd name="connsiteY185" fmla="*/ 369936 h 505330"/>
              <a:gd name="connsiteX186" fmla="*/ 2746856 w 5487431"/>
              <a:gd name="connsiteY186" fmla="*/ 220794 h 505330"/>
              <a:gd name="connsiteX187" fmla="*/ 2814502 w 5487431"/>
              <a:gd name="connsiteY187" fmla="*/ 207706 h 505330"/>
              <a:gd name="connsiteX188" fmla="*/ 2905838 w 5487431"/>
              <a:gd name="connsiteY188" fmla="*/ 296118 h 505330"/>
              <a:gd name="connsiteX189" fmla="*/ 2883575 w 5487431"/>
              <a:gd name="connsiteY189" fmla="*/ 369936 h 505330"/>
              <a:gd name="connsiteX190" fmla="*/ 2728017 w 5487431"/>
              <a:gd name="connsiteY190" fmla="*/ 200833 h 505330"/>
              <a:gd name="connsiteX191" fmla="*/ 2698047 w 5487431"/>
              <a:gd name="connsiteY191" fmla="*/ 167690 h 505330"/>
              <a:gd name="connsiteX192" fmla="*/ 2663891 w 5487431"/>
              <a:gd name="connsiteY192" fmla="*/ 99334 h 505330"/>
              <a:gd name="connsiteX193" fmla="*/ 2730110 w 5487431"/>
              <a:gd name="connsiteY193" fmla="*/ 36532 h 505330"/>
              <a:gd name="connsiteX194" fmla="*/ 2795664 w 5487431"/>
              <a:gd name="connsiteY194" fmla="*/ 102817 h 505330"/>
              <a:gd name="connsiteX195" fmla="*/ 2728017 w 5487431"/>
              <a:gd name="connsiteY195" fmla="*/ 200833 h 505330"/>
              <a:gd name="connsiteX196" fmla="*/ 2732204 w 5487431"/>
              <a:gd name="connsiteY196" fmla="*/ 0 h 505330"/>
              <a:gd name="connsiteX197" fmla="*/ 2588539 w 5487431"/>
              <a:gd name="connsiteY197" fmla="*/ 119389 h 505330"/>
              <a:gd name="connsiteX198" fmla="*/ 2644387 w 5487431"/>
              <a:gd name="connsiteY198" fmla="*/ 234635 h 505330"/>
              <a:gd name="connsiteX199" fmla="*/ 2645053 w 5487431"/>
              <a:gd name="connsiteY199" fmla="*/ 236047 h 505330"/>
              <a:gd name="connsiteX200" fmla="*/ 2545344 w 5487431"/>
              <a:gd name="connsiteY200" fmla="*/ 374832 h 505330"/>
              <a:gd name="connsiteX201" fmla="*/ 2685584 w 5487431"/>
              <a:gd name="connsiteY201" fmla="*/ 505331 h 505330"/>
              <a:gd name="connsiteX202" fmla="*/ 2843235 w 5487431"/>
              <a:gd name="connsiteY202" fmla="*/ 449403 h 505330"/>
              <a:gd name="connsiteX203" fmla="*/ 2885097 w 5487431"/>
              <a:gd name="connsiteY203" fmla="*/ 494315 h 505330"/>
              <a:gd name="connsiteX204" fmla="*/ 2994606 w 5487431"/>
              <a:gd name="connsiteY204" fmla="*/ 494315 h 505330"/>
              <a:gd name="connsiteX205" fmla="*/ 2994606 w 5487431"/>
              <a:gd name="connsiteY205" fmla="*/ 490831 h 505330"/>
              <a:gd name="connsiteX206" fmla="*/ 2905363 w 5487431"/>
              <a:gd name="connsiteY206" fmla="*/ 393474 h 505330"/>
              <a:gd name="connsiteX207" fmla="*/ 2964637 w 5487431"/>
              <a:gd name="connsiteY207" fmla="*/ 258833 h 505330"/>
              <a:gd name="connsiteX208" fmla="*/ 2873300 w 5487431"/>
              <a:gd name="connsiteY208" fmla="*/ 171174 h 505330"/>
              <a:gd name="connsiteX209" fmla="*/ 2789574 w 5487431"/>
              <a:gd name="connsiteY209" fmla="*/ 187745 h 505330"/>
              <a:gd name="connsiteX210" fmla="*/ 2788147 w 5487431"/>
              <a:gd name="connsiteY210" fmla="*/ 185015 h 505330"/>
              <a:gd name="connsiteX211" fmla="*/ 2863500 w 5487431"/>
              <a:gd name="connsiteY211" fmla="*/ 93873 h 505330"/>
              <a:gd name="connsiteX212" fmla="*/ 2732204 w 5487431"/>
              <a:gd name="connsiteY212" fmla="*/ 0 h 50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5487431" h="505330">
                <a:moveTo>
                  <a:pt x="542692" y="463149"/>
                </a:moveTo>
                <a:cubicBezTo>
                  <a:pt x="488937" y="463149"/>
                  <a:pt x="458967" y="412776"/>
                  <a:pt x="458967" y="321634"/>
                </a:cubicBezTo>
                <a:cubicBezTo>
                  <a:pt x="458967" y="229080"/>
                  <a:pt x="488937" y="180119"/>
                  <a:pt x="542692" y="180119"/>
                </a:cubicBezTo>
                <a:cubicBezTo>
                  <a:pt x="596448" y="180119"/>
                  <a:pt x="626417" y="229833"/>
                  <a:pt x="626417" y="321634"/>
                </a:cubicBezTo>
                <a:cubicBezTo>
                  <a:pt x="626322" y="414189"/>
                  <a:pt x="596352" y="463149"/>
                  <a:pt x="542692" y="463149"/>
                </a:cubicBezTo>
                <a:moveTo>
                  <a:pt x="542692" y="142174"/>
                </a:moveTo>
                <a:cubicBezTo>
                  <a:pt x="433183" y="142174"/>
                  <a:pt x="372482" y="222959"/>
                  <a:pt x="372482" y="321634"/>
                </a:cubicBezTo>
                <a:cubicBezTo>
                  <a:pt x="372482" y="420309"/>
                  <a:pt x="433183" y="501094"/>
                  <a:pt x="542692" y="501094"/>
                </a:cubicBezTo>
                <a:cubicBezTo>
                  <a:pt x="652201" y="501094"/>
                  <a:pt x="712902" y="420309"/>
                  <a:pt x="712902" y="321634"/>
                </a:cubicBezTo>
                <a:cubicBezTo>
                  <a:pt x="712902" y="222959"/>
                  <a:pt x="652201" y="142174"/>
                  <a:pt x="542692" y="142174"/>
                </a:cubicBezTo>
                <a:moveTo>
                  <a:pt x="1303641" y="142174"/>
                </a:moveTo>
                <a:cubicBezTo>
                  <a:pt x="1251979" y="142174"/>
                  <a:pt x="1223436" y="164301"/>
                  <a:pt x="1207357" y="192547"/>
                </a:cubicBezTo>
                <a:lnTo>
                  <a:pt x="1203170" y="192547"/>
                </a:lnTo>
                <a:lnTo>
                  <a:pt x="1203170" y="149048"/>
                </a:lnTo>
                <a:lnTo>
                  <a:pt x="1120872" y="149048"/>
                </a:lnTo>
                <a:lnTo>
                  <a:pt x="1120872" y="494221"/>
                </a:lnTo>
                <a:lnTo>
                  <a:pt x="1203170" y="494221"/>
                </a:lnTo>
                <a:lnTo>
                  <a:pt x="1203170" y="271261"/>
                </a:lnTo>
                <a:cubicBezTo>
                  <a:pt x="1203170" y="220229"/>
                  <a:pt x="1229715" y="190476"/>
                  <a:pt x="1272244" y="190476"/>
                </a:cubicBezTo>
                <a:cubicBezTo>
                  <a:pt x="1313440" y="190476"/>
                  <a:pt x="1331518" y="217404"/>
                  <a:pt x="1331518" y="258173"/>
                </a:cubicBezTo>
                <a:lnTo>
                  <a:pt x="1331518" y="494221"/>
                </a:lnTo>
                <a:lnTo>
                  <a:pt x="1413816" y="494221"/>
                </a:lnTo>
                <a:lnTo>
                  <a:pt x="1413816" y="257420"/>
                </a:lnTo>
                <a:cubicBezTo>
                  <a:pt x="1413911" y="186333"/>
                  <a:pt x="1376234" y="142174"/>
                  <a:pt x="1303641" y="142174"/>
                </a:cubicBezTo>
                <a:moveTo>
                  <a:pt x="1600771" y="142174"/>
                </a:moveTo>
                <a:cubicBezTo>
                  <a:pt x="1524752" y="142174"/>
                  <a:pt x="1467571" y="173905"/>
                  <a:pt x="1467571" y="241602"/>
                </a:cubicBezTo>
                <a:cubicBezTo>
                  <a:pt x="1467571" y="298943"/>
                  <a:pt x="1507341" y="330014"/>
                  <a:pt x="1551962" y="341030"/>
                </a:cubicBezTo>
                <a:lnTo>
                  <a:pt x="1621702" y="358260"/>
                </a:lnTo>
                <a:cubicBezTo>
                  <a:pt x="1658712" y="367205"/>
                  <a:pt x="1675457" y="380387"/>
                  <a:pt x="1675457" y="409387"/>
                </a:cubicBezTo>
                <a:cubicBezTo>
                  <a:pt x="1675457" y="444601"/>
                  <a:pt x="1650340" y="464656"/>
                  <a:pt x="1606384" y="464656"/>
                </a:cubicBezTo>
                <a:cubicBezTo>
                  <a:pt x="1558908" y="464656"/>
                  <a:pt x="1534551" y="441870"/>
                  <a:pt x="1526845" y="384624"/>
                </a:cubicBezTo>
                <a:lnTo>
                  <a:pt x="1452919" y="405338"/>
                </a:lnTo>
                <a:cubicBezTo>
                  <a:pt x="1457106" y="464750"/>
                  <a:pt x="1512954" y="501282"/>
                  <a:pt x="1597345" y="501282"/>
                </a:cubicBezTo>
                <a:cubicBezTo>
                  <a:pt x="1691536" y="501282"/>
                  <a:pt x="1742438" y="457782"/>
                  <a:pt x="1742438" y="388767"/>
                </a:cubicBezTo>
                <a:cubicBezTo>
                  <a:pt x="1742438" y="323894"/>
                  <a:pt x="1697055" y="296965"/>
                  <a:pt x="1649674" y="285196"/>
                </a:cubicBezTo>
                <a:lnTo>
                  <a:pt x="1582693" y="268625"/>
                </a:lnTo>
                <a:cubicBezTo>
                  <a:pt x="1549203" y="260339"/>
                  <a:pt x="1534551" y="245180"/>
                  <a:pt x="1534551" y="223054"/>
                </a:cubicBezTo>
                <a:cubicBezTo>
                  <a:pt x="1534551" y="195466"/>
                  <a:pt x="1558242" y="178895"/>
                  <a:pt x="1593825" y="178895"/>
                </a:cubicBezTo>
                <a:cubicBezTo>
                  <a:pt x="1635688" y="178895"/>
                  <a:pt x="1661471" y="201680"/>
                  <a:pt x="1664992" y="245180"/>
                </a:cubicBezTo>
                <a:lnTo>
                  <a:pt x="1734731" y="224466"/>
                </a:lnTo>
                <a:cubicBezTo>
                  <a:pt x="1726358" y="175976"/>
                  <a:pt x="1678216" y="142174"/>
                  <a:pt x="1600771" y="142174"/>
                </a:cubicBezTo>
                <a:moveTo>
                  <a:pt x="1946803" y="463149"/>
                </a:moveTo>
                <a:cubicBezTo>
                  <a:pt x="1893048" y="463149"/>
                  <a:pt x="1863078" y="412776"/>
                  <a:pt x="1863078" y="321634"/>
                </a:cubicBezTo>
                <a:cubicBezTo>
                  <a:pt x="1863078" y="229080"/>
                  <a:pt x="1893048" y="180119"/>
                  <a:pt x="1946803" y="180119"/>
                </a:cubicBezTo>
                <a:cubicBezTo>
                  <a:pt x="2000559" y="180119"/>
                  <a:pt x="2030529" y="229833"/>
                  <a:pt x="2030529" y="321634"/>
                </a:cubicBezTo>
                <a:cubicBezTo>
                  <a:pt x="2030529" y="414189"/>
                  <a:pt x="2000464" y="463149"/>
                  <a:pt x="1946803" y="463149"/>
                </a:cubicBezTo>
                <a:moveTo>
                  <a:pt x="1946803" y="142174"/>
                </a:moveTo>
                <a:cubicBezTo>
                  <a:pt x="1837294" y="142174"/>
                  <a:pt x="1776594" y="222959"/>
                  <a:pt x="1776594" y="321634"/>
                </a:cubicBezTo>
                <a:cubicBezTo>
                  <a:pt x="1776594" y="420309"/>
                  <a:pt x="1837294" y="501094"/>
                  <a:pt x="1946803" y="501094"/>
                </a:cubicBezTo>
                <a:cubicBezTo>
                  <a:pt x="2056312" y="501094"/>
                  <a:pt x="2117013" y="420309"/>
                  <a:pt x="2117013" y="321634"/>
                </a:cubicBezTo>
                <a:cubicBezTo>
                  <a:pt x="2117013" y="222959"/>
                  <a:pt x="2056312" y="142174"/>
                  <a:pt x="1946803" y="142174"/>
                </a:cubicBezTo>
                <a:moveTo>
                  <a:pt x="2348590" y="142174"/>
                </a:moveTo>
                <a:cubicBezTo>
                  <a:pt x="2296927" y="142174"/>
                  <a:pt x="2268385" y="164301"/>
                  <a:pt x="2252306" y="192547"/>
                </a:cubicBezTo>
                <a:lnTo>
                  <a:pt x="2248119" y="192547"/>
                </a:lnTo>
                <a:lnTo>
                  <a:pt x="2248119" y="149048"/>
                </a:lnTo>
                <a:lnTo>
                  <a:pt x="2165821" y="149048"/>
                </a:lnTo>
                <a:lnTo>
                  <a:pt x="2165821" y="494221"/>
                </a:lnTo>
                <a:lnTo>
                  <a:pt x="2248119" y="494221"/>
                </a:lnTo>
                <a:lnTo>
                  <a:pt x="2248119" y="271261"/>
                </a:lnTo>
                <a:cubicBezTo>
                  <a:pt x="2248119" y="220229"/>
                  <a:pt x="2274664" y="190476"/>
                  <a:pt x="2317193" y="190476"/>
                </a:cubicBezTo>
                <a:cubicBezTo>
                  <a:pt x="2358389" y="190476"/>
                  <a:pt x="2376466" y="217404"/>
                  <a:pt x="2376466" y="258173"/>
                </a:cubicBezTo>
                <a:lnTo>
                  <a:pt x="2376466" y="494221"/>
                </a:lnTo>
                <a:lnTo>
                  <a:pt x="2458764" y="494221"/>
                </a:lnTo>
                <a:lnTo>
                  <a:pt x="2458764" y="257420"/>
                </a:lnTo>
                <a:cubicBezTo>
                  <a:pt x="2458764" y="186333"/>
                  <a:pt x="2421088" y="142174"/>
                  <a:pt x="2348590" y="142174"/>
                </a:cubicBezTo>
                <a:moveTo>
                  <a:pt x="3571359" y="463149"/>
                </a:moveTo>
                <a:cubicBezTo>
                  <a:pt x="3517604" y="463149"/>
                  <a:pt x="3487634" y="412776"/>
                  <a:pt x="3487634" y="321634"/>
                </a:cubicBezTo>
                <a:cubicBezTo>
                  <a:pt x="3487634" y="229080"/>
                  <a:pt x="3517604" y="180119"/>
                  <a:pt x="3571359" y="180119"/>
                </a:cubicBezTo>
                <a:cubicBezTo>
                  <a:pt x="3625115" y="180119"/>
                  <a:pt x="3655085" y="229833"/>
                  <a:pt x="3655085" y="321634"/>
                </a:cubicBezTo>
                <a:cubicBezTo>
                  <a:pt x="3655085" y="414189"/>
                  <a:pt x="3625020" y="463149"/>
                  <a:pt x="3571359" y="463149"/>
                </a:cubicBezTo>
                <a:moveTo>
                  <a:pt x="3571359" y="142174"/>
                </a:moveTo>
                <a:cubicBezTo>
                  <a:pt x="3461850" y="142174"/>
                  <a:pt x="3401150" y="222959"/>
                  <a:pt x="3401150" y="321634"/>
                </a:cubicBezTo>
                <a:cubicBezTo>
                  <a:pt x="3401150" y="420309"/>
                  <a:pt x="3461850" y="501094"/>
                  <a:pt x="3571359" y="501094"/>
                </a:cubicBezTo>
                <a:cubicBezTo>
                  <a:pt x="3680868" y="501094"/>
                  <a:pt x="3741569" y="420309"/>
                  <a:pt x="3741569" y="321634"/>
                </a:cubicBezTo>
                <a:cubicBezTo>
                  <a:pt x="3741569" y="222959"/>
                  <a:pt x="3680868" y="142174"/>
                  <a:pt x="3571359" y="142174"/>
                </a:cubicBezTo>
                <a:moveTo>
                  <a:pt x="4332308" y="142174"/>
                </a:moveTo>
                <a:cubicBezTo>
                  <a:pt x="4280646" y="142174"/>
                  <a:pt x="4252103" y="164301"/>
                  <a:pt x="4236024" y="192547"/>
                </a:cubicBezTo>
                <a:lnTo>
                  <a:pt x="4231838" y="192547"/>
                </a:lnTo>
                <a:lnTo>
                  <a:pt x="4231838" y="149048"/>
                </a:lnTo>
                <a:lnTo>
                  <a:pt x="4149539" y="149048"/>
                </a:lnTo>
                <a:lnTo>
                  <a:pt x="4149539" y="494221"/>
                </a:lnTo>
                <a:lnTo>
                  <a:pt x="4231838" y="494221"/>
                </a:lnTo>
                <a:lnTo>
                  <a:pt x="4231838" y="271261"/>
                </a:lnTo>
                <a:cubicBezTo>
                  <a:pt x="4231838" y="220229"/>
                  <a:pt x="4258383" y="190476"/>
                  <a:pt x="4300911" y="190476"/>
                </a:cubicBezTo>
                <a:cubicBezTo>
                  <a:pt x="4342108" y="190476"/>
                  <a:pt x="4360185" y="217404"/>
                  <a:pt x="4360185" y="258173"/>
                </a:cubicBezTo>
                <a:lnTo>
                  <a:pt x="4360185" y="494221"/>
                </a:lnTo>
                <a:lnTo>
                  <a:pt x="4442483" y="494221"/>
                </a:lnTo>
                <a:lnTo>
                  <a:pt x="4442483" y="257420"/>
                </a:lnTo>
                <a:cubicBezTo>
                  <a:pt x="4442578" y="186333"/>
                  <a:pt x="4404902" y="142174"/>
                  <a:pt x="4332308" y="142174"/>
                </a:cubicBezTo>
                <a:moveTo>
                  <a:pt x="4629533" y="142174"/>
                </a:moveTo>
                <a:cubicBezTo>
                  <a:pt x="4553514" y="142174"/>
                  <a:pt x="4496334" y="173905"/>
                  <a:pt x="4496334" y="241602"/>
                </a:cubicBezTo>
                <a:cubicBezTo>
                  <a:pt x="4496334" y="298943"/>
                  <a:pt x="4536103" y="330014"/>
                  <a:pt x="4580725" y="341030"/>
                </a:cubicBezTo>
                <a:lnTo>
                  <a:pt x="4650464" y="358260"/>
                </a:lnTo>
                <a:cubicBezTo>
                  <a:pt x="4687475" y="367205"/>
                  <a:pt x="4704220" y="380387"/>
                  <a:pt x="4704220" y="409387"/>
                </a:cubicBezTo>
                <a:cubicBezTo>
                  <a:pt x="4704220" y="444601"/>
                  <a:pt x="4679102" y="464656"/>
                  <a:pt x="4635146" y="464656"/>
                </a:cubicBezTo>
                <a:cubicBezTo>
                  <a:pt x="4587670" y="464656"/>
                  <a:pt x="4563314" y="441870"/>
                  <a:pt x="4555607" y="384624"/>
                </a:cubicBezTo>
                <a:lnTo>
                  <a:pt x="4481682" y="405338"/>
                </a:lnTo>
                <a:cubicBezTo>
                  <a:pt x="4485868" y="464750"/>
                  <a:pt x="4541716" y="501282"/>
                  <a:pt x="4626108" y="501282"/>
                </a:cubicBezTo>
                <a:cubicBezTo>
                  <a:pt x="4720299" y="501282"/>
                  <a:pt x="4771200" y="457782"/>
                  <a:pt x="4771200" y="388767"/>
                </a:cubicBezTo>
                <a:cubicBezTo>
                  <a:pt x="4771200" y="323894"/>
                  <a:pt x="4725817" y="296965"/>
                  <a:pt x="4678436" y="285196"/>
                </a:cubicBezTo>
                <a:lnTo>
                  <a:pt x="4611456" y="268625"/>
                </a:lnTo>
                <a:cubicBezTo>
                  <a:pt x="4577966" y="260339"/>
                  <a:pt x="4563314" y="245180"/>
                  <a:pt x="4563314" y="223054"/>
                </a:cubicBezTo>
                <a:cubicBezTo>
                  <a:pt x="4563314" y="195466"/>
                  <a:pt x="4587004" y="178895"/>
                  <a:pt x="4622588" y="178895"/>
                </a:cubicBezTo>
                <a:cubicBezTo>
                  <a:pt x="4664450" y="178895"/>
                  <a:pt x="4690234" y="201680"/>
                  <a:pt x="4693754" y="245180"/>
                </a:cubicBezTo>
                <a:lnTo>
                  <a:pt x="4763493" y="224466"/>
                </a:lnTo>
                <a:cubicBezTo>
                  <a:pt x="4755026" y="175976"/>
                  <a:pt x="4706884" y="142174"/>
                  <a:pt x="4629533" y="142174"/>
                </a:cubicBezTo>
                <a:moveTo>
                  <a:pt x="4975471" y="463149"/>
                </a:moveTo>
                <a:cubicBezTo>
                  <a:pt x="4921715" y="463149"/>
                  <a:pt x="4891745" y="412776"/>
                  <a:pt x="4891745" y="321634"/>
                </a:cubicBezTo>
                <a:cubicBezTo>
                  <a:pt x="4891745" y="229080"/>
                  <a:pt x="4921715" y="180119"/>
                  <a:pt x="4975471" y="180119"/>
                </a:cubicBezTo>
                <a:cubicBezTo>
                  <a:pt x="5029226" y="180119"/>
                  <a:pt x="5059196" y="229833"/>
                  <a:pt x="5059196" y="321634"/>
                </a:cubicBezTo>
                <a:cubicBezTo>
                  <a:pt x="5059196" y="414189"/>
                  <a:pt x="5029131" y="463149"/>
                  <a:pt x="4975471" y="463149"/>
                </a:cubicBezTo>
                <a:moveTo>
                  <a:pt x="4975471" y="142174"/>
                </a:moveTo>
                <a:cubicBezTo>
                  <a:pt x="4865962" y="142174"/>
                  <a:pt x="4805261" y="222959"/>
                  <a:pt x="4805261" y="321634"/>
                </a:cubicBezTo>
                <a:cubicBezTo>
                  <a:pt x="4805261" y="420309"/>
                  <a:pt x="4865962" y="501094"/>
                  <a:pt x="4975471" y="501094"/>
                </a:cubicBezTo>
                <a:cubicBezTo>
                  <a:pt x="5084980" y="501094"/>
                  <a:pt x="5145680" y="420309"/>
                  <a:pt x="5145680" y="321634"/>
                </a:cubicBezTo>
                <a:cubicBezTo>
                  <a:pt x="5145680" y="222959"/>
                  <a:pt x="5084980" y="142174"/>
                  <a:pt x="4975471" y="142174"/>
                </a:cubicBezTo>
                <a:moveTo>
                  <a:pt x="5377257" y="142174"/>
                </a:moveTo>
                <a:cubicBezTo>
                  <a:pt x="5325595" y="142174"/>
                  <a:pt x="5297052" y="164301"/>
                  <a:pt x="5280973" y="192547"/>
                </a:cubicBezTo>
                <a:lnTo>
                  <a:pt x="5276787" y="192547"/>
                </a:lnTo>
                <a:lnTo>
                  <a:pt x="5276787" y="149048"/>
                </a:lnTo>
                <a:lnTo>
                  <a:pt x="5194488" y="149048"/>
                </a:lnTo>
                <a:lnTo>
                  <a:pt x="5194488" y="494221"/>
                </a:lnTo>
                <a:lnTo>
                  <a:pt x="5276787" y="494221"/>
                </a:lnTo>
                <a:lnTo>
                  <a:pt x="5276787" y="271261"/>
                </a:lnTo>
                <a:cubicBezTo>
                  <a:pt x="5276787" y="220229"/>
                  <a:pt x="5303331" y="190476"/>
                  <a:pt x="5345860" y="190476"/>
                </a:cubicBezTo>
                <a:cubicBezTo>
                  <a:pt x="5387057" y="190476"/>
                  <a:pt x="5405134" y="217404"/>
                  <a:pt x="5405134" y="258173"/>
                </a:cubicBezTo>
                <a:lnTo>
                  <a:pt x="5405134" y="494221"/>
                </a:lnTo>
                <a:lnTo>
                  <a:pt x="5487432" y="494221"/>
                </a:lnTo>
                <a:lnTo>
                  <a:pt x="5487432" y="257420"/>
                </a:lnTo>
                <a:cubicBezTo>
                  <a:pt x="5487432" y="186333"/>
                  <a:pt x="5449755" y="142174"/>
                  <a:pt x="5377257" y="142174"/>
                </a:cubicBezTo>
                <a:moveTo>
                  <a:pt x="323674" y="11016"/>
                </a:moveTo>
                <a:lnTo>
                  <a:pt x="237190" y="11016"/>
                </a:lnTo>
                <a:lnTo>
                  <a:pt x="237190" y="367864"/>
                </a:lnTo>
                <a:cubicBezTo>
                  <a:pt x="237190" y="425864"/>
                  <a:pt x="214831" y="460325"/>
                  <a:pt x="161837" y="460325"/>
                </a:cubicBezTo>
                <a:cubicBezTo>
                  <a:pt x="109509" y="460325"/>
                  <a:pt x="86484" y="423698"/>
                  <a:pt x="86484" y="360897"/>
                </a:cubicBezTo>
                <a:lnTo>
                  <a:pt x="86484" y="294612"/>
                </a:lnTo>
                <a:lnTo>
                  <a:pt x="0" y="315985"/>
                </a:lnTo>
                <a:lnTo>
                  <a:pt x="0" y="345644"/>
                </a:lnTo>
                <a:cubicBezTo>
                  <a:pt x="0" y="436033"/>
                  <a:pt x="45383" y="505143"/>
                  <a:pt x="161837" y="505143"/>
                </a:cubicBezTo>
                <a:cubicBezTo>
                  <a:pt x="278291" y="505143"/>
                  <a:pt x="323674" y="436127"/>
                  <a:pt x="323674" y="345644"/>
                </a:cubicBezTo>
                <a:lnTo>
                  <a:pt x="323674" y="11016"/>
                </a:lnTo>
                <a:moveTo>
                  <a:pt x="844008" y="11016"/>
                </a:moveTo>
                <a:lnTo>
                  <a:pt x="761710" y="11016"/>
                </a:lnTo>
                <a:lnTo>
                  <a:pt x="761710" y="494221"/>
                </a:lnTo>
                <a:lnTo>
                  <a:pt x="844008" y="494221"/>
                </a:lnTo>
                <a:lnTo>
                  <a:pt x="844008" y="271261"/>
                </a:lnTo>
                <a:cubicBezTo>
                  <a:pt x="844008" y="220229"/>
                  <a:pt x="870553" y="190476"/>
                  <a:pt x="913081" y="190476"/>
                </a:cubicBezTo>
                <a:cubicBezTo>
                  <a:pt x="954278" y="190476"/>
                  <a:pt x="972355" y="217404"/>
                  <a:pt x="972355" y="258173"/>
                </a:cubicBezTo>
                <a:lnTo>
                  <a:pt x="972355" y="494221"/>
                </a:lnTo>
                <a:lnTo>
                  <a:pt x="1054653" y="494221"/>
                </a:lnTo>
                <a:lnTo>
                  <a:pt x="1054653" y="257420"/>
                </a:lnTo>
                <a:cubicBezTo>
                  <a:pt x="1054653" y="186333"/>
                  <a:pt x="1016977" y="142174"/>
                  <a:pt x="944478" y="142174"/>
                </a:cubicBezTo>
                <a:cubicBezTo>
                  <a:pt x="892816" y="142174"/>
                  <a:pt x="864273" y="164301"/>
                  <a:pt x="848194" y="192547"/>
                </a:cubicBezTo>
                <a:lnTo>
                  <a:pt x="844008" y="192547"/>
                </a:lnTo>
                <a:lnTo>
                  <a:pt x="844008" y="11016"/>
                </a:lnTo>
                <a:moveTo>
                  <a:pt x="3352342" y="11016"/>
                </a:moveTo>
                <a:lnTo>
                  <a:pt x="3265857" y="11016"/>
                </a:lnTo>
                <a:lnTo>
                  <a:pt x="3265857" y="367864"/>
                </a:lnTo>
                <a:cubicBezTo>
                  <a:pt x="3265857" y="425864"/>
                  <a:pt x="3243499" y="460325"/>
                  <a:pt x="3190504" y="460325"/>
                </a:cubicBezTo>
                <a:cubicBezTo>
                  <a:pt x="3138176" y="460325"/>
                  <a:pt x="3115152" y="423698"/>
                  <a:pt x="3115152" y="360897"/>
                </a:cubicBezTo>
                <a:lnTo>
                  <a:pt x="3115152" y="294612"/>
                </a:lnTo>
                <a:lnTo>
                  <a:pt x="3028667" y="315985"/>
                </a:lnTo>
                <a:lnTo>
                  <a:pt x="3028667" y="345644"/>
                </a:lnTo>
                <a:cubicBezTo>
                  <a:pt x="3028667" y="436033"/>
                  <a:pt x="3074050" y="505143"/>
                  <a:pt x="3190504" y="505143"/>
                </a:cubicBezTo>
                <a:cubicBezTo>
                  <a:pt x="3306959" y="505143"/>
                  <a:pt x="3352342" y="436127"/>
                  <a:pt x="3352342" y="345644"/>
                </a:cubicBezTo>
                <a:lnTo>
                  <a:pt x="3352342" y="11016"/>
                </a:lnTo>
                <a:moveTo>
                  <a:pt x="3872675" y="11016"/>
                </a:moveTo>
                <a:lnTo>
                  <a:pt x="3790377" y="11016"/>
                </a:lnTo>
                <a:lnTo>
                  <a:pt x="3790377" y="494221"/>
                </a:lnTo>
                <a:lnTo>
                  <a:pt x="3872675" y="494221"/>
                </a:lnTo>
                <a:lnTo>
                  <a:pt x="3872675" y="271261"/>
                </a:lnTo>
                <a:cubicBezTo>
                  <a:pt x="3872675" y="220229"/>
                  <a:pt x="3899220" y="190476"/>
                  <a:pt x="3941749" y="190476"/>
                </a:cubicBezTo>
                <a:cubicBezTo>
                  <a:pt x="3982945" y="190476"/>
                  <a:pt x="4001022" y="217404"/>
                  <a:pt x="4001022" y="258173"/>
                </a:cubicBezTo>
                <a:lnTo>
                  <a:pt x="4001022" y="494221"/>
                </a:lnTo>
                <a:lnTo>
                  <a:pt x="4083320" y="494221"/>
                </a:lnTo>
                <a:lnTo>
                  <a:pt x="4083320" y="257420"/>
                </a:lnTo>
                <a:cubicBezTo>
                  <a:pt x="4083320" y="186333"/>
                  <a:pt x="4045644" y="142174"/>
                  <a:pt x="3973146" y="142174"/>
                </a:cubicBezTo>
                <a:cubicBezTo>
                  <a:pt x="3921483" y="142174"/>
                  <a:pt x="3892941" y="164301"/>
                  <a:pt x="3876861" y="192547"/>
                </a:cubicBezTo>
                <a:lnTo>
                  <a:pt x="3872675" y="192547"/>
                </a:lnTo>
                <a:lnTo>
                  <a:pt x="3872675" y="11016"/>
                </a:lnTo>
                <a:moveTo>
                  <a:pt x="2730110" y="454864"/>
                </a:moveTo>
                <a:cubicBezTo>
                  <a:pt x="2663130" y="454864"/>
                  <a:pt x="2622029" y="401007"/>
                  <a:pt x="2622029" y="343761"/>
                </a:cubicBezTo>
                <a:cubicBezTo>
                  <a:pt x="2622029" y="307887"/>
                  <a:pt x="2638108" y="274745"/>
                  <a:pt x="2664557" y="256102"/>
                </a:cubicBezTo>
                <a:lnTo>
                  <a:pt x="2822208" y="426617"/>
                </a:lnTo>
                <a:cubicBezTo>
                  <a:pt x="2792904" y="443848"/>
                  <a:pt x="2760080" y="454864"/>
                  <a:pt x="2730110" y="454864"/>
                </a:cubicBezTo>
                <a:moveTo>
                  <a:pt x="2883575" y="369936"/>
                </a:moveTo>
                <a:lnTo>
                  <a:pt x="2746856" y="220794"/>
                </a:lnTo>
                <a:cubicBezTo>
                  <a:pt x="2771307" y="211096"/>
                  <a:pt x="2794998" y="207706"/>
                  <a:pt x="2814502" y="207706"/>
                </a:cubicBezTo>
                <a:cubicBezTo>
                  <a:pt x="2871016" y="207706"/>
                  <a:pt x="2905838" y="240190"/>
                  <a:pt x="2905838" y="296118"/>
                </a:cubicBezTo>
                <a:cubicBezTo>
                  <a:pt x="2905934" y="320975"/>
                  <a:pt x="2898893" y="346491"/>
                  <a:pt x="2883575" y="369936"/>
                </a:cubicBezTo>
                <a:moveTo>
                  <a:pt x="2728017" y="200833"/>
                </a:moveTo>
                <a:lnTo>
                  <a:pt x="2698047" y="167690"/>
                </a:lnTo>
                <a:cubicBezTo>
                  <a:pt x="2671503" y="138691"/>
                  <a:pt x="2663891" y="120707"/>
                  <a:pt x="2663891" y="99334"/>
                </a:cubicBezTo>
                <a:cubicBezTo>
                  <a:pt x="2663891" y="59318"/>
                  <a:pt x="2689675" y="36532"/>
                  <a:pt x="2730110" y="36532"/>
                </a:cubicBezTo>
                <a:cubicBezTo>
                  <a:pt x="2771307" y="36532"/>
                  <a:pt x="2795664" y="59977"/>
                  <a:pt x="2795664" y="102817"/>
                </a:cubicBezTo>
                <a:cubicBezTo>
                  <a:pt x="2795664" y="142174"/>
                  <a:pt x="2776159" y="179460"/>
                  <a:pt x="2728017" y="200833"/>
                </a:cubicBezTo>
                <a:moveTo>
                  <a:pt x="2732204" y="0"/>
                </a:moveTo>
                <a:cubicBezTo>
                  <a:pt x="2635920" y="0"/>
                  <a:pt x="2588539" y="53198"/>
                  <a:pt x="2588539" y="119389"/>
                </a:cubicBezTo>
                <a:cubicBezTo>
                  <a:pt x="2588539" y="155262"/>
                  <a:pt x="2603857" y="191229"/>
                  <a:pt x="2644387" y="234635"/>
                </a:cubicBezTo>
                <a:lnTo>
                  <a:pt x="2645053" y="236047"/>
                </a:lnTo>
                <a:cubicBezTo>
                  <a:pt x="2576741" y="268531"/>
                  <a:pt x="2545344" y="320975"/>
                  <a:pt x="2545344" y="374832"/>
                </a:cubicBezTo>
                <a:cubicBezTo>
                  <a:pt x="2545344" y="445919"/>
                  <a:pt x="2600432" y="505331"/>
                  <a:pt x="2685584" y="505331"/>
                </a:cubicBezTo>
                <a:cubicBezTo>
                  <a:pt x="2734392" y="505331"/>
                  <a:pt x="2791573" y="485276"/>
                  <a:pt x="2843235" y="449403"/>
                </a:cubicBezTo>
                <a:lnTo>
                  <a:pt x="2885097" y="494315"/>
                </a:lnTo>
                <a:lnTo>
                  <a:pt x="2994606" y="494315"/>
                </a:lnTo>
                <a:lnTo>
                  <a:pt x="2994606" y="490831"/>
                </a:lnTo>
                <a:lnTo>
                  <a:pt x="2905363" y="393474"/>
                </a:lnTo>
                <a:cubicBezTo>
                  <a:pt x="2943039" y="349316"/>
                  <a:pt x="2964637" y="301014"/>
                  <a:pt x="2964637" y="258833"/>
                </a:cubicBezTo>
                <a:cubicBezTo>
                  <a:pt x="2964637" y="206388"/>
                  <a:pt x="2929053" y="171174"/>
                  <a:pt x="2873300" y="171174"/>
                </a:cubicBezTo>
                <a:cubicBezTo>
                  <a:pt x="2843996" y="171174"/>
                  <a:pt x="2811172" y="179460"/>
                  <a:pt x="2789574" y="187745"/>
                </a:cubicBezTo>
                <a:lnTo>
                  <a:pt x="2788147" y="185015"/>
                </a:lnTo>
                <a:cubicBezTo>
                  <a:pt x="2841142" y="156674"/>
                  <a:pt x="2863500" y="130499"/>
                  <a:pt x="2863500" y="93873"/>
                </a:cubicBezTo>
                <a:cubicBezTo>
                  <a:pt x="2863310" y="41428"/>
                  <a:pt x="2815929" y="0"/>
                  <a:pt x="2732204" y="0"/>
                </a:cubicBezTo>
              </a:path>
            </a:pathLst>
          </a:custGeom>
          <a:solidFill>
            <a:schemeClr val="accent1"/>
          </a:solidFill>
          <a:ln w="9509" cap="flat">
            <a:noFill/>
            <a:prstDash val="solid"/>
            <a:miter/>
          </a:ln>
        </p:spPr>
        <p:txBody>
          <a:bodyPr rtlCol="0" anchor="ctr"/>
          <a:lstStyle/>
          <a:p>
            <a:endParaRPr lang="en-GB"/>
          </a:p>
        </p:txBody>
      </p:sp>
    </p:spTree>
    <p:extLst>
      <p:ext uri="{BB962C8B-B14F-4D97-AF65-F5344CB8AC3E}">
        <p14:creationId xmlns:p14="http://schemas.microsoft.com/office/powerpoint/2010/main" val="220837961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713907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标题幻灯片">
    <p:bg>
      <p:bgPr>
        <a:solidFill>
          <a:schemeClr val="tx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97A17AB-0114-CDE0-D80E-3AAA53BE4837}"/>
              </a:ext>
            </a:extLst>
          </p:cNvPr>
          <p:cNvSpPr>
            <a:spLocks noGrp="1"/>
          </p:cNvSpPr>
          <p:nvPr>
            <p:ph type="ctrTitle"/>
          </p:nvPr>
        </p:nvSpPr>
        <p:spPr>
          <a:xfrm>
            <a:off x="284805" y="262670"/>
            <a:ext cx="9656119" cy="2617640"/>
          </a:xfrm>
        </p:spPr>
        <p:txBody>
          <a:bodyPr anchor="t"/>
          <a:lstStyle>
            <a:lvl1pPr algn="l">
              <a:lnSpc>
                <a:spcPct val="80000"/>
              </a:lnSpc>
              <a:defRPr sz="10500" b="0" i="0" spc="0" baseline="0">
                <a:solidFill>
                  <a:schemeClr val="bg1"/>
                </a:solidFill>
                <a:latin typeface="+mj-lt"/>
              </a:defRPr>
            </a:lvl1pPr>
          </a:lstStyle>
          <a:p>
            <a:r>
              <a:rPr lang="zh-CN" altLang="en-US"/>
              <a:t>单击此处编辑母版标题样式</a:t>
            </a:r>
            <a:endParaRPr lang="en-GB"/>
          </a:p>
        </p:txBody>
      </p:sp>
      <p:sp>
        <p:nvSpPr>
          <p:cNvPr id="9" name="Subtitle 2">
            <a:extLst>
              <a:ext uri="{FF2B5EF4-FFF2-40B4-BE49-F238E27FC236}">
                <a16:creationId xmlns:a16="http://schemas.microsoft.com/office/drawing/2014/main" id="{565D7B25-1665-DB97-EC26-F653F638EABF}"/>
              </a:ext>
            </a:extLst>
          </p:cNvPr>
          <p:cNvSpPr>
            <a:spLocks noGrp="1"/>
          </p:cNvSpPr>
          <p:nvPr>
            <p:ph type="subTitle" idx="1" hasCustomPrompt="1"/>
          </p:nvPr>
        </p:nvSpPr>
        <p:spPr>
          <a:xfrm>
            <a:off x="6165850" y="5892920"/>
            <a:ext cx="2795587" cy="717180"/>
          </a:xfrm>
        </p:spPr>
        <p:txBody>
          <a:bodyPr anchor="b"/>
          <a:lstStyle>
            <a:lvl1pPr marL="0" indent="0" algn="l">
              <a:lnSpc>
                <a:spcPct val="100000"/>
              </a:lnSpc>
              <a:spcBef>
                <a:spcPts val="0"/>
              </a:spcBef>
              <a:spcAft>
                <a:spcPts val="0"/>
              </a:spcAft>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pporting details – delete if not required</a:t>
            </a:r>
          </a:p>
        </p:txBody>
      </p:sp>
      <p:sp>
        <p:nvSpPr>
          <p:cNvPr id="2" name="Graphic 2">
            <a:extLst>
              <a:ext uri="{FF2B5EF4-FFF2-40B4-BE49-F238E27FC236}">
                <a16:creationId xmlns:a16="http://schemas.microsoft.com/office/drawing/2014/main" id="{2E36CEA2-652F-75DC-D683-227EE3CCAC18}"/>
              </a:ext>
            </a:extLst>
          </p:cNvPr>
          <p:cNvSpPr>
            <a:spLocks noChangeAspect="1"/>
          </p:cNvSpPr>
          <p:nvPr/>
        </p:nvSpPr>
        <p:spPr>
          <a:xfrm>
            <a:off x="290513" y="6377853"/>
            <a:ext cx="2034000" cy="187309"/>
          </a:xfrm>
          <a:custGeom>
            <a:avLst/>
            <a:gdLst>
              <a:gd name="connsiteX0" fmla="*/ 542692 w 5487431"/>
              <a:gd name="connsiteY0" fmla="*/ 463149 h 505330"/>
              <a:gd name="connsiteX1" fmla="*/ 458967 w 5487431"/>
              <a:gd name="connsiteY1" fmla="*/ 321634 h 505330"/>
              <a:gd name="connsiteX2" fmla="*/ 542692 w 5487431"/>
              <a:gd name="connsiteY2" fmla="*/ 180119 h 505330"/>
              <a:gd name="connsiteX3" fmla="*/ 626417 w 5487431"/>
              <a:gd name="connsiteY3" fmla="*/ 321634 h 505330"/>
              <a:gd name="connsiteX4" fmla="*/ 542692 w 5487431"/>
              <a:gd name="connsiteY4" fmla="*/ 463149 h 505330"/>
              <a:gd name="connsiteX5" fmla="*/ 542692 w 5487431"/>
              <a:gd name="connsiteY5" fmla="*/ 142174 h 505330"/>
              <a:gd name="connsiteX6" fmla="*/ 372482 w 5487431"/>
              <a:gd name="connsiteY6" fmla="*/ 321634 h 505330"/>
              <a:gd name="connsiteX7" fmla="*/ 542692 w 5487431"/>
              <a:gd name="connsiteY7" fmla="*/ 501094 h 505330"/>
              <a:gd name="connsiteX8" fmla="*/ 712902 w 5487431"/>
              <a:gd name="connsiteY8" fmla="*/ 321634 h 505330"/>
              <a:gd name="connsiteX9" fmla="*/ 542692 w 5487431"/>
              <a:gd name="connsiteY9" fmla="*/ 142174 h 505330"/>
              <a:gd name="connsiteX10" fmla="*/ 1303641 w 5487431"/>
              <a:gd name="connsiteY10" fmla="*/ 142174 h 505330"/>
              <a:gd name="connsiteX11" fmla="*/ 1207357 w 5487431"/>
              <a:gd name="connsiteY11" fmla="*/ 192547 h 505330"/>
              <a:gd name="connsiteX12" fmla="*/ 1203170 w 5487431"/>
              <a:gd name="connsiteY12" fmla="*/ 192547 h 505330"/>
              <a:gd name="connsiteX13" fmla="*/ 1203170 w 5487431"/>
              <a:gd name="connsiteY13" fmla="*/ 149048 h 505330"/>
              <a:gd name="connsiteX14" fmla="*/ 1120872 w 5487431"/>
              <a:gd name="connsiteY14" fmla="*/ 149048 h 505330"/>
              <a:gd name="connsiteX15" fmla="*/ 1120872 w 5487431"/>
              <a:gd name="connsiteY15" fmla="*/ 494221 h 505330"/>
              <a:gd name="connsiteX16" fmla="*/ 1203170 w 5487431"/>
              <a:gd name="connsiteY16" fmla="*/ 494221 h 505330"/>
              <a:gd name="connsiteX17" fmla="*/ 1203170 w 5487431"/>
              <a:gd name="connsiteY17" fmla="*/ 271261 h 505330"/>
              <a:gd name="connsiteX18" fmla="*/ 1272244 w 5487431"/>
              <a:gd name="connsiteY18" fmla="*/ 190476 h 505330"/>
              <a:gd name="connsiteX19" fmla="*/ 1331518 w 5487431"/>
              <a:gd name="connsiteY19" fmla="*/ 258173 h 505330"/>
              <a:gd name="connsiteX20" fmla="*/ 1331518 w 5487431"/>
              <a:gd name="connsiteY20" fmla="*/ 494221 h 505330"/>
              <a:gd name="connsiteX21" fmla="*/ 1413816 w 5487431"/>
              <a:gd name="connsiteY21" fmla="*/ 494221 h 505330"/>
              <a:gd name="connsiteX22" fmla="*/ 1413816 w 5487431"/>
              <a:gd name="connsiteY22" fmla="*/ 257420 h 505330"/>
              <a:gd name="connsiteX23" fmla="*/ 1303641 w 5487431"/>
              <a:gd name="connsiteY23" fmla="*/ 142174 h 505330"/>
              <a:gd name="connsiteX24" fmla="*/ 1600771 w 5487431"/>
              <a:gd name="connsiteY24" fmla="*/ 142174 h 505330"/>
              <a:gd name="connsiteX25" fmla="*/ 1467571 w 5487431"/>
              <a:gd name="connsiteY25" fmla="*/ 241602 h 505330"/>
              <a:gd name="connsiteX26" fmla="*/ 1551962 w 5487431"/>
              <a:gd name="connsiteY26" fmla="*/ 341030 h 505330"/>
              <a:gd name="connsiteX27" fmla="*/ 1621702 w 5487431"/>
              <a:gd name="connsiteY27" fmla="*/ 358260 h 505330"/>
              <a:gd name="connsiteX28" fmla="*/ 1675457 w 5487431"/>
              <a:gd name="connsiteY28" fmla="*/ 409387 h 505330"/>
              <a:gd name="connsiteX29" fmla="*/ 1606384 w 5487431"/>
              <a:gd name="connsiteY29" fmla="*/ 464656 h 505330"/>
              <a:gd name="connsiteX30" fmla="*/ 1526845 w 5487431"/>
              <a:gd name="connsiteY30" fmla="*/ 384624 h 505330"/>
              <a:gd name="connsiteX31" fmla="*/ 1452919 w 5487431"/>
              <a:gd name="connsiteY31" fmla="*/ 405338 h 505330"/>
              <a:gd name="connsiteX32" fmla="*/ 1597345 w 5487431"/>
              <a:gd name="connsiteY32" fmla="*/ 501282 h 505330"/>
              <a:gd name="connsiteX33" fmla="*/ 1742438 w 5487431"/>
              <a:gd name="connsiteY33" fmla="*/ 388767 h 505330"/>
              <a:gd name="connsiteX34" fmla="*/ 1649674 w 5487431"/>
              <a:gd name="connsiteY34" fmla="*/ 285196 h 505330"/>
              <a:gd name="connsiteX35" fmla="*/ 1582693 w 5487431"/>
              <a:gd name="connsiteY35" fmla="*/ 268625 h 505330"/>
              <a:gd name="connsiteX36" fmla="*/ 1534551 w 5487431"/>
              <a:gd name="connsiteY36" fmla="*/ 223054 h 505330"/>
              <a:gd name="connsiteX37" fmla="*/ 1593825 w 5487431"/>
              <a:gd name="connsiteY37" fmla="*/ 178895 h 505330"/>
              <a:gd name="connsiteX38" fmla="*/ 1664992 w 5487431"/>
              <a:gd name="connsiteY38" fmla="*/ 245180 h 505330"/>
              <a:gd name="connsiteX39" fmla="*/ 1734731 w 5487431"/>
              <a:gd name="connsiteY39" fmla="*/ 224466 h 505330"/>
              <a:gd name="connsiteX40" fmla="*/ 1600771 w 5487431"/>
              <a:gd name="connsiteY40" fmla="*/ 142174 h 505330"/>
              <a:gd name="connsiteX41" fmla="*/ 1946803 w 5487431"/>
              <a:gd name="connsiteY41" fmla="*/ 463149 h 505330"/>
              <a:gd name="connsiteX42" fmla="*/ 1863078 w 5487431"/>
              <a:gd name="connsiteY42" fmla="*/ 321634 h 505330"/>
              <a:gd name="connsiteX43" fmla="*/ 1946803 w 5487431"/>
              <a:gd name="connsiteY43" fmla="*/ 180119 h 505330"/>
              <a:gd name="connsiteX44" fmla="*/ 2030529 w 5487431"/>
              <a:gd name="connsiteY44" fmla="*/ 321634 h 505330"/>
              <a:gd name="connsiteX45" fmla="*/ 1946803 w 5487431"/>
              <a:gd name="connsiteY45" fmla="*/ 463149 h 505330"/>
              <a:gd name="connsiteX46" fmla="*/ 1946803 w 5487431"/>
              <a:gd name="connsiteY46" fmla="*/ 142174 h 505330"/>
              <a:gd name="connsiteX47" fmla="*/ 1776594 w 5487431"/>
              <a:gd name="connsiteY47" fmla="*/ 321634 h 505330"/>
              <a:gd name="connsiteX48" fmla="*/ 1946803 w 5487431"/>
              <a:gd name="connsiteY48" fmla="*/ 501094 h 505330"/>
              <a:gd name="connsiteX49" fmla="*/ 2117013 w 5487431"/>
              <a:gd name="connsiteY49" fmla="*/ 321634 h 505330"/>
              <a:gd name="connsiteX50" fmla="*/ 1946803 w 5487431"/>
              <a:gd name="connsiteY50" fmla="*/ 142174 h 505330"/>
              <a:gd name="connsiteX51" fmla="*/ 2348590 w 5487431"/>
              <a:gd name="connsiteY51" fmla="*/ 142174 h 505330"/>
              <a:gd name="connsiteX52" fmla="*/ 2252306 w 5487431"/>
              <a:gd name="connsiteY52" fmla="*/ 192547 h 505330"/>
              <a:gd name="connsiteX53" fmla="*/ 2248119 w 5487431"/>
              <a:gd name="connsiteY53" fmla="*/ 192547 h 505330"/>
              <a:gd name="connsiteX54" fmla="*/ 2248119 w 5487431"/>
              <a:gd name="connsiteY54" fmla="*/ 149048 h 505330"/>
              <a:gd name="connsiteX55" fmla="*/ 2165821 w 5487431"/>
              <a:gd name="connsiteY55" fmla="*/ 149048 h 505330"/>
              <a:gd name="connsiteX56" fmla="*/ 2165821 w 5487431"/>
              <a:gd name="connsiteY56" fmla="*/ 494221 h 505330"/>
              <a:gd name="connsiteX57" fmla="*/ 2248119 w 5487431"/>
              <a:gd name="connsiteY57" fmla="*/ 494221 h 505330"/>
              <a:gd name="connsiteX58" fmla="*/ 2248119 w 5487431"/>
              <a:gd name="connsiteY58" fmla="*/ 271261 h 505330"/>
              <a:gd name="connsiteX59" fmla="*/ 2317193 w 5487431"/>
              <a:gd name="connsiteY59" fmla="*/ 190476 h 505330"/>
              <a:gd name="connsiteX60" fmla="*/ 2376466 w 5487431"/>
              <a:gd name="connsiteY60" fmla="*/ 258173 h 505330"/>
              <a:gd name="connsiteX61" fmla="*/ 2376466 w 5487431"/>
              <a:gd name="connsiteY61" fmla="*/ 494221 h 505330"/>
              <a:gd name="connsiteX62" fmla="*/ 2458764 w 5487431"/>
              <a:gd name="connsiteY62" fmla="*/ 494221 h 505330"/>
              <a:gd name="connsiteX63" fmla="*/ 2458764 w 5487431"/>
              <a:gd name="connsiteY63" fmla="*/ 257420 h 505330"/>
              <a:gd name="connsiteX64" fmla="*/ 2348590 w 5487431"/>
              <a:gd name="connsiteY64" fmla="*/ 142174 h 505330"/>
              <a:gd name="connsiteX65" fmla="*/ 3571359 w 5487431"/>
              <a:gd name="connsiteY65" fmla="*/ 463149 h 505330"/>
              <a:gd name="connsiteX66" fmla="*/ 3487634 w 5487431"/>
              <a:gd name="connsiteY66" fmla="*/ 321634 h 505330"/>
              <a:gd name="connsiteX67" fmla="*/ 3571359 w 5487431"/>
              <a:gd name="connsiteY67" fmla="*/ 180119 h 505330"/>
              <a:gd name="connsiteX68" fmla="*/ 3655085 w 5487431"/>
              <a:gd name="connsiteY68" fmla="*/ 321634 h 505330"/>
              <a:gd name="connsiteX69" fmla="*/ 3571359 w 5487431"/>
              <a:gd name="connsiteY69" fmla="*/ 463149 h 505330"/>
              <a:gd name="connsiteX70" fmla="*/ 3571359 w 5487431"/>
              <a:gd name="connsiteY70" fmla="*/ 142174 h 505330"/>
              <a:gd name="connsiteX71" fmla="*/ 3401150 w 5487431"/>
              <a:gd name="connsiteY71" fmla="*/ 321634 h 505330"/>
              <a:gd name="connsiteX72" fmla="*/ 3571359 w 5487431"/>
              <a:gd name="connsiteY72" fmla="*/ 501094 h 505330"/>
              <a:gd name="connsiteX73" fmla="*/ 3741569 w 5487431"/>
              <a:gd name="connsiteY73" fmla="*/ 321634 h 505330"/>
              <a:gd name="connsiteX74" fmla="*/ 3571359 w 5487431"/>
              <a:gd name="connsiteY74" fmla="*/ 142174 h 505330"/>
              <a:gd name="connsiteX75" fmla="*/ 4332308 w 5487431"/>
              <a:gd name="connsiteY75" fmla="*/ 142174 h 505330"/>
              <a:gd name="connsiteX76" fmla="*/ 4236024 w 5487431"/>
              <a:gd name="connsiteY76" fmla="*/ 192547 h 505330"/>
              <a:gd name="connsiteX77" fmla="*/ 4231838 w 5487431"/>
              <a:gd name="connsiteY77" fmla="*/ 192547 h 505330"/>
              <a:gd name="connsiteX78" fmla="*/ 4231838 w 5487431"/>
              <a:gd name="connsiteY78" fmla="*/ 149048 h 505330"/>
              <a:gd name="connsiteX79" fmla="*/ 4149539 w 5487431"/>
              <a:gd name="connsiteY79" fmla="*/ 149048 h 505330"/>
              <a:gd name="connsiteX80" fmla="*/ 4149539 w 5487431"/>
              <a:gd name="connsiteY80" fmla="*/ 494221 h 505330"/>
              <a:gd name="connsiteX81" fmla="*/ 4231838 w 5487431"/>
              <a:gd name="connsiteY81" fmla="*/ 494221 h 505330"/>
              <a:gd name="connsiteX82" fmla="*/ 4231838 w 5487431"/>
              <a:gd name="connsiteY82" fmla="*/ 271261 h 505330"/>
              <a:gd name="connsiteX83" fmla="*/ 4300911 w 5487431"/>
              <a:gd name="connsiteY83" fmla="*/ 190476 h 505330"/>
              <a:gd name="connsiteX84" fmla="*/ 4360185 w 5487431"/>
              <a:gd name="connsiteY84" fmla="*/ 258173 h 505330"/>
              <a:gd name="connsiteX85" fmla="*/ 4360185 w 5487431"/>
              <a:gd name="connsiteY85" fmla="*/ 494221 h 505330"/>
              <a:gd name="connsiteX86" fmla="*/ 4442483 w 5487431"/>
              <a:gd name="connsiteY86" fmla="*/ 494221 h 505330"/>
              <a:gd name="connsiteX87" fmla="*/ 4442483 w 5487431"/>
              <a:gd name="connsiteY87" fmla="*/ 257420 h 505330"/>
              <a:gd name="connsiteX88" fmla="*/ 4332308 w 5487431"/>
              <a:gd name="connsiteY88" fmla="*/ 142174 h 505330"/>
              <a:gd name="connsiteX89" fmla="*/ 4629533 w 5487431"/>
              <a:gd name="connsiteY89" fmla="*/ 142174 h 505330"/>
              <a:gd name="connsiteX90" fmla="*/ 4496334 w 5487431"/>
              <a:gd name="connsiteY90" fmla="*/ 241602 h 505330"/>
              <a:gd name="connsiteX91" fmla="*/ 4580725 w 5487431"/>
              <a:gd name="connsiteY91" fmla="*/ 341030 h 505330"/>
              <a:gd name="connsiteX92" fmla="*/ 4650464 w 5487431"/>
              <a:gd name="connsiteY92" fmla="*/ 358260 h 505330"/>
              <a:gd name="connsiteX93" fmla="*/ 4704220 w 5487431"/>
              <a:gd name="connsiteY93" fmla="*/ 409387 h 505330"/>
              <a:gd name="connsiteX94" fmla="*/ 4635146 w 5487431"/>
              <a:gd name="connsiteY94" fmla="*/ 464656 h 505330"/>
              <a:gd name="connsiteX95" fmla="*/ 4555607 w 5487431"/>
              <a:gd name="connsiteY95" fmla="*/ 384624 h 505330"/>
              <a:gd name="connsiteX96" fmla="*/ 4481682 w 5487431"/>
              <a:gd name="connsiteY96" fmla="*/ 405338 h 505330"/>
              <a:gd name="connsiteX97" fmla="*/ 4626108 w 5487431"/>
              <a:gd name="connsiteY97" fmla="*/ 501282 h 505330"/>
              <a:gd name="connsiteX98" fmla="*/ 4771200 w 5487431"/>
              <a:gd name="connsiteY98" fmla="*/ 388767 h 505330"/>
              <a:gd name="connsiteX99" fmla="*/ 4678436 w 5487431"/>
              <a:gd name="connsiteY99" fmla="*/ 285196 h 505330"/>
              <a:gd name="connsiteX100" fmla="*/ 4611456 w 5487431"/>
              <a:gd name="connsiteY100" fmla="*/ 268625 h 505330"/>
              <a:gd name="connsiteX101" fmla="*/ 4563314 w 5487431"/>
              <a:gd name="connsiteY101" fmla="*/ 223054 h 505330"/>
              <a:gd name="connsiteX102" fmla="*/ 4622588 w 5487431"/>
              <a:gd name="connsiteY102" fmla="*/ 178895 h 505330"/>
              <a:gd name="connsiteX103" fmla="*/ 4693754 w 5487431"/>
              <a:gd name="connsiteY103" fmla="*/ 245180 h 505330"/>
              <a:gd name="connsiteX104" fmla="*/ 4763493 w 5487431"/>
              <a:gd name="connsiteY104" fmla="*/ 224466 h 505330"/>
              <a:gd name="connsiteX105" fmla="*/ 4629533 w 5487431"/>
              <a:gd name="connsiteY105" fmla="*/ 142174 h 505330"/>
              <a:gd name="connsiteX106" fmla="*/ 4975471 w 5487431"/>
              <a:gd name="connsiteY106" fmla="*/ 463149 h 505330"/>
              <a:gd name="connsiteX107" fmla="*/ 4891745 w 5487431"/>
              <a:gd name="connsiteY107" fmla="*/ 321634 h 505330"/>
              <a:gd name="connsiteX108" fmla="*/ 4975471 w 5487431"/>
              <a:gd name="connsiteY108" fmla="*/ 180119 h 505330"/>
              <a:gd name="connsiteX109" fmla="*/ 5059196 w 5487431"/>
              <a:gd name="connsiteY109" fmla="*/ 321634 h 505330"/>
              <a:gd name="connsiteX110" fmla="*/ 4975471 w 5487431"/>
              <a:gd name="connsiteY110" fmla="*/ 463149 h 505330"/>
              <a:gd name="connsiteX111" fmla="*/ 4975471 w 5487431"/>
              <a:gd name="connsiteY111" fmla="*/ 142174 h 505330"/>
              <a:gd name="connsiteX112" fmla="*/ 4805261 w 5487431"/>
              <a:gd name="connsiteY112" fmla="*/ 321634 h 505330"/>
              <a:gd name="connsiteX113" fmla="*/ 4975471 w 5487431"/>
              <a:gd name="connsiteY113" fmla="*/ 501094 h 505330"/>
              <a:gd name="connsiteX114" fmla="*/ 5145680 w 5487431"/>
              <a:gd name="connsiteY114" fmla="*/ 321634 h 505330"/>
              <a:gd name="connsiteX115" fmla="*/ 4975471 w 5487431"/>
              <a:gd name="connsiteY115" fmla="*/ 142174 h 505330"/>
              <a:gd name="connsiteX116" fmla="*/ 5377257 w 5487431"/>
              <a:gd name="connsiteY116" fmla="*/ 142174 h 505330"/>
              <a:gd name="connsiteX117" fmla="*/ 5280973 w 5487431"/>
              <a:gd name="connsiteY117" fmla="*/ 192547 h 505330"/>
              <a:gd name="connsiteX118" fmla="*/ 5276787 w 5487431"/>
              <a:gd name="connsiteY118" fmla="*/ 192547 h 505330"/>
              <a:gd name="connsiteX119" fmla="*/ 5276787 w 5487431"/>
              <a:gd name="connsiteY119" fmla="*/ 149048 h 505330"/>
              <a:gd name="connsiteX120" fmla="*/ 5194488 w 5487431"/>
              <a:gd name="connsiteY120" fmla="*/ 149048 h 505330"/>
              <a:gd name="connsiteX121" fmla="*/ 5194488 w 5487431"/>
              <a:gd name="connsiteY121" fmla="*/ 494221 h 505330"/>
              <a:gd name="connsiteX122" fmla="*/ 5276787 w 5487431"/>
              <a:gd name="connsiteY122" fmla="*/ 494221 h 505330"/>
              <a:gd name="connsiteX123" fmla="*/ 5276787 w 5487431"/>
              <a:gd name="connsiteY123" fmla="*/ 271261 h 505330"/>
              <a:gd name="connsiteX124" fmla="*/ 5345860 w 5487431"/>
              <a:gd name="connsiteY124" fmla="*/ 190476 h 505330"/>
              <a:gd name="connsiteX125" fmla="*/ 5405134 w 5487431"/>
              <a:gd name="connsiteY125" fmla="*/ 258173 h 505330"/>
              <a:gd name="connsiteX126" fmla="*/ 5405134 w 5487431"/>
              <a:gd name="connsiteY126" fmla="*/ 494221 h 505330"/>
              <a:gd name="connsiteX127" fmla="*/ 5487432 w 5487431"/>
              <a:gd name="connsiteY127" fmla="*/ 494221 h 505330"/>
              <a:gd name="connsiteX128" fmla="*/ 5487432 w 5487431"/>
              <a:gd name="connsiteY128" fmla="*/ 257420 h 505330"/>
              <a:gd name="connsiteX129" fmla="*/ 5377257 w 5487431"/>
              <a:gd name="connsiteY129" fmla="*/ 142174 h 505330"/>
              <a:gd name="connsiteX130" fmla="*/ 323674 w 5487431"/>
              <a:gd name="connsiteY130" fmla="*/ 11016 h 505330"/>
              <a:gd name="connsiteX131" fmla="*/ 237190 w 5487431"/>
              <a:gd name="connsiteY131" fmla="*/ 11016 h 505330"/>
              <a:gd name="connsiteX132" fmla="*/ 237190 w 5487431"/>
              <a:gd name="connsiteY132" fmla="*/ 367864 h 505330"/>
              <a:gd name="connsiteX133" fmla="*/ 161837 w 5487431"/>
              <a:gd name="connsiteY133" fmla="*/ 460325 h 505330"/>
              <a:gd name="connsiteX134" fmla="*/ 86484 w 5487431"/>
              <a:gd name="connsiteY134" fmla="*/ 360897 h 505330"/>
              <a:gd name="connsiteX135" fmla="*/ 86484 w 5487431"/>
              <a:gd name="connsiteY135" fmla="*/ 294612 h 505330"/>
              <a:gd name="connsiteX136" fmla="*/ 0 w 5487431"/>
              <a:gd name="connsiteY136" fmla="*/ 315985 h 505330"/>
              <a:gd name="connsiteX137" fmla="*/ 0 w 5487431"/>
              <a:gd name="connsiteY137" fmla="*/ 345644 h 505330"/>
              <a:gd name="connsiteX138" fmla="*/ 161837 w 5487431"/>
              <a:gd name="connsiteY138" fmla="*/ 505143 h 505330"/>
              <a:gd name="connsiteX139" fmla="*/ 323674 w 5487431"/>
              <a:gd name="connsiteY139" fmla="*/ 345644 h 505330"/>
              <a:gd name="connsiteX140" fmla="*/ 323674 w 5487431"/>
              <a:gd name="connsiteY140" fmla="*/ 11016 h 505330"/>
              <a:gd name="connsiteX141" fmla="*/ 844008 w 5487431"/>
              <a:gd name="connsiteY141" fmla="*/ 11016 h 505330"/>
              <a:gd name="connsiteX142" fmla="*/ 761710 w 5487431"/>
              <a:gd name="connsiteY142" fmla="*/ 11016 h 505330"/>
              <a:gd name="connsiteX143" fmla="*/ 761710 w 5487431"/>
              <a:gd name="connsiteY143" fmla="*/ 494221 h 505330"/>
              <a:gd name="connsiteX144" fmla="*/ 844008 w 5487431"/>
              <a:gd name="connsiteY144" fmla="*/ 494221 h 505330"/>
              <a:gd name="connsiteX145" fmla="*/ 844008 w 5487431"/>
              <a:gd name="connsiteY145" fmla="*/ 271261 h 505330"/>
              <a:gd name="connsiteX146" fmla="*/ 913081 w 5487431"/>
              <a:gd name="connsiteY146" fmla="*/ 190476 h 505330"/>
              <a:gd name="connsiteX147" fmla="*/ 972355 w 5487431"/>
              <a:gd name="connsiteY147" fmla="*/ 258173 h 505330"/>
              <a:gd name="connsiteX148" fmla="*/ 972355 w 5487431"/>
              <a:gd name="connsiteY148" fmla="*/ 494221 h 505330"/>
              <a:gd name="connsiteX149" fmla="*/ 1054653 w 5487431"/>
              <a:gd name="connsiteY149" fmla="*/ 494221 h 505330"/>
              <a:gd name="connsiteX150" fmla="*/ 1054653 w 5487431"/>
              <a:gd name="connsiteY150" fmla="*/ 257420 h 505330"/>
              <a:gd name="connsiteX151" fmla="*/ 944478 w 5487431"/>
              <a:gd name="connsiteY151" fmla="*/ 142174 h 505330"/>
              <a:gd name="connsiteX152" fmla="*/ 848194 w 5487431"/>
              <a:gd name="connsiteY152" fmla="*/ 192547 h 505330"/>
              <a:gd name="connsiteX153" fmla="*/ 844008 w 5487431"/>
              <a:gd name="connsiteY153" fmla="*/ 192547 h 505330"/>
              <a:gd name="connsiteX154" fmla="*/ 844008 w 5487431"/>
              <a:gd name="connsiteY154" fmla="*/ 11016 h 505330"/>
              <a:gd name="connsiteX155" fmla="*/ 3352342 w 5487431"/>
              <a:gd name="connsiteY155" fmla="*/ 11016 h 505330"/>
              <a:gd name="connsiteX156" fmla="*/ 3265857 w 5487431"/>
              <a:gd name="connsiteY156" fmla="*/ 11016 h 505330"/>
              <a:gd name="connsiteX157" fmla="*/ 3265857 w 5487431"/>
              <a:gd name="connsiteY157" fmla="*/ 367864 h 505330"/>
              <a:gd name="connsiteX158" fmla="*/ 3190504 w 5487431"/>
              <a:gd name="connsiteY158" fmla="*/ 460325 h 505330"/>
              <a:gd name="connsiteX159" fmla="*/ 3115152 w 5487431"/>
              <a:gd name="connsiteY159" fmla="*/ 360897 h 505330"/>
              <a:gd name="connsiteX160" fmla="*/ 3115152 w 5487431"/>
              <a:gd name="connsiteY160" fmla="*/ 294612 h 505330"/>
              <a:gd name="connsiteX161" fmla="*/ 3028667 w 5487431"/>
              <a:gd name="connsiteY161" fmla="*/ 315985 h 505330"/>
              <a:gd name="connsiteX162" fmla="*/ 3028667 w 5487431"/>
              <a:gd name="connsiteY162" fmla="*/ 345644 h 505330"/>
              <a:gd name="connsiteX163" fmla="*/ 3190504 w 5487431"/>
              <a:gd name="connsiteY163" fmla="*/ 505143 h 505330"/>
              <a:gd name="connsiteX164" fmla="*/ 3352342 w 5487431"/>
              <a:gd name="connsiteY164" fmla="*/ 345644 h 505330"/>
              <a:gd name="connsiteX165" fmla="*/ 3352342 w 5487431"/>
              <a:gd name="connsiteY165" fmla="*/ 11016 h 505330"/>
              <a:gd name="connsiteX166" fmla="*/ 3872675 w 5487431"/>
              <a:gd name="connsiteY166" fmla="*/ 11016 h 505330"/>
              <a:gd name="connsiteX167" fmla="*/ 3790377 w 5487431"/>
              <a:gd name="connsiteY167" fmla="*/ 11016 h 505330"/>
              <a:gd name="connsiteX168" fmla="*/ 3790377 w 5487431"/>
              <a:gd name="connsiteY168" fmla="*/ 494221 h 505330"/>
              <a:gd name="connsiteX169" fmla="*/ 3872675 w 5487431"/>
              <a:gd name="connsiteY169" fmla="*/ 494221 h 505330"/>
              <a:gd name="connsiteX170" fmla="*/ 3872675 w 5487431"/>
              <a:gd name="connsiteY170" fmla="*/ 271261 h 505330"/>
              <a:gd name="connsiteX171" fmla="*/ 3941749 w 5487431"/>
              <a:gd name="connsiteY171" fmla="*/ 190476 h 505330"/>
              <a:gd name="connsiteX172" fmla="*/ 4001022 w 5487431"/>
              <a:gd name="connsiteY172" fmla="*/ 258173 h 505330"/>
              <a:gd name="connsiteX173" fmla="*/ 4001022 w 5487431"/>
              <a:gd name="connsiteY173" fmla="*/ 494221 h 505330"/>
              <a:gd name="connsiteX174" fmla="*/ 4083320 w 5487431"/>
              <a:gd name="connsiteY174" fmla="*/ 494221 h 505330"/>
              <a:gd name="connsiteX175" fmla="*/ 4083320 w 5487431"/>
              <a:gd name="connsiteY175" fmla="*/ 257420 h 505330"/>
              <a:gd name="connsiteX176" fmla="*/ 3973146 w 5487431"/>
              <a:gd name="connsiteY176" fmla="*/ 142174 h 505330"/>
              <a:gd name="connsiteX177" fmla="*/ 3876861 w 5487431"/>
              <a:gd name="connsiteY177" fmla="*/ 192547 h 505330"/>
              <a:gd name="connsiteX178" fmla="*/ 3872675 w 5487431"/>
              <a:gd name="connsiteY178" fmla="*/ 192547 h 505330"/>
              <a:gd name="connsiteX179" fmla="*/ 3872675 w 5487431"/>
              <a:gd name="connsiteY179" fmla="*/ 11016 h 505330"/>
              <a:gd name="connsiteX180" fmla="*/ 2730110 w 5487431"/>
              <a:gd name="connsiteY180" fmla="*/ 454864 h 505330"/>
              <a:gd name="connsiteX181" fmla="*/ 2622029 w 5487431"/>
              <a:gd name="connsiteY181" fmla="*/ 343761 h 505330"/>
              <a:gd name="connsiteX182" fmla="*/ 2664557 w 5487431"/>
              <a:gd name="connsiteY182" fmla="*/ 256102 h 505330"/>
              <a:gd name="connsiteX183" fmla="*/ 2822208 w 5487431"/>
              <a:gd name="connsiteY183" fmla="*/ 426617 h 505330"/>
              <a:gd name="connsiteX184" fmla="*/ 2730110 w 5487431"/>
              <a:gd name="connsiteY184" fmla="*/ 454864 h 505330"/>
              <a:gd name="connsiteX185" fmla="*/ 2883575 w 5487431"/>
              <a:gd name="connsiteY185" fmla="*/ 369936 h 505330"/>
              <a:gd name="connsiteX186" fmla="*/ 2746856 w 5487431"/>
              <a:gd name="connsiteY186" fmla="*/ 220794 h 505330"/>
              <a:gd name="connsiteX187" fmla="*/ 2814502 w 5487431"/>
              <a:gd name="connsiteY187" fmla="*/ 207706 h 505330"/>
              <a:gd name="connsiteX188" fmla="*/ 2905838 w 5487431"/>
              <a:gd name="connsiteY188" fmla="*/ 296118 h 505330"/>
              <a:gd name="connsiteX189" fmla="*/ 2883575 w 5487431"/>
              <a:gd name="connsiteY189" fmla="*/ 369936 h 505330"/>
              <a:gd name="connsiteX190" fmla="*/ 2728017 w 5487431"/>
              <a:gd name="connsiteY190" fmla="*/ 200833 h 505330"/>
              <a:gd name="connsiteX191" fmla="*/ 2698047 w 5487431"/>
              <a:gd name="connsiteY191" fmla="*/ 167690 h 505330"/>
              <a:gd name="connsiteX192" fmla="*/ 2663891 w 5487431"/>
              <a:gd name="connsiteY192" fmla="*/ 99334 h 505330"/>
              <a:gd name="connsiteX193" fmla="*/ 2730110 w 5487431"/>
              <a:gd name="connsiteY193" fmla="*/ 36532 h 505330"/>
              <a:gd name="connsiteX194" fmla="*/ 2795664 w 5487431"/>
              <a:gd name="connsiteY194" fmla="*/ 102817 h 505330"/>
              <a:gd name="connsiteX195" fmla="*/ 2728017 w 5487431"/>
              <a:gd name="connsiteY195" fmla="*/ 200833 h 505330"/>
              <a:gd name="connsiteX196" fmla="*/ 2732204 w 5487431"/>
              <a:gd name="connsiteY196" fmla="*/ 0 h 505330"/>
              <a:gd name="connsiteX197" fmla="*/ 2588539 w 5487431"/>
              <a:gd name="connsiteY197" fmla="*/ 119389 h 505330"/>
              <a:gd name="connsiteX198" fmla="*/ 2644387 w 5487431"/>
              <a:gd name="connsiteY198" fmla="*/ 234635 h 505330"/>
              <a:gd name="connsiteX199" fmla="*/ 2645053 w 5487431"/>
              <a:gd name="connsiteY199" fmla="*/ 236047 h 505330"/>
              <a:gd name="connsiteX200" fmla="*/ 2545344 w 5487431"/>
              <a:gd name="connsiteY200" fmla="*/ 374832 h 505330"/>
              <a:gd name="connsiteX201" fmla="*/ 2685584 w 5487431"/>
              <a:gd name="connsiteY201" fmla="*/ 505331 h 505330"/>
              <a:gd name="connsiteX202" fmla="*/ 2843235 w 5487431"/>
              <a:gd name="connsiteY202" fmla="*/ 449403 h 505330"/>
              <a:gd name="connsiteX203" fmla="*/ 2885097 w 5487431"/>
              <a:gd name="connsiteY203" fmla="*/ 494315 h 505330"/>
              <a:gd name="connsiteX204" fmla="*/ 2994606 w 5487431"/>
              <a:gd name="connsiteY204" fmla="*/ 494315 h 505330"/>
              <a:gd name="connsiteX205" fmla="*/ 2994606 w 5487431"/>
              <a:gd name="connsiteY205" fmla="*/ 490831 h 505330"/>
              <a:gd name="connsiteX206" fmla="*/ 2905363 w 5487431"/>
              <a:gd name="connsiteY206" fmla="*/ 393474 h 505330"/>
              <a:gd name="connsiteX207" fmla="*/ 2964637 w 5487431"/>
              <a:gd name="connsiteY207" fmla="*/ 258833 h 505330"/>
              <a:gd name="connsiteX208" fmla="*/ 2873300 w 5487431"/>
              <a:gd name="connsiteY208" fmla="*/ 171174 h 505330"/>
              <a:gd name="connsiteX209" fmla="*/ 2789574 w 5487431"/>
              <a:gd name="connsiteY209" fmla="*/ 187745 h 505330"/>
              <a:gd name="connsiteX210" fmla="*/ 2788147 w 5487431"/>
              <a:gd name="connsiteY210" fmla="*/ 185015 h 505330"/>
              <a:gd name="connsiteX211" fmla="*/ 2863500 w 5487431"/>
              <a:gd name="connsiteY211" fmla="*/ 93873 h 505330"/>
              <a:gd name="connsiteX212" fmla="*/ 2732204 w 5487431"/>
              <a:gd name="connsiteY212" fmla="*/ 0 h 50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5487431" h="505330">
                <a:moveTo>
                  <a:pt x="542692" y="463149"/>
                </a:moveTo>
                <a:cubicBezTo>
                  <a:pt x="488937" y="463149"/>
                  <a:pt x="458967" y="412776"/>
                  <a:pt x="458967" y="321634"/>
                </a:cubicBezTo>
                <a:cubicBezTo>
                  <a:pt x="458967" y="229080"/>
                  <a:pt x="488937" y="180119"/>
                  <a:pt x="542692" y="180119"/>
                </a:cubicBezTo>
                <a:cubicBezTo>
                  <a:pt x="596448" y="180119"/>
                  <a:pt x="626417" y="229833"/>
                  <a:pt x="626417" y="321634"/>
                </a:cubicBezTo>
                <a:cubicBezTo>
                  <a:pt x="626322" y="414189"/>
                  <a:pt x="596352" y="463149"/>
                  <a:pt x="542692" y="463149"/>
                </a:cubicBezTo>
                <a:moveTo>
                  <a:pt x="542692" y="142174"/>
                </a:moveTo>
                <a:cubicBezTo>
                  <a:pt x="433183" y="142174"/>
                  <a:pt x="372482" y="222959"/>
                  <a:pt x="372482" y="321634"/>
                </a:cubicBezTo>
                <a:cubicBezTo>
                  <a:pt x="372482" y="420309"/>
                  <a:pt x="433183" y="501094"/>
                  <a:pt x="542692" y="501094"/>
                </a:cubicBezTo>
                <a:cubicBezTo>
                  <a:pt x="652201" y="501094"/>
                  <a:pt x="712902" y="420309"/>
                  <a:pt x="712902" y="321634"/>
                </a:cubicBezTo>
                <a:cubicBezTo>
                  <a:pt x="712902" y="222959"/>
                  <a:pt x="652201" y="142174"/>
                  <a:pt x="542692" y="142174"/>
                </a:cubicBezTo>
                <a:moveTo>
                  <a:pt x="1303641" y="142174"/>
                </a:moveTo>
                <a:cubicBezTo>
                  <a:pt x="1251979" y="142174"/>
                  <a:pt x="1223436" y="164301"/>
                  <a:pt x="1207357" y="192547"/>
                </a:cubicBezTo>
                <a:lnTo>
                  <a:pt x="1203170" y="192547"/>
                </a:lnTo>
                <a:lnTo>
                  <a:pt x="1203170" y="149048"/>
                </a:lnTo>
                <a:lnTo>
                  <a:pt x="1120872" y="149048"/>
                </a:lnTo>
                <a:lnTo>
                  <a:pt x="1120872" y="494221"/>
                </a:lnTo>
                <a:lnTo>
                  <a:pt x="1203170" y="494221"/>
                </a:lnTo>
                <a:lnTo>
                  <a:pt x="1203170" y="271261"/>
                </a:lnTo>
                <a:cubicBezTo>
                  <a:pt x="1203170" y="220229"/>
                  <a:pt x="1229715" y="190476"/>
                  <a:pt x="1272244" y="190476"/>
                </a:cubicBezTo>
                <a:cubicBezTo>
                  <a:pt x="1313440" y="190476"/>
                  <a:pt x="1331518" y="217404"/>
                  <a:pt x="1331518" y="258173"/>
                </a:cubicBezTo>
                <a:lnTo>
                  <a:pt x="1331518" y="494221"/>
                </a:lnTo>
                <a:lnTo>
                  <a:pt x="1413816" y="494221"/>
                </a:lnTo>
                <a:lnTo>
                  <a:pt x="1413816" y="257420"/>
                </a:lnTo>
                <a:cubicBezTo>
                  <a:pt x="1413911" y="186333"/>
                  <a:pt x="1376234" y="142174"/>
                  <a:pt x="1303641" y="142174"/>
                </a:cubicBezTo>
                <a:moveTo>
                  <a:pt x="1600771" y="142174"/>
                </a:moveTo>
                <a:cubicBezTo>
                  <a:pt x="1524752" y="142174"/>
                  <a:pt x="1467571" y="173905"/>
                  <a:pt x="1467571" y="241602"/>
                </a:cubicBezTo>
                <a:cubicBezTo>
                  <a:pt x="1467571" y="298943"/>
                  <a:pt x="1507341" y="330014"/>
                  <a:pt x="1551962" y="341030"/>
                </a:cubicBezTo>
                <a:lnTo>
                  <a:pt x="1621702" y="358260"/>
                </a:lnTo>
                <a:cubicBezTo>
                  <a:pt x="1658712" y="367205"/>
                  <a:pt x="1675457" y="380387"/>
                  <a:pt x="1675457" y="409387"/>
                </a:cubicBezTo>
                <a:cubicBezTo>
                  <a:pt x="1675457" y="444601"/>
                  <a:pt x="1650340" y="464656"/>
                  <a:pt x="1606384" y="464656"/>
                </a:cubicBezTo>
                <a:cubicBezTo>
                  <a:pt x="1558908" y="464656"/>
                  <a:pt x="1534551" y="441870"/>
                  <a:pt x="1526845" y="384624"/>
                </a:cubicBezTo>
                <a:lnTo>
                  <a:pt x="1452919" y="405338"/>
                </a:lnTo>
                <a:cubicBezTo>
                  <a:pt x="1457106" y="464750"/>
                  <a:pt x="1512954" y="501282"/>
                  <a:pt x="1597345" y="501282"/>
                </a:cubicBezTo>
                <a:cubicBezTo>
                  <a:pt x="1691536" y="501282"/>
                  <a:pt x="1742438" y="457782"/>
                  <a:pt x="1742438" y="388767"/>
                </a:cubicBezTo>
                <a:cubicBezTo>
                  <a:pt x="1742438" y="323894"/>
                  <a:pt x="1697055" y="296965"/>
                  <a:pt x="1649674" y="285196"/>
                </a:cubicBezTo>
                <a:lnTo>
                  <a:pt x="1582693" y="268625"/>
                </a:lnTo>
                <a:cubicBezTo>
                  <a:pt x="1549203" y="260339"/>
                  <a:pt x="1534551" y="245180"/>
                  <a:pt x="1534551" y="223054"/>
                </a:cubicBezTo>
                <a:cubicBezTo>
                  <a:pt x="1534551" y="195466"/>
                  <a:pt x="1558242" y="178895"/>
                  <a:pt x="1593825" y="178895"/>
                </a:cubicBezTo>
                <a:cubicBezTo>
                  <a:pt x="1635688" y="178895"/>
                  <a:pt x="1661471" y="201680"/>
                  <a:pt x="1664992" y="245180"/>
                </a:cubicBezTo>
                <a:lnTo>
                  <a:pt x="1734731" y="224466"/>
                </a:lnTo>
                <a:cubicBezTo>
                  <a:pt x="1726358" y="175976"/>
                  <a:pt x="1678216" y="142174"/>
                  <a:pt x="1600771" y="142174"/>
                </a:cubicBezTo>
                <a:moveTo>
                  <a:pt x="1946803" y="463149"/>
                </a:moveTo>
                <a:cubicBezTo>
                  <a:pt x="1893048" y="463149"/>
                  <a:pt x="1863078" y="412776"/>
                  <a:pt x="1863078" y="321634"/>
                </a:cubicBezTo>
                <a:cubicBezTo>
                  <a:pt x="1863078" y="229080"/>
                  <a:pt x="1893048" y="180119"/>
                  <a:pt x="1946803" y="180119"/>
                </a:cubicBezTo>
                <a:cubicBezTo>
                  <a:pt x="2000559" y="180119"/>
                  <a:pt x="2030529" y="229833"/>
                  <a:pt x="2030529" y="321634"/>
                </a:cubicBezTo>
                <a:cubicBezTo>
                  <a:pt x="2030529" y="414189"/>
                  <a:pt x="2000464" y="463149"/>
                  <a:pt x="1946803" y="463149"/>
                </a:cubicBezTo>
                <a:moveTo>
                  <a:pt x="1946803" y="142174"/>
                </a:moveTo>
                <a:cubicBezTo>
                  <a:pt x="1837294" y="142174"/>
                  <a:pt x="1776594" y="222959"/>
                  <a:pt x="1776594" y="321634"/>
                </a:cubicBezTo>
                <a:cubicBezTo>
                  <a:pt x="1776594" y="420309"/>
                  <a:pt x="1837294" y="501094"/>
                  <a:pt x="1946803" y="501094"/>
                </a:cubicBezTo>
                <a:cubicBezTo>
                  <a:pt x="2056312" y="501094"/>
                  <a:pt x="2117013" y="420309"/>
                  <a:pt x="2117013" y="321634"/>
                </a:cubicBezTo>
                <a:cubicBezTo>
                  <a:pt x="2117013" y="222959"/>
                  <a:pt x="2056312" y="142174"/>
                  <a:pt x="1946803" y="142174"/>
                </a:cubicBezTo>
                <a:moveTo>
                  <a:pt x="2348590" y="142174"/>
                </a:moveTo>
                <a:cubicBezTo>
                  <a:pt x="2296927" y="142174"/>
                  <a:pt x="2268385" y="164301"/>
                  <a:pt x="2252306" y="192547"/>
                </a:cubicBezTo>
                <a:lnTo>
                  <a:pt x="2248119" y="192547"/>
                </a:lnTo>
                <a:lnTo>
                  <a:pt x="2248119" y="149048"/>
                </a:lnTo>
                <a:lnTo>
                  <a:pt x="2165821" y="149048"/>
                </a:lnTo>
                <a:lnTo>
                  <a:pt x="2165821" y="494221"/>
                </a:lnTo>
                <a:lnTo>
                  <a:pt x="2248119" y="494221"/>
                </a:lnTo>
                <a:lnTo>
                  <a:pt x="2248119" y="271261"/>
                </a:lnTo>
                <a:cubicBezTo>
                  <a:pt x="2248119" y="220229"/>
                  <a:pt x="2274664" y="190476"/>
                  <a:pt x="2317193" y="190476"/>
                </a:cubicBezTo>
                <a:cubicBezTo>
                  <a:pt x="2358389" y="190476"/>
                  <a:pt x="2376466" y="217404"/>
                  <a:pt x="2376466" y="258173"/>
                </a:cubicBezTo>
                <a:lnTo>
                  <a:pt x="2376466" y="494221"/>
                </a:lnTo>
                <a:lnTo>
                  <a:pt x="2458764" y="494221"/>
                </a:lnTo>
                <a:lnTo>
                  <a:pt x="2458764" y="257420"/>
                </a:lnTo>
                <a:cubicBezTo>
                  <a:pt x="2458764" y="186333"/>
                  <a:pt x="2421088" y="142174"/>
                  <a:pt x="2348590" y="142174"/>
                </a:cubicBezTo>
                <a:moveTo>
                  <a:pt x="3571359" y="463149"/>
                </a:moveTo>
                <a:cubicBezTo>
                  <a:pt x="3517604" y="463149"/>
                  <a:pt x="3487634" y="412776"/>
                  <a:pt x="3487634" y="321634"/>
                </a:cubicBezTo>
                <a:cubicBezTo>
                  <a:pt x="3487634" y="229080"/>
                  <a:pt x="3517604" y="180119"/>
                  <a:pt x="3571359" y="180119"/>
                </a:cubicBezTo>
                <a:cubicBezTo>
                  <a:pt x="3625115" y="180119"/>
                  <a:pt x="3655085" y="229833"/>
                  <a:pt x="3655085" y="321634"/>
                </a:cubicBezTo>
                <a:cubicBezTo>
                  <a:pt x="3655085" y="414189"/>
                  <a:pt x="3625020" y="463149"/>
                  <a:pt x="3571359" y="463149"/>
                </a:cubicBezTo>
                <a:moveTo>
                  <a:pt x="3571359" y="142174"/>
                </a:moveTo>
                <a:cubicBezTo>
                  <a:pt x="3461850" y="142174"/>
                  <a:pt x="3401150" y="222959"/>
                  <a:pt x="3401150" y="321634"/>
                </a:cubicBezTo>
                <a:cubicBezTo>
                  <a:pt x="3401150" y="420309"/>
                  <a:pt x="3461850" y="501094"/>
                  <a:pt x="3571359" y="501094"/>
                </a:cubicBezTo>
                <a:cubicBezTo>
                  <a:pt x="3680868" y="501094"/>
                  <a:pt x="3741569" y="420309"/>
                  <a:pt x="3741569" y="321634"/>
                </a:cubicBezTo>
                <a:cubicBezTo>
                  <a:pt x="3741569" y="222959"/>
                  <a:pt x="3680868" y="142174"/>
                  <a:pt x="3571359" y="142174"/>
                </a:cubicBezTo>
                <a:moveTo>
                  <a:pt x="4332308" y="142174"/>
                </a:moveTo>
                <a:cubicBezTo>
                  <a:pt x="4280646" y="142174"/>
                  <a:pt x="4252103" y="164301"/>
                  <a:pt x="4236024" y="192547"/>
                </a:cubicBezTo>
                <a:lnTo>
                  <a:pt x="4231838" y="192547"/>
                </a:lnTo>
                <a:lnTo>
                  <a:pt x="4231838" y="149048"/>
                </a:lnTo>
                <a:lnTo>
                  <a:pt x="4149539" y="149048"/>
                </a:lnTo>
                <a:lnTo>
                  <a:pt x="4149539" y="494221"/>
                </a:lnTo>
                <a:lnTo>
                  <a:pt x="4231838" y="494221"/>
                </a:lnTo>
                <a:lnTo>
                  <a:pt x="4231838" y="271261"/>
                </a:lnTo>
                <a:cubicBezTo>
                  <a:pt x="4231838" y="220229"/>
                  <a:pt x="4258383" y="190476"/>
                  <a:pt x="4300911" y="190476"/>
                </a:cubicBezTo>
                <a:cubicBezTo>
                  <a:pt x="4342108" y="190476"/>
                  <a:pt x="4360185" y="217404"/>
                  <a:pt x="4360185" y="258173"/>
                </a:cubicBezTo>
                <a:lnTo>
                  <a:pt x="4360185" y="494221"/>
                </a:lnTo>
                <a:lnTo>
                  <a:pt x="4442483" y="494221"/>
                </a:lnTo>
                <a:lnTo>
                  <a:pt x="4442483" y="257420"/>
                </a:lnTo>
                <a:cubicBezTo>
                  <a:pt x="4442578" y="186333"/>
                  <a:pt x="4404902" y="142174"/>
                  <a:pt x="4332308" y="142174"/>
                </a:cubicBezTo>
                <a:moveTo>
                  <a:pt x="4629533" y="142174"/>
                </a:moveTo>
                <a:cubicBezTo>
                  <a:pt x="4553514" y="142174"/>
                  <a:pt x="4496334" y="173905"/>
                  <a:pt x="4496334" y="241602"/>
                </a:cubicBezTo>
                <a:cubicBezTo>
                  <a:pt x="4496334" y="298943"/>
                  <a:pt x="4536103" y="330014"/>
                  <a:pt x="4580725" y="341030"/>
                </a:cubicBezTo>
                <a:lnTo>
                  <a:pt x="4650464" y="358260"/>
                </a:lnTo>
                <a:cubicBezTo>
                  <a:pt x="4687475" y="367205"/>
                  <a:pt x="4704220" y="380387"/>
                  <a:pt x="4704220" y="409387"/>
                </a:cubicBezTo>
                <a:cubicBezTo>
                  <a:pt x="4704220" y="444601"/>
                  <a:pt x="4679102" y="464656"/>
                  <a:pt x="4635146" y="464656"/>
                </a:cubicBezTo>
                <a:cubicBezTo>
                  <a:pt x="4587670" y="464656"/>
                  <a:pt x="4563314" y="441870"/>
                  <a:pt x="4555607" y="384624"/>
                </a:cubicBezTo>
                <a:lnTo>
                  <a:pt x="4481682" y="405338"/>
                </a:lnTo>
                <a:cubicBezTo>
                  <a:pt x="4485868" y="464750"/>
                  <a:pt x="4541716" y="501282"/>
                  <a:pt x="4626108" y="501282"/>
                </a:cubicBezTo>
                <a:cubicBezTo>
                  <a:pt x="4720299" y="501282"/>
                  <a:pt x="4771200" y="457782"/>
                  <a:pt x="4771200" y="388767"/>
                </a:cubicBezTo>
                <a:cubicBezTo>
                  <a:pt x="4771200" y="323894"/>
                  <a:pt x="4725817" y="296965"/>
                  <a:pt x="4678436" y="285196"/>
                </a:cubicBezTo>
                <a:lnTo>
                  <a:pt x="4611456" y="268625"/>
                </a:lnTo>
                <a:cubicBezTo>
                  <a:pt x="4577966" y="260339"/>
                  <a:pt x="4563314" y="245180"/>
                  <a:pt x="4563314" y="223054"/>
                </a:cubicBezTo>
                <a:cubicBezTo>
                  <a:pt x="4563314" y="195466"/>
                  <a:pt x="4587004" y="178895"/>
                  <a:pt x="4622588" y="178895"/>
                </a:cubicBezTo>
                <a:cubicBezTo>
                  <a:pt x="4664450" y="178895"/>
                  <a:pt x="4690234" y="201680"/>
                  <a:pt x="4693754" y="245180"/>
                </a:cubicBezTo>
                <a:lnTo>
                  <a:pt x="4763493" y="224466"/>
                </a:lnTo>
                <a:cubicBezTo>
                  <a:pt x="4755026" y="175976"/>
                  <a:pt x="4706884" y="142174"/>
                  <a:pt x="4629533" y="142174"/>
                </a:cubicBezTo>
                <a:moveTo>
                  <a:pt x="4975471" y="463149"/>
                </a:moveTo>
                <a:cubicBezTo>
                  <a:pt x="4921715" y="463149"/>
                  <a:pt x="4891745" y="412776"/>
                  <a:pt x="4891745" y="321634"/>
                </a:cubicBezTo>
                <a:cubicBezTo>
                  <a:pt x="4891745" y="229080"/>
                  <a:pt x="4921715" y="180119"/>
                  <a:pt x="4975471" y="180119"/>
                </a:cubicBezTo>
                <a:cubicBezTo>
                  <a:pt x="5029226" y="180119"/>
                  <a:pt x="5059196" y="229833"/>
                  <a:pt x="5059196" y="321634"/>
                </a:cubicBezTo>
                <a:cubicBezTo>
                  <a:pt x="5059196" y="414189"/>
                  <a:pt x="5029131" y="463149"/>
                  <a:pt x="4975471" y="463149"/>
                </a:cubicBezTo>
                <a:moveTo>
                  <a:pt x="4975471" y="142174"/>
                </a:moveTo>
                <a:cubicBezTo>
                  <a:pt x="4865962" y="142174"/>
                  <a:pt x="4805261" y="222959"/>
                  <a:pt x="4805261" y="321634"/>
                </a:cubicBezTo>
                <a:cubicBezTo>
                  <a:pt x="4805261" y="420309"/>
                  <a:pt x="4865962" y="501094"/>
                  <a:pt x="4975471" y="501094"/>
                </a:cubicBezTo>
                <a:cubicBezTo>
                  <a:pt x="5084980" y="501094"/>
                  <a:pt x="5145680" y="420309"/>
                  <a:pt x="5145680" y="321634"/>
                </a:cubicBezTo>
                <a:cubicBezTo>
                  <a:pt x="5145680" y="222959"/>
                  <a:pt x="5084980" y="142174"/>
                  <a:pt x="4975471" y="142174"/>
                </a:cubicBezTo>
                <a:moveTo>
                  <a:pt x="5377257" y="142174"/>
                </a:moveTo>
                <a:cubicBezTo>
                  <a:pt x="5325595" y="142174"/>
                  <a:pt x="5297052" y="164301"/>
                  <a:pt x="5280973" y="192547"/>
                </a:cubicBezTo>
                <a:lnTo>
                  <a:pt x="5276787" y="192547"/>
                </a:lnTo>
                <a:lnTo>
                  <a:pt x="5276787" y="149048"/>
                </a:lnTo>
                <a:lnTo>
                  <a:pt x="5194488" y="149048"/>
                </a:lnTo>
                <a:lnTo>
                  <a:pt x="5194488" y="494221"/>
                </a:lnTo>
                <a:lnTo>
                  <a:pt x="5276787" y="494221"/>
                </a:lnTo>
                <a:lnTo>
                  <a:pt x="5276787" y="271261"/>
                </a:lnTo>
                <a:cubicBezTo>
                  <a:pt x="5276787" y="220229"/>
                  <a:pt x="5303331" y="190476"/>
                  <a:pt x="5345860" y="190476"/>
                </a:cubicBezTo>
                <a:cubicBezTo>
                  <a:pt x="5387057" y="190476"/>
                  <a:pt x="5405134" y="217404"/>
                  <a:pt x="5405134" y="258173"/>
                </a:cubicBezTo>
                <a:lnTo>
                  <a:pt x="5405134" y="494221"/>
                </a:lnTo>
                <a:lnTo>
                  <a:pt x="5487432" y="494221"/>
                </a:lnTo>
                <a:lnTo>
                  <a:pt x="5487432" y="257420"/>
                </a:lnTo>
                <a:cubicBezTo>
                  <a:pt x="5487432" y="186333"/>
                  <a:pt x="5449755" y="142174"/>
                  <a:pt x="5377257" y="142174"/>
                </a:cubicBezTo>
                <a:moveTo>
                  <a:pt x="323674" y="11016"/>
                </a:moveTo>
                <a:lnTo>
                  <a:pt x="237190" y="11016"/>
                </a:lnTo>
                <a:lnTo>
                  <a:pt x="237190" y="367864"/>
                </a:lnTo>
                <a:cubicBezTo>
                  <a:pt x="237190" y="425864"/>
                  <a:pt x="214831" y="460325"/>
                  <a:pt x="161837" y="460325"/>
                </a:cubicBezTo>
                <a:cubicBezTo>
                  <a:pt x="109509" y="460325"/>
                  <a:pt x="86484" y="423698"/>
                  <a:pt x="86484" y="360897"/>
                </a:cubicBezTo>
                <a:lnTo>
                  <a:pt x="86484" y="294612"/>
                </a:lnTo>
                <a:lnTo>
                  <a:pt x="0" y="315985"/>
                </a:lnTo>
                <a:lnTo>
                  <a:pt x="0" y="345644"/>
                </a:lnTo>
                <a:cubicBezTo>
                  <a:pt x="0" y="436033"/>
                  <a:pt x="45383" y="505143"/>
                  <a:pt x="161837" y="505143"/>
                </a:cubicBezTo>
                <a:cubicBezTo>
                  <a:pt x="278291" y="505143"/>
                  <a:pt x="323674" y="436127"/>
                  <a:pt x="323674" y="345644"/>
                </a:cubicBezTo>
                <a:lnTo>
                  <a:pt x="323674" y="11016"/>
                </a:lnTo>
                <a:moveTo>
                  <a:pt x="844008" y="11016"/>
                </a:moveTo>
                <a:lnTo>
                  <a:pt x="761710" y="11016"/>
                </a:lnTo>
                <a:lnTo>
                  <a:pt x="761710" y="494221"/>
                </a:lnTo>
                <a:lnTo>
                  <a:pt x="844008" y="494221"/>
                </a:lnTo>
                <a:lnTo>
                  <a:pt x="844008" y="271261"/>
                </a:lnTo>
                <a:cubicBezTo>
                  <a:pt x="844008" y="220229"/>
                  <a:pt x="870553" y="190476"/>
                  <a:pt x="913081" y="190476"/>
                </a:cubicBezTo>
                <a:cubicBezTo>
                  <a:pt x="954278" y="190476"/>
                  <a:pt x="972355" y="217404"/>
                  <a:pt x="972355" y="258173"/>
                </a:cubicBezTo>
                <a:lnTo>
                  <a:pt x="972355" y="494221"/>
                </a:lnTo>
                <a:lnTo>
                  <a:pt x="1054653" y="494221"/>
                </a:lnTo>
                <a:lnTo>
                  <a:pt x="1054653" y="257420"/>
                </a:lnTo>
                <a:cubicBezTo>
                  <a:pt x="1054653" y="186333"/>
                  <a:pt x="1016977" y="142174"/>
                  <a:pt x="944478" y="142174"/>
                </a:cubicBezTo>
                <a:cubicBezTo>
                  <a:pt x="892816" y="142174"/>
                  <a:pt x="864273" y="164301"/>
                  <a:pt x="848194" y="192547"/>
                </a:cubicBezTo>
                <a:lnTo>
                  <a:pt x="844008" y="192547"/>
                </a:lnTo>
                <a:lnTo>
                  <a:pt x="844008" y="11016"/>
                </a:lnTo>
                <a:moveTo>
                  <a:pt x="3352342" y="11016"/>
                </a:moveTo>
                <a:lnTo>
                  <a:pt x="3265857" y="11016"/>
                </a:lnTo>
                <a:lnTo>
                  <a:pt x="3265857" y="367864"/>
                </a:lnTo>
                <a:cubicBezTo>
                  <a:pt x="3265857" y="425864"/>
                  <a:pt x="3243499" y="460325"/>
                  <a:pt x="3190504" y="460325"/>
                </a:cubicBezTo>
                <a:cubicBezTo>
                  <a:pt x="3138176" y="460325"/>
                  <a:pt x="3115152" y="423698"/>
                  <a:pt x="3115152" y="360897"/>
                </a:cubicBezTo>
                <a:lnTo>
                  <a:pt x="3115152" y="294612"/>
                </a:lnTo>
                <a:lnTo>
                  <a:pt x="3028667" y="315985"/>
                </a:lnTo>
                <a:lnTo>
                  <a:pt x="3028667" y="345644"/>
                </a:lnTo>
                <a:cubicBezTo>
                  <a:pt x="3028667" y="436033"/>
                  <a:pt x="3074050" y="505143"/>
                  <a:pt x="3190504" y="505143"/>
                </a:cubicBezTo>
                <a:cubicBezTo>
                  <a:pt x="3306959" y="505143"/>
                  <a:pt x="3352342" y="436127"/>
                  <a:pt x="3352342" y="345644"/>
                </a:cubicBezTo>
                <a:lnTo>
                  <a:pt x="3352342" y="11016"/>
                </a:lnTo>
                <a:moveTo>
                  <a:pt x="3872675" y="11016"/>
                </a:moveTo>
                <a:lnTo>
                  <a:pt x="3790377" y="11016"/>
                </a:lnTo>
                <a:lnTo>
                  <a:pt x="3790377" y="494221"/>
                </a:lnTo>
                <a:lnTo>
                  <a:pt x="3872675" y="494221"/>
                </a:lnTo>
                <a:lnTo>
                  <a:pt x="3872675" y="271261"/>
                </a:lnTo>
                <a:cubicBezTo>
                  <a:pt x="3872675" y="220229"/>
                  <a:pt x="3899220" y="190476"/>
                  <a:pt x="3941749" y="190476"/>
                </a:cubicBezTo>
                <a:cubicBezTo>
                  <a:pt x="3982945" y="190476"/>
                  <a:pt x="4001022" y="217404"/>
                  <a:pt x="4001022" y="258173"/>
                </a:cubicBezTo>
                <a:lnTo>
                  <a:pt x="4001022" y="494221"/>
                </a:lnTo>
                <a:lnTo>
                  <a:pt x="4083320" y="494221"/>
                </a:lnTo>
                <a:lnTo>
                  <a:pt x="4083320" y="257420"/>
                </a:lnTo>
                <a:cubicBezTo>
                  <a:pt x="4083320" y="186333"/>
                  <a:pt x="4045644" y="142174"/>
                  <a:pt x="3973146" y="142174"/>
                </a:cubicBezTo>
                <a:cubicBezTo>
                  <a:pt x="3921483" y="142174"/>
                  <a:pt x="3892941" y="164301"/>
                  <a:pt x="3876861" y="192547"/>
                </a:cubicBezTo>
                <a:lnTo>
                  <a:pt x="3872675" y="192547"/>
                </a:lnTo>
                <a:lnTo>
                  <a:pt x="3872675" y="11016"/>
                </a:lnTo>
                <a:moveTo>
                  <a:pt x="2730110" y="454864"/>
                </a:moveTo>
                <a:cubicBezTo>
                  <a:pt x="2663130" y="454864"/>
                  <a:pt x="2622029" y="401007"/>
                  <a:pt x="2622029" y="343761"/>
                </a:cubicBezTo>
                <a:cubicBezTo>
                  <a:pt x="2622029" y="307887"/>
                  <a:pt x="2638108" y="274745"/>
                  <a:pt x="2664557" y="256102"/>
                </a:cubicBezTo>
                <a:lnTo>
                  <a:pt x="2822208" y="426617"/>
                </a:lnTo>
                <a:cubicBezTo>
                  <a:pt x="2792904" y="443848"/>
                  <a:pt x="2760080" y="454864"/>
                  <a:pt x="2730110" y="454864"/>
                </a:cubicBezTo>
                <a:moveTo>
                  <a:pt x="2883575" y="369936"/>
                </a:moveTo>
                <a:lnTo>
                  <a:pt x="2746856" y="220794"/>
                </a:lnTo>
                <a:cubicBezTo>
                  <a:pt x="2771307" y="211096"/>
                  <a:pt x="2794998" y="207706"/>
                  <a:pt x="2814502" y="207706"/>
                </a:cubicBezTo>
                <a:cubicBezTo>
                  <a:pt x="2871016" y="207706"/>
                  <a:pt x="2905838" y="240190"/>
                  <a:pt x="2905838" y="296118"/>
                </a:cubicBezTo>
                <a:cubicBezTo>
                  <a:pt x="2905934" y="320975"/>
                  <a:pt x="2898893" y="346491"/>
                  <a:pt x="2883575" y="369936"/>
                </a:cubicBezTo>
                <a:moveTo>
                  <a:pt x="2728017" y="200833"/>
                </a:moveTo>
                <a:lnTo>
                  <a:pt x="2698047" y="167690"/>
                </a:lnTo>
                <a:cubicBezTo>
                  <a:pt x="2671503" y="138691"/>
                  <a:pt x="2663891" y="120707"/>
                  <a:pt x="2663891" y="99334"/>
                </a:cubicBezTo>
                <a:cubicBezTo>
                  <a:pt x="2663891" y="59318"/>
                  <a:pt x="2689675" y="36532"/>
                  <a:pt x="2730110" y="36532"/>
                </a:cubicBezTo>
                <a:cubicBezTo>
                  <a:pt x="2771307" y="36532"/>
                  <a:pt x="2795664" y="59977"/>
                  <a:pt x="2795664" y="102817"/>
                </a:cubicBezTo>
                <a:cubicBezTo>
                  <a:pt x="2795664" y="142174"/>
                  <a:pt x="2776159" y="179460"/>
                  <a:pt x="2728017" y="200833"/>
                </a:cubicBezTo>
                <a:moveTo>
                  <a:pt x="2732204" y="0"/>
                </a:moveTo>
                <a:cubicBezTo>
                  <a:pt x="2635920" y="0"/>
                  <a:pt x="2588539" y="53198"/>
                  <a:pt x="2588539" y="119389"/>
                </a:cubicBezTo>
                <a:cubicBezTo>
                  <a:pt x="2588539" y="155262"/>
                  <a:pt x="2603857" y="191229"/>
                  <a:pt x="2644387" y="234635"/>
                </a:cubicBezTo>
                <a:lnTo>
                  <a:pt x="2645053" y="236047"/>
                </a:lnTo>
                <a:cubicBezTo>
                  <a:pt x="2576741" y="268531"/>
                  <a:pt x="2545344" y="320975"/>
                  <a:pt x="2545344" y="374832"/>
                </a:cubicBezTo>
                <a:cubicBezTo>
                  <a:pt x="2545344" y="445919"/>
                  <a:pt x="2600432" y="505331"/>
                  <a:pt x="2685584" y="505331"/>
                </a:cubicBezTo>
                <a:cubicBezTo>
                  <a:pt x="2734392" y="505331"/>
                  <a:pt x="2791573" y="485276"/>
                  <a:pt x="2843235" y="449403"/>
                </a:cubicBezTo>
                <a:lnTo>
                  <a:pt x="2885097" y="494315"/>
                </a:lnTo>
                <a:lnTo>
                  <a:pt x="2994606" y="494315"/>
                </a:lnTo>
                <a:lnTo>
                  <a:pt x="2994606" y="490831"/>
                </a:lnTo>
                <a:lnTo>
                  <a:pt x="2905363" y="393474"/>
                </a:lnTo>
                <a:cubicBezTo>
                  <a:pt x="2943039" y="349316"/>
                  <a:pt x="2964637" y="301014"/>
                  <a:pt x="2964637" y="258833"/>
                </a:cubicBezTo>
                <a:cubicBezTo>
                  <a:pt x="2964637" y="206388"/>
                  <a:pt x="2929053" y="171174"/>
                  <a:pt x="2873300" y="171174"/>
                </a:cubicBezTo>
                <a:cubicBezTo>
                  <a:pt x="2843996" y="171174"/>
                  <a:pt x="2811172" y="179460"/>
                  <a:pt x="2789574" y="187745"/>
                </a:cubicBezTo>
                <a:lnTo>
                  <a:pt x="2788147" y="185015"/>
                </a:lnTo>
                <a:cubicBezTo>
                  <a:pt x="2841142" y="156674"/>
                  <a:pt x="2863500" y="130499"/>
                  <a:pt x="2863500" y="93873"/>
                </a:cubicBezTo>
                <a:cubicBezTo>
                  <a:pt x="2863310" y="41428"/>
                  <a:pt x="2815929" y="0"/>
                  <a:pt x="2732204" y="0"/>
                </a:cubicBezTo>
              </a:path>
            </a:pathLst>
          </a:custGeom>
          <a:solidFill>
            <a:schemeClr val="bg1"/>
          </a:solidFill>
          <a:ln w="9509" cap="flat">
            <a:noFill/>
            <a:prstDash val="solid"/>
            <a:miter/>
          </a:ln>
        </p:spPr>
        <p:txBody>
          <a:bodyPr rtlCol="0" anchor="ctr"/>
          <a:lstStyle/>
          <a:p>
            <a:endParaRPr lang="en-GB"/>
          </a:p>
        </p:txBody>
      </p:sp>
      <p:sp>
        <p:nvSpPr>
          <p:cNvPr id="3" name="Footer Placeholder 4">
            <a:extLst>
              <a:ext uri="{FF2B5EF4-FFF2-40B4-BE49-F238E27FC236}">
                <a16:creationId xmlns:a16="http://schemas.microsoft.com/office/drawing/2014/main" id="{ABB0B53B-8CD4-6B14-06ED-C68D2192235A}"/>
              </a:ext>
            </a:extLst>
          </p:cNvPr>
          <p:cNvSpPr txBox="1">
            <a:spLocks/>
          </p:cNvSpPr>
          <p:nvPr/>
        </p:nvSpPr>
        <p:spPr>
          <a:xfrm>
            <a:off x="9772073" y="6424023"/>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0" i="0" kern="1200">
                <a:solidFill>
                  <a:schemeClr val="bg1"/>
                </a:solidFill>
                <a:latin typeface="+mn-lt"/>
                <a:ea typeface="+mn-ea"/>
                <a:cs typeface="+mn-cs"/>
              </a:rPr>
              <a:t>HEALTH CARE COMPLIANCE</a:t>
            </a:r>
          </a:p>
        </p:txBody>
      </p:sp>
    </p:spTree>
    <p:extLst>
      <p:ext uri="{BB962C8B-B14F-4D97-AF65-F5344CB8AC3E}">
        <p14:creationId xmlns:p14="http://schemas.microsoft.com/office/powerpoint/2010/main" val="1511013919"/>
      </p:ext>
    </p:extLst>
  </p:cSld>
  <p:clrMapOvr>
    <a:masterClrMapping/>
  </p:clrMapOvr>
  <p:hf hdr="0" dt="0"/>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Title Slide [Accessible Version]">
    <p:bg>
      <p:bgPr>
        <a:solidFill>
          <a:srgbClr val="F6F3F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97A17AB-0114-CDE0-D80E-3AAA53BE4837}"/>
              </a:ext>
            </a:extLst>
          </p:cNvPr>
          <p:cNvSpPr>
            <a:spLocks noGrp="1"/>
          </p:cNvSpPr>
          <p:nvPr>
            <p:ph type="ctrTitle"/>
          </p:nvPr>
        </p:nvSpPr>
        <p:spPr>
          <a:xfrm>
            <a:off x="284805" y="261082"/>
            <a:ext cx="9656119" cy="2617640"/>
          </a:xfrm>
        </p:spPr>
        <p:txBody>
          <a:bodyPr anchor="t"/>
          <a:lstStyle>
            <a:lvl1pPr algn="l">
              <a:lnSpc>
                <a:spcPct val="80000"/>
              </a:lnSpc>
              <a:defRPr sz="10500" b="0" i="0" spc="0" baseline="0">
                <a:solidFill>
                  <a:schemeClr val="tx2"/>
                </a:solidFill>
                <a:latin typeface="+mj-lt"/>
              </a:defRPr>
            </a:lvl1pPr>
          </a:lstStyle>
          <a:p>
            <a:r>
              <a:rPr lang="zh-CN" altLang="en-US"/>
              <a:t>单击此处编辑母版标题样式</a:t>
            </a:r>
            <a:endParaRPr lang="en-GB"/>
          </a:p>
        </p:txBody>
      </p:sp>
      <p:sp>
        <p:nvSpPr>
          <p:cNvPr id="9" name="Subtitle 2">
            <a:extLst>
              <a:ext uri="{FF2B5EF4-FFF2-40B4-BE49-F238E27FC236}">
                <a16:creationId xmlns:a16="http://schemas.microsoft.com/office/drawing/2014/main" id="{565D7B25-1665-DB97-EC26-F653F638EABF}"/>
              </a:ext>
            </a:extLst>
          </p:cNvPr>
          <p:cNvSpPr>
            <a:spLocks noGrp="1"/>
          </p:cNvSpPr>
          <p:nvPr>
            <p:ph type="subTitle" idx="1" hasCustomPrompt="1"/>
          </p:nvPr>
        </p:nvSpPr>
        <p:spPr>
          <a:xfrm>
            <a:off x="6165850" y="5892920"/>
            <a:ext cx="2795587" cy="717180"/>
          </a:xfrm>
        </p:spPr>
        <p:txBody>
          <a:bodyPr anchor="b"/>
          <a:lstStyle>
            <a:lvl1pPr marL="0" indent="0" algn="l">
              <a:lnSpc>
                <a:spcPct val="100000"/>
              </a:lnSpc>
              <a:spcBef>
                <a:spcPts val="0"/>
              </a:spcBef>
              <a:spcAft>
                <a:spcPts val="0"/>
              </a:spcAft>
              <a:buNone/>
              <a:defRPr sz="1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pporting details – delete if not required</a:t>
            </a:r>
          </a:p>
        </p:txBody>
      </p:sp>
      <p:sp>
        <p:nvSpPr>
          <p:cNvPr id="4" name="Graphic 2">
            <a:extLst>
              <a:ext uri="{FF2B5EF4-FFF2-40B4-BE49-F238E27FC236}">
                <a16:creationId xmlns:a16="http://schemas.microsoft.com/office/drawing/2014/main" id="{81BA223A-6973-8C60-D519-0AA8E983C929}"/>
              </a:ext>
            </a:extLst>
          </p:cNvPr>
          <p:cNvSpPr>
            <a:spLocks noChangeAspect="1"/>
          </p:cNvSpPr>
          <p:nvPr/>
        </p:nvSpPr>
        <p:spPr>
          <a:xfrm>
            <a:off x="290513" y="6377853"/>
            <a:ext cx="2034000" cy="187309"/>
          </a:xfrm>
          <a:custGeom>
            <a:avLst/>
            <a:gdLst>
              <a:gd name="connsiteX0" fmla="*/ 542692 w 5487431"/>
              <a:gd name="connsiteY0" fmla="*/ 463149 h 505330"/>
              <a:gd name="connsiteX1" fmla="*/ 458967 w 5487431"/>
              <a:gd name="connsiteY1" fmla="*/ 321634 h 505330"/>
              <a:gd name="connsiteX2" fmla="*/ 542692 w 5487431"/>
              <a:gd name="connsiteY2" fmla="*/ 180119 h 505330"/>
              <a:gd name="connsiteX3" fmla="*/ 626417 w 5487431"/>
              <a:gd name="connsiteY3" fmla="*/ 321634 h 505330"/>
              <a:gd name="connsiteX4" fmla="*/ 542692 w 5487431"/>
              <a:gd name="connsiteY4" fmla="*/ 463149 h 505330"/>
              <a:gd name="connsiteX5" fmla="*/ 542692 w 5487431"/>
              <a:gd name="connsiteY5" fmla="*/ 142174 h 505330"/>
              <a:gd name="connsiteX6" fmla="*/ 372482 w 5487431"/>
              <a:gd name="connsiteY6" fmla="*/ 321634 h 505330"/>
              <a:gd name="connsiteX7" fmla="*/ 542692 w 5487431"/>
              <a:gd name="connsiteY7" fmla="*/ 501094 h 505330"/>
              <a:gd name="connsiteX8" fmla="*/ 712902 w 5487431"/>
              <a:gd name="connsiteY8" fmla="*/ 321634 h 505330"/>
              <a:gd name="connsiteX9" fmla="*/ 542692 w 5487431"/>
              <a:gd name="connsiteY9" fmla="*/ 142174 h 505330"/>
              <a:gd name="connsiteX10" fmla="*/ 1303641 w 5487431"/>
              <a:gd name="connsiteY10" fmla="*/ 142174 h 505330"/>
              <a:gd name="connsiteX11" fmla="*/ 1207357 w 5487431"/>
              <a:gd name="connsiteY11" fmla="*/ 192547 h 505330"/>
              <a:gd name="connsiteX12" fmla="*/ 1203170 w 5487431"/>
              <a:gd name="connsiteY12" fmla="*/ 192547 h 505330"/>
              <a:gd name="connsiteX13" fmla="*/ 1203170 w 5487431"/>
              <a:gd name="connsiteY13" fmla="*/ 149048 h 505330"/>
              <a:gd name="connsiteX14" fmla="*/ 1120872 w 5487431"/>
              <a:gd name="connsiteY14" fmla="*/ 149048 h 505330"/>
              <a:gd name="connsiteX15" fmla="*/ 1120872 w 5487431"/>
              <a:gd name="connsiteY15" fmla="*/ 494221 h 505330"/>
              <a:gd name="connsiteX16" fmla="*/ 1203170 w 5487431"/>
              <a:gd name="connsiteY16" fmla="*/ 494221 h 505330"/>
              <a:gd name="connsiteX17" fmla="*/ 1203170 w 5487431"/>
              <a:gd name="connsiteY17" fmla="*/ 271261 h 505330"/>
              <a:gd name="connsiteX18" fmla="*/ 1272244 w 5487431"/>
              <a:gd name="connsiteY18" fmla="*/ 190476 h 505330"/>
              <a:gd name="connsiteX19" fmla="*/ 1331518 w 5487431"/>
              <a:gd name="connsiteY19" fmla="*/ 258173 h 505330"/>
              <a:gd name="connsiteX20" fmla="*/ 1331518 w 5487431"/>
              <a:gd name="connsiteY20" fmla="*/ 494221 h 505330"/>
              <a:gd name="connsiteX21" fmla="*/ 1413816 w 5487431"/>
              <a:gd name="connsiteY21" fmla="*/ 494221 h 505330"/>
              <a:gd name="connsiteX22" fmla="*/ 1413816 w 5487431"/>
              <a:gd name="connsiteY22" fmla="*/ 257420 h 505330"/>
              <a:gd name="connsiteX23" fmla="*/ 1303641 w 5487431"/>
              <a:gd name="connsiteY23" fmla="*/ 142174 h 505330"/>
              <a:gd name="connsiteX24" fmla="*/ 1600771 w 5487431"/>
              <a:gd name="connsiteY24" fmla="*/ 142174 h 505330"/>
              <a:gd name="connsiteX25" fmla="*/ 1467571 w 5487431"/>
              <a:gd name="connsiteY25" fmla="*/ 241602 h 505330"/>
              <a:gd name="connsiteX26" fmla="*/ 1551962 w 5487431"/>
              <a:gd name="connsiteY26" fmla="*/ 341030 h 505330"/>
              <a:gd name="connsiteX27" fmla="*/ 1621702 w 5487431"/>
              <a:gd name="connsiteY27" fmla="*/ 358260 h 505330"/>
              <a:gd name="connsiteX28" fmla="*/ 1675457 w 5487431"/>
              <a:gd name="connsiteY28" fmla="*/ 409387 h 505330"/>
              <a:gd name="connsiteX29" fmla="*/ 1606384 w 5487431"/>
              <a:gd name="connsiteY29" fmla="*/ 464656 h 505330"/>
              <a:gd name="connsiteX30" fmla="*/ 1526845 w 5487431"/>
              <a:gd name="connsiteY30" fmla="*/ 384624 h 505330"/>
              <a:gd name="connsiteX31" fmla="*/ 1452919 w 5487431"/>
              <a:gd name="connsiteY31" fmla="*/ 405338 h 505330"/>
              <a:gd name="connsiteX32" fmla="*/ 1597345 w 5487431"/>
              <a:gd name="connsiteY32" fmla="*/ 501282 h 505330"/>
              <a:gd name="connsiteX33" fmla="*/ 1742438 w 5487431"/>
              <a:gd name="connsiteY33" fmla="*/ 388767 h 505330"/>
              <a:gd name="connsiteX34" fmla="*/ 1649674 w 5487431"/>
              <a:gd name="connsiteY34" fmla="*/ 285196 h 505330"/>
              <a:gd name="connsiteX35" fmla="*/ 1582693 w 5487431"/>
              <a:gd name="connsiteY35" fmla="*/ 268625 h 505330"/>
              <a:gd name="connsiteX36" fmla="*/ 1534551 w 5487431"/>
              <a:gd name="connsiteY36" fmla="*/ 223054 h 505330"/>
              <a:gd name="connsiteX37" fmla="*/ 1593825 w 5487431"/>
              <a:gd name="connsiteY37" fmla="*/ 178895 h 505330"/>
              <a:gd name="connsiteX38" fmla="*/ 1664992 w 5487431"/>
              <a:gd name="connsiteY38" fmla="*/ 245180 h 505330"/>
              <a:gd name="connsiteX39" fmla="*/ 1734731 w 5487431"/>
              <a:gd name="connsiteY39" fmla="*/ 224466 h 505330"/>
              <a:gd name="connsiteX40" fmla="*/ 1600771 w 5487431"/>
              <a:gd name="connsiteY40" fmla="*/ 142174 h 505330"/>
              <a:gd name="connsiteX41" fmla="*/ 1946803 w 5487431"/>
              <a:gd name="connsiteY41" fmla="*/ 463149 h 505330"/>
              <a:gd name="connsiteX42" fmla="*/ 1863078 w 5487431"/>
              <a:gd name="connsiteY42" fmla="*/ 321634 h 505330"/>
              <a:gd name="connsiteX43" fmla="*/ 1946803 w 5487431"/>
              <a:gd name="connsiteY43" fmla="*/ 180119 h 505330"/>
              <a:gd name="connsiteX44" fmla="*/ 2030529 w 5487431"/>
              <a:gd name="connsiteY44" fmla="*/ 321634 h 505330"/>
              <a:gd name="connsiteX45" fmla="*/ 1946803 w 5487431"/>
              <a:gd name="connsiteY45" fmla="*/ 463149 h 505330"/>
              <a:gd name="connsiteX46" fmla="*/ 1946803 w 5487431"/>
              <a:gd name="connsiteY46" fmla="*/ 142174 h 505330"/>
              <a:gd name="connsiteX47" fmla="*/ 1776594 w 5487431"/>
              <a:gd name="connsiteY47" fmla="*/ 321634 h 505330"/>
              <a:gd name="connsiteX48" fmla="*/ 1946803 w 5487431"/>
              <a:gd name="connsiteY48" fmla="*/ 501094 h 505330"/>
              <a:gd name="connsiteX49" fmla="*/ 2117013 w 5487431"/>
              <a:gd name="connsiteY49" fmla="*/ 321634 h 505330"/>
              <a:gd name="connsiteX50" fmla="*/ 1946803 w 5487431"/>
              <a:gd name="connsiteY50" fmla="*/ 142174 h 505330"/>
              <a:gd name="connsiteX51" fmla="*/ 2348590 w 5487431"/>
              <a:gd name="connsiteY51" fmla="*/ 142174 h 505330"/>
              <a:gd name="connsiteX52" fmla="*/ 2252306 w 5487431"/>
              <a:gd name="connsiteY52" fmla="*/ 192547 h 505330"/>
              <a:gd name="connsiteX53" fmla="*/ 2248119 w 5487431"/>
              <a:gd name="connsiteY53" fmla="*/ 192547 h 505330"/>
              <a:gd name="connsiteX54" fmla="*/ 2248119 w 5487431"/>
              <a:gd name="connsiteY54" fmla="*/ 149048 h 505330"/>
              <a:gd name="connsiteX55" fmla="*/ 2165821 w 5487431"/>
              <a:gd name="connsiteY55" fmla="*/ 149048 h 505330"/>
              <a:gd name="connsiteX56" fmla="*/ 2165821 w 5487431"/>
              <a:gd name="connsiteY56" fmla="*/ 494221 h 505330"/>
              <a:gd name="connsiteX57" fmla="*/ 2248119 w 5487431"/>
              <a:gd name="connsiteY57" fmla="*/ 494221 h 505330"/>
              <a:gd name="connsiteX58" fmla="*/ 2248119 w 5487431"/>
              <a:gd name="connsiteY58" fmla="*/ 271261 h 505330"/>
              <a:gd name="connsiteX59" fmla="*/ 2317193 w 5487431"/>
              <a:gd name="connsiteY59" fmla="*/ 190476 h 505330"/>
              <a:gd name="connsiteX60" fmla="*/ 2376466 w 5487431"/>
              <a:gd name="connsiteY60" fmla="*/ 258173 h 505330"/>
              <a:gd name="connsiteX61" fmla="*/ 2376466 w 5487431"/>
              <a:gd name="connsiteY61" fmla="*/ 494221 h 505330"/>
              <a:gd name="connsiteX62" fmla="*/ 2458764 w 5487431"/>
              <a:gd name="connsiteY62" fmla="*/ 494221 h 505330"/>
              <a:gd name="connsiteX63" fmla="*/ 2458764 w 5487431"/>
              <a:gd name="connsiteY63" fmla="*/ 257420 h 505330"/>
              <a:gd name="connsiteX64" fmla="*/ 2348590 w 5487431"/>
              <a:gd name="connsiteY64" fmla="*/ 142174 h 505330"/>
              <a:gd name="connsiteX65" fmla="*/ 3571359 w 5487431"/>
              <a:gd name="connsiteY65" fmla="*/ 463149 h 505330"/>
              <a:gd name="connsiteX66" fmla="*/ 3487634 w 5487431"/>
              <a:gd name="connsiteY66" fmla="*/ 321634 h 505330"/>
              <a:gd name="connsiteX67" fmla="*/ 3571359 w 5487431"/>
              <a:gd name="connsiteY67" fmla="*/ 180119 h 505330"/>
              <a:gd name="connsiteX68" fmla="*/ 3655085 w 5487431"/>
              <a:gd name="connsiteY68" fmla="*/ 321634 h 505330"/>
              <a:gd name="connsiteX69" fmla="*/ 3571359 w 5487431"/>
              <a:gd name="connsiteY69" fmla="*/ 463149 h 505330"/>
              <a:gd name="connsiteX70" fmla="*/ 3571359 w 5487431"/>
              <a:gd name="connsiteY70" fmla="*/ 142174 h 505330"/>
              <a:gd name="connsiteX71" fmla="*/ 3401150 w 5487431"/>
              <a:gd name="connsiteY71" fmla="*/ 321634 h 505330"/>
              <a:gd name="connsiteX72" fmla="*/ 3571359 w 5487431"/>
              <a:gd name="connsiteY72" fmla="*/ 501094 h 505330"/>
              <a:gd name="connsiteX73" fmla="*/ 3741569 w 5487431"/>
              <a:gd name="connsiteY73" fmla="*/ 321634 h 505330"/>
              <a:gd name="connsiteX74" fmla="*/ 3571359 w 5487431"/>
              <a:gd name="connsiteY74" fmla="*/ 142174 h 505330"/>
              <a:gd name="connsiteX75" fmla="*/ 4332308 w 5487431"/>
              <a:gd name="connsiteY75" fmla="*/ 142174 h 505330"/>
              <a:gd name="connsiteX76" fmla="*/ 4236024 w 5487431"/>
              <a:gd name="connsiteY76" fmla="*/ 192547 h 505330"/>
              <a:gd name="connsiteX77" fmla="*/ 4231838 w 5487431"/>
              <a:gd name="connsiteY77" fmla="*/ 192547 h 505330"/>
              <a:gd name="connsiteX78" fmla="*/ 4231838 w 5487431"/>
              <a:gd name="connsiteY78" fmla="*/ 149048 h 505330"/>
              <a:gd name="connsiteX79" fmla="*/ 4149539 w 5487431"/>
              <a:gd name="connsiteY79" fmla="*/ 149048 h 505330"/>
              <a:gd name="connsiteX80" fmla="*/ 4149539 w 5487431"/>
              <a:gd name="connsiteY80" fmla="*/ 494221 h 505330"/>
              <a:gd name="connsiteX81" fmla="*/ 4231838 w 5487431"/>
              <a:gd name="connsiteY81" fmla="*/ 494221 h 505330"/>
              <a:gd name="connsiteX82" fmla="*/ 4231838 w 5487431"/>
              <a:gd name="connsiteY82" fmla="*/ 271261 h 505330"/>
              <a:gd name="connsiteX83" fmla="*/ 4300911 w 5487431"/>
              <a:gd name="connsiteY83" fmla="*/ 190476 h 505330"/>
              <a:gd name="connsiteX84" fmla="*/ 4360185 w 5487431"/>
              <a:gd name="connsiteY84" fmla="*/ 258173 h 505330"/>
              <a:gd name="connsiteX85" fmla="*/ 4360185 w 5487431"/>
              <a:gd name="connsiteY85" fmla="*/ 494221 h 505330"/>
              <a:gd name="connsiteX86" fmla="*/ 4442483 w 5487431"/>
              <a:gd name="connsiteY86" fmla="*/ 494221 h 505330"/>
              <a:gd name="connsiteX87" fmla="*/ 4442483 w 5487431"/>
              <a:gd name="connsiteY87" fmla="*/ 257420 h 505330"/>
              <a:gd name="connsiteX88" fmla="*/ 4332308 w 5487431"/>
              <a:gd name="connsiteY88" fmla="*/ 142174 h 505330"/>
              <a:gd name="connsiteX89" fmla="*/ 4629533 w 5487431"/>
              <a:gd name="connsiteY89" fmla="*/ 142174 h 505330"/>
              <a:gd name="connsiteX90" fmla="*/ 4496334 w 5487431"/>
              <a:gd name="connsiteY90" fmla="*/ 241602 h 505330"/>
              <a:gd name="connsiteX91" fmla="*/ 4580725 w 5487431"/>
              <a:gd name="connsiteY91" fmla="*/ 341030 h 505330"/>
              <a:gd name="connsiteX92" fmla="*/ 4650464 w 5487431"/>
              <a:gd name="connsiteY92" fmla="*/ 358260 h 505330"/>
              <a:gd name="connsiteX93" fmla="*/ 4704220 w 5487431"/>
              <a:gd name="connsiteY93" fmla="*/ 409387 h 505330"/>
              <a:gd name="connsiteX94" fmla="*/ 4635146 w 5487431"/>
              <a:gd name="connsiteY94" fmla="*/ 464656 h 505330"/>
              <a:gd name="connsiteX95" fmla="*/ 4555607 w 5487431"/>
              <a:gd name="connsiteY95" fmla="*/ 384624 h 505330"/>
              <a:gd name="connsiteX96" fmla="*/ 4481682 w 5487431"/>
              <a:gd name="connsiteY96" fmla="*/ 405338 h 505330"/>
              <a:gd name="connsiteX97" fmla="*/ 4626108 w 5487431"/>
              <a:gd name="connsiteY97" fmla="*/ 501282 h 505330"/>
              <a:gd name="connsiteX98" fmla="*/ 4771200 w 5487431"/>
              <a:gd name="connsiteY98" fmla="*/ 388767 h 505330"/>
              <a:gd name="connsiteX99" fmla="*/ 4678436 w 5487431"/>
              <a:gd name="connsiteY99" fmla="*/ 285196 h 505330"/>
              <a:gd name="connsiteX100" fmla="*/ 4611456 w 5487431"/>
              <a:gd name="connsiteY100" fmla="*/ 268625 h 505330"/>
              <a:gd name="connsiteX101" fmla="*/ 4563314 w 5487431"/>
              <a:gd name="connsiteY101" fmla="*/ 223054 h 505330"/>
              <a:gd name="connsiteX102" fmla="*/ 4622588 w 5487431"/>
              <a:gd name="connsiteY102" fmla="*/ 178895 h 505330"/>
              <a:gd name="connsiteX103" fmla="*/ 4693754 w 5487431"/>
              <a:gd name="connsiteY103" fmla="*/ 245180 h 505330"/>
              <a:gd name="connsiteX104" fmla="*/ 4763493 w 5487431"/>
              <a:gd name="connsiteY104" fmla="*/ 224466 h 505330"/>
              <a:gd name="connsiteX105" fmla="*/ 4629533 w 5487431"/>
              <a:gd name="connsiteY105" fmla="*/ 142174 h 505330"/>
              <a:gd name="connsiteX106" fmla="*/ 4975471 w 5487431"/>
              <a:gd name="connsiteY106" fmla="*/ 463149 h 505330"/>
              <a:gd name="connsiteX107" fmla="*/ 4891745 w 5487431"/>
              <a:gd name="connsiteY107" fmla="*/ 321634 h 505330"/>
              <a:gd name="connsiteX108" fmla="*/ 4975471 w 5487431"/>
              <a:gd name="connsiteY108" fmla="*/ 180119 h 505330"/>
              <a:gd name="connsiteX109" fmla="*/ 5059196 w 5487431"/>
              <a:gd name="connsiteY109" fmla="*/ 321634 h 505330"/>
              <a:gd name="connsiteX110" fmla="*/ 4975471 w 5487431"/>
              <a:gd name="connsiteY110" fmla="*/ 463149 h 505330"/>
              <a:gd name="connsiteX111" fmla="*/ 4975471 w 5487431"/>
              <a:gd name="connsiteY111" fmla="*/ 142174 h 505330"/>
              <a:gd name="connsiteX112" fmla="*/ 4805261 w 5487431"/>
              <a:gd name="connsiteY112" fmla="*/ 321634 h 505330"/>
              <a:gd name="connsiteX113" fmla="*/ 4975471 w 5487431"/>
              <a:gd name="connsiteY113" fmla="*/ 501094 h 505330"/>
              <a:gd name="connsiteX114" fmla="*/ 5145680 w 5487431"/>
              <a:gd name="connsiteY114" fmla="*/ 321634 h 505330"/>
              <a:gd name="connsiteX115" fmla="*/ 4975471 w 5487431"/>
              <a:gd name="connsiteY115" fmla="*/ 142174 h 505330"/>
              <a:gd name="connsiteX116" fmla="*/ 5377257 w 5487431"/>
              <a:gd name="connsiteY116" fmla="*/ 142174 h 505330"/>
              <a:gd name="connsiteX117" fmla="*/ 5280973 w 5487431"/>
              <a:gd name="connsiteY117" fmla="*/ 192547 h 505330"/>
              <a:gd name="connsiteX118" fmla="*/ 5276787 w 5487431"/>
              <a:gd name="connsiteY118" fmla="*/ 192547 h 505330"/>
              <a:gd name="connsiteX119" fmla="*/ 5276787 w 5487431"/>
              <a:gd name="connsiteY119" fmla="*/ 149048 h 505330"/>
              <a:gd name="connsiteX120" fmla="*/ 5194488 w 5487431"/>
              <a:gd name="connsiteY120" fmla="*/ 149048 h 505330"/>
              <a:gd name="connsiteX121" fmla="*/ 5194488 w 5487431"/>
              <a:gd name="connsiteY121" fmla="*/ 494221 h 505330"/>
              <a:gd name="connsiteX122" fmla="*/ 5276787 w 5487431"/>
              <a:gd name="connsiteY122" fmla="*/ 494221 h 505330"/>
              <a:gd name="connsiteX123" fmla="*/ 5276787 w 5487431"/>
              <a:gd name="connsiteY123" fmla="*/ 271261 h 505330"/>
              <a:gd name="connsiteX124" fmla="*/ 5345860 w 5487431"/>
              <a:gd name="connsiteY124" fmla="*/ 190476 h 505330"/>
              <a:gd name="connsiteX125" fmla="*/ 5405134 w 5487431"/>
              <a:gd name="connsiteY125" fmla="*/ 258173 h 505330"/>
              <a:gd name="connsiteX126" fmla="*/ 5405134 w 5487431"/>
              <a:gd name="connsiteY126" fmla="*/ 494221 h 505330"/>
              <a:gd name="connsiteX127" fmla="*/ 5487432 w 5487431"/>
              <a:gd name="connsiteY127" fmla="*/ 494221 h 505330"/>
              <a:gd name="connsiteX128" fmla="*/ 5487432 w 5487431"/>
              <a:gd name="connsiteY128" fmla="*/ 257420 h 505330"/>
              <a:gd name="connsiteX129" fmla="*/ 5377257 w 5487431"/>
              <a:gd name="connsiteY129" fmla="*/ 142174 h 505330"/>
              <a:gd name="connsiteX130" fmla="*/ 323674 w 5487431"/>
              <a:gd name="connsiteY130" fmla="*/ 11016 h 505330"/>
              <a:gd name="connsiteX131" fmla="*/ 237190 w 5487431"/>
              <a:gd name="connsiteY131" fmla="*/ 11016 h 505330"/>
              <a:gd name="connsiteX132" fmla="*/ 237190 w 5487431"/>
              <a:gd name="connsiteY132" fmla="*/ 367864 h 505330"/>
              <a:gd name="connsiteX133" fmla="*/ 161837 w 5487431"/>
              <a:gd name="connsiteY133" fmla="*/ 460325 h 505330"/>
              <a:gd name="connsiteX134" fmla="*/ 86484 w 5487431"/>
              <a:gd name="connsiteY134" fmla="*/ 360897 h 505330"/>
              <a:gd name="connsiteX135" fmla="*/ 86484 w 5487431"/>
              <a:gd name="connsiteY135" fmla="*/ 294612 h 505330"/>
              <a:gd name="connsiteX136" fmla="*/ 0 w 5487431"/>
              <a:gd name="connsiteY136" fmla="*/ 315985 h 505330"/>
              <a:gd name="connsiteX137" fmla="*/ 0 w 5487431"/>
              <a:gd name="connsiteY137" fmla="*/ 345644 h 505330"/>
              <a:gd name="connsiteX138" fmla="*/ 161837 w 5487431"/>
              <a:gd name="connsiteY138" fmla="*/ 505143 h 505330"/>
              <a:gd name="connsiteX139" fmla="*/ 323674 w 5487431"/>
              <a:gd name="connsiteY139" fmla="*/ 345644 h 505330"/>
              <a:gd name="connsiteX140" fmla="*/ 323674 w 5487431"/>
              <a:gd name="connsiteY140" fmla="*/ 11016 h 505330"/>
              <a:gd name="connsiteX141" fmla="*/ 844008 w 5487431"/>
              <a:gd name="connsiteY141" fmla="*/ 11016 h 505330"/>
              <a:gd name="connsiteX142" fmla="*/ 761710 w 5487431"/>
              <a:gd name="connsiteY142" fmla="*/ 11016 h 505330"/>
              <a:gd name="connsiteX143" fmla="*/ 761710 w 5487431"/>
              <a:gd name="connsiteY143" fmla="*/ 494221 h 505330"/>
              <a:gd name="connsiteX144" fmla="*/ 844008 w 5487431"/>
              <a:gd name="connsiteY144" fmla="*/ 494221 h 505330"/>
              <a:gd name="connsiteX145" fmla="*/ 844008 w 5487431"/>
              <a:gd name="connsiteY145" fmla="*/ 271261 h 505330"/>
              <a:gd name="connsiteX146" fmla="*/ 913081 w 5487431"/>
              <a:gd name="connsiteY146" fmla="*/ 190476 h 505330"/>
              <a:gd name="connsiteX147" fmla="*/ 972355 w 5487431"/>
              <a:gd name="connsiteY147" fmla="*/ 258173 h 505330"/>
              <a:gd name="connsiteX148" fmla="*/ 972355 w 5487431"/>
              <a:gd name="connsiteY148" fmla="*/ 494221 h 505330"/>
              <a:gd name="connsiteX149" fmla="*/ 1054653 w 5487431"/>
              <a:gd name="connsiteY149" fmla="*/ 494221 h 505330"/>
              <a:gd name="connsiteX150" fmla="*/ 1054653 w 5487431"/>
              <a:gd name="connsiteY150" fmla="*/ 257420 h 505330"/>
              <a:gd name="connsiteX151" fmla="*/ 944478 w 5487431"/>
              <a:gd name="connsiteY151" fmla="*/ 142174 h 505330"/>
              <a:gd name="connsiteX152" fmla="*/ 848194 w 5487431"/>
              <a:gd name="connsiteY152" fmla="*/ 192547 h 505330"/>
              <a:gd name="connsiteX153" fmla="*/ 844008 w 5487431"/>
              <a:gd name="connsiteY153" fmla="*/ 192547 h 505330"/>
              <a:gd name="connsiteX154" fmla="*/ 844008 w 5487431"/>
              <a:gd name="connsiteY154" fmla="*/ 11016 h 505330"/>
              <a:gd name="connsiteX155" fmla="*/ 3352342 w 5487431"/>
              <a:gd name="connsiteY155" fmla="*/ 11016 h 505330"/>
              <a:gd name="connsiteX156" fmla="*/ 3265857 w 5487431"/>
              <a:gd name="connsiteY156" fmla="*/ 11016 h 505330"/>
              <a:gd name="connsiteX157" fmla="*/ 3265857 w 5487431"/>
              <a:gd name="connsiteY157" fmla="*/ 367864 h 505330"/>
              <a:gd name="connsiteX158" fmla="*/ 3190504 w 5487431"/>
              <a:gd name="connsiteY158" fmla="*/ 460325 h 505330"/>
              <a:gd name="connsiteX159" fmla="*/ 3115152 w 5487431"/>
              <a:gd name="connsiteY159" fmla="*/ 360897 h 505330"/>
              <a:gd name="connsiteX160" fmla="*/ 3115152 w 5487431"/>
              <a:gd name="connsiteY160" fmla="*/ 294612 h 505330"/>
              <a:gd name="connsiteX161" fmla="*/ 3028667 w 5487431"/>
              <a:gd name="connsiteY161" fmla="*/ 315985 h 505330"/>
              <a:gd name="connsiteX162" fmla="*/ 3028667 w 5487431"/>
              <a:gd name="connsiteY162" fmla="*/ 345644 h 505330"/>
              <a:gd name="connsiteX163" fmla="*/ 3190504 w 5487431"/>
              <a:gd name="connsiteY163" fmla="*/ 505143 h 505330"/>
              <a:gd name="connsiteX164" fmla="*/ 3352342 w 5487431"/>
              <a:gd name="connsiteY164" fmla="*/ 345644 h 505330"/>
              <a:gd name="connsiteX165" fmla="*/ 3352342 w 5487431"/>
              <a:gd name="connsiteY165" fmla="*/ 11016 h 505330"/>
              <a:gd name="connsiteX166" fmla="*/ 3872675 w 5487431"/>
              <a:gd name="connsiteY166" fmla="*/ 11016 h 505330"/>
              <a:gd name="connsiteX167" fmla="*/ 3790377 w 5487431"/>
              <a:gd name="connsiteY167" fmla="*/ 11016 h 505330"/>
              <a:gd name="connsiteX168" fmla="*/ 3790377 w 5487431"/>
              <a:gd name="connsiteY168" fmla="*/ 494221 h 505330"/>
              <a:gd name="connsiteX169" fmla="*/ 3872675 w 5487431"/>
              <a:gd name="connsiteY169" fmla="*/ 494221 h 505330"/>
              <a:gd name="connsiteX170" fmla="*/ 3872675 w 5487431"/>
              <a:gd name="connsiteY170" fmla="*/ 271261 h 505330"/>
              <a:gd name="connsiteX171" fmla="*/ 3941749 w 5487431"/>
              <a:gd name="connsiteY171" fmla="*/ 190476 h 505330"/>
              <a:gd name="connsiteX172" fmla="*/ 4001022 w 5487431"/>
              <a:gd name="connsiteY172" fmla="*/ 258173 h 505330"/>
              <a:gd name="connsiteX173" fmla="*/ 4001022 w 5487431"/>
              <a:gd name="connsiteY173" fmla="*/ 494221 h 505330"/>
              <a:gd name="connsiteX174" fmla="*/ 4083320 w 5487431"/>
              <a:gd name="connsiteY174" fmla="*/ 494221 h 505330"/>
              <a:gd name="connsiteX175" fmla="*/ 4083320 w 5487431"/>
              <a:gd name="connsiteY175" fmla="*/ 257420 h 505330"/>
              <a:gd name="connsiteX176" fmla="*/ 3973146 w 5487431"/>
              <a:gd name="connsiteY176" fmla="*/ 142174 h 505330"/>
              <a:gd name="connsiteX177" fmla="*/ 3876861 w 5487431"/>
              <a:gd name="connsiteY177" fmla="*/ 192547 h 505330"/>
              <a:gd name="connsiteX178" fmla="*/ 3872675 w 5487431"/>
              <a:gd name="connsiteY178" fmla="*/ 192547 h 505330"/>
              <a:gd name="connsiteX179" fmla="*/ 3872675 w 5487431"/>
              <a:gd name="connsiteY179" fmla="*/ 11016 h 505330"/>
              <a:gd name="connsiteX180" fmla="*/ 2730110 w 5487431"/>
              <a:gd name="connsiteY180" fmla="*/ 454864 h 505330"/>
              <a:gd name="connsiteX181" fmla="*/ 2622029 w 5487431"/>
              <a:gd name="connsiteY181" fmla="*/ 343761 h 505330"/>
              <a:gd name="connsiteX182" fmla="*/ 2664557 w 5487431"/>
              <a:gd name="connsiteY182" fmla="*/ 256102 h 505330"/>
              <a:gd name="connsiteX183" fmla="*/ 2822208 w 5487431"/>
              <a:gd name="connsiteY183" fmla="*/ 426617 h 505330"/>
              <a:gd name="connsiteX184" fmla="*/ 2730110 w 5487431"/>
              <a:gd name="connsiteY184" fmla="*/ 454864 h 505330"/>
              <a:gd name="connsiteX185" fmla="*/ 2883575 w 5487431"/>
              <a:gd name="connsiteY185" fmla="*/ 369936 h 505330"/>
              <a:gd name="connsiteX186" fmla="*/ 2746856 w 5487431"/>
              <a:gd name="connsiteY186" fmla="*/ 220794 h 505330"/>
              <a:gd name="connsiteX187" fmla="*/ 2814502 w 5487431"/>
              <a:gd name="connsiteY187" fmla="*/ 207706 h 505330"/>
              <a:gd name="connsiteX188" fmla="*/ 2905838 w 5487431"/>
              <a:gd name="connsiteY188" fmla="*/ 296118 h 505330"/>
              <a:gd name="connsiteX189" fmla="*/ 2883575 w 5487431"/>
              <a:gd name="connsiteY189" fmla="*/ 369936 h 505330"/>
              <a:gd name="connsiteX190" fmla="*/ 2728017 w 5487431"/>
              <a:gd name="connsiteY190" fmla="*/ 200833 h 505330"/>
              <a:gd name="connsiteX191" fmla="*/ 2698047 w 5487431"/>
              <a:gd name="connsiteY191" fmla="*/ 167690 h 505330"/>
              <a:gd name="connsiteX192" fmla="*/ 2663891 w 5487431"/>
              <a:gd name="connsiteY192" fmla="*/ 99334 h 505330"/>
              <a:gd name="connsiteX193" fmla="*/ 2730110 w 5487431"/>
              <a:gd name="connsiteY193" fmla="*/ 36532 h 505330"/>
              <a:gd name="connsiteX194" fmla="*/ 2795664 w 5487431"/>
              <a:gd name="connsiteY194" fmla="*/ 102817 h 505330"/>
              <a:gd name="connsiteX195" fmla="*/ 2728017 w 5487431"/>
              <a:gd name="connsiteY195" fmla="*/ 200833 h 505330"/>
              <a:gd name="connsiteX196" fmla="*/ 2732204 w 5487431"/>
              <a:gd name="connsiteY196" fmla="*/ 0 h 505330"/>
              <a:gd name="connsiteX197" fmla="*/ 2588539 w 5487431"/>
              <a:gd name="connsiteY197" fmla="*/ 119389 h 505330"/>
              <a:gd name="connsiteX198" fmla="*/ 2644387 w 5487431"/>
              <a:gd name="connsiteY198" fmla="*/ 234635 h 505330"/>
              <a:gd name="connsiteX199" fmla="*/ 2645053 w 5487431"/>
              <a:gd name="connsiteY199" fmla="*/ 236047 h 505330"/>
              <a:gd name="connsiteX200" fmla="*/ 2545344 w 5487431"/>
              <a:gd name="connsiteY200" fmla="*/ 374832 h 505330"/>
              <a:gd name="connsiteX201" fmla="*/ 2685584 w 5487431"/>
              <a:gd name="connsiteY201" fmla="*/ 505331 h 505330"/>
              <a:gd name="connsiteX202" fmla="*/ 2843235 w 5487431"/>
              <a:gd name="connsiteY202" fmla="*/ 449403 h 505330"/>
              <a:gd name="connsiteX203" fmla="*/ 2885097 w 5487431"/>
              <a:gd name="connsiteY203" fmla="*/ 494315 h 505330"/>
              <a:gd name="connsiteX204" fmla="*/ 2994606 w 5487431"/>
              <a:gd name="connsiteY204" fmla="*/ 494315 h 505330"/>
              <a:gd name="connsiteX205" fmla="*/ 2994606 w 5487431"/>
              <a:gd name="connsiteY205" fmla="*/ 490831 h 505330"/>
              <a:gd name="connsiteX206" fmla="*/ 2905363 w 5487431"/>
              <a:gd name="connsiteY206" fmla="*/ 393474 h 505330"/>
              <a:gd name="connsiteX207" fmla="*/ 2964637 w 5487431"/>
              <a:gd name="connsiteY207" fmla="*/ 258833 h 505330"/>
              <a:gd name="connsiteX208" fmla="*/ 2873300 w 5487431"/>
              <a:gd name="connsiteY208" fmla="*/ 171174 h 505330"/>
              <a:gd name="connsiteX209" fmla="*/ 2789574 w 5487431"/>
              <a:gd name="connsiteY209" fmla="*/ 187745 h 505330"/>
              <a:gd name="connsiteX210" fmla="*/ 2788147 w 5487431"/>
              <a:gd name="connsiteY210" fmla="*/ 185015 h 505330"/>
              <a:gd name="connsiteX211" fmla="*/ 2863500 w 5487431"/>
              <a:gd name="connsiteY211" fmla="*/ 93873 h 505330"/>
              <a:gd name="connsiteX212" fmla="*/ 2732204 w 5487431"/>
              <a:gd name="connsiteY212" fmla="*/ 0 h 50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5487431" h="505330">
                <a:moveTo>
                  <a:pt x="542692" y="463149"/>
                </a:moveTo>
                <a:cubicBezTo>
                  <a:pt x="488937" y="463149"/>
                  <a:pt x="458967" y="412776"/>
                  <a:pt x="458967" y="321634"/>
                </a:cubicBezTo>
                <a:cubicBezTo>
                  <a:pt x="458967" y="229080"/>
                  <a:pt x="488937" y="180119"/>
                  <a:pt x="542692" y="180119"/>
                </a:cubicBezTo>
                <a:cubicBezTo>
                  <a:pt x="596448" y="180119"/>
                  <a:pt x="626417" y="229833"/>
                  <a:pt x="626417" y="321634"/>
                </a:cubicBezTo>
                <a:cubicBezTo>
                  <a:pt x="626322" y="414189"/>
                  <a:pt x="596352" y="463149"/>
                  <a:pt x="542692" y="463149"/>
                </a:cubicBezTo>
                <a:moveTo>
                  <a:pt x="542692" y="142174"/>
                </a:moveTo>
                <a:cubicBezTo>
                  <a:pt x="433183" y="142174"/>
                  <a:pt x="372482" y="222959"/>
                  <a:pt x="372482" y="321634"/>
                </a:cubicBezTo>
                <a:cubicBezTo>
                  <a:pt x="372482" y="420309"/>
                  <a:pt x="433183" y="501094"/>
                  <a:pt x="542692" y="501094"/>
                </a:cubicBezTo>
                <a:cubicBezTo>
                  <a:pt x="652201" y="501094"/>
                  <a:pt x="712902" y="420309"/>
                  <a:pt x="712902" y="321634"/>
                </a:cubicBezTo>
                <a:cubicBezTo>
                  <a:pt x="712902" y="222959"/>
                  <a:pt x="652201" y="142174"/>
                  <a:pt x="542692" y="142174"/>
                </a:cubicBezTo>
                <a:moveTo>
                  <a:pt x="1303641" y="142174"/>
                </a:moveTo>
                <a:cubicBezTo>
                  <a:pt x="1251979" y="142174"/>
                  <a:pt x="1223436" y="164301"/>
                  <a:pt x="1207357" y="192547"/>
                </a:cubicBezTo>
                <a:lnTo>
                  <a:pt x="1203170" y="192547"/>
                </a:lnTo>
                <a:lnTo>
                  <a:pt x="1203170" y="149048"/>
                </a:lnTo>
                <a:lnTo>
                  <a:pt x="1120872" y="149048"/>
                </a:lnTo>
                <a:lnTo>
                  <a:pt x="1120872" y="494221"/>
                </a:lnTo>
                <a:lnTo>
                  <a:pt x="1203170" y="494221"/>
                </a:lnTo>
                <a:lnTo>
                  <a:pt x="1203170" y="271261"/>
                </a:lnTo>
                <a:cubicBezTo>
                  <a:pt x="1203170" y="220229"/>
                  <a:pt x="1229715" y="190476"/>
                  <a:pt x="1272244" y="190476"/>
                </a:cubicBezTo>
                <a:cubicBezTo>
                  <a:pt x="1313440" y="190476"/>
                  <a:pt x="1331518" y="217404"/>
                  <a:pt x="1331518" y="258173"/>
                </a:cubicBezTo>
                <a:lnTo>
                  <a:pt x="1331518" y="494221"/>
                </a:lnTo>
                <a:lnTo>
                  <a:pt x="1413816" y="494221"/>
                </a:lnTo>
                <a:lnTo>
                  <a:pt x="1413816" y="257420"/>
                </a:lnTo>
                <a:cubicBezTo>
                  <a:pt x="1413911" y="186333"/>
                  <a:pt x="1376234" y="142174"/>
                  <a:pt x="1303641" y="142174"/>
                </a:cubicBezTo>
                <a:moveTo>
                  <a:pt x="1600771" y="142174"/>
                </a:moveTo>
                <a:cubicBezTo>
                  <a:pt x="1524752" y="142174"/>
                  <a:pt x="1467571" y="173905"/>
                  <a:pt x="1467571" y="241602"/>
                </a:cubicBezTo>
                <a:cubicBezTo>
                  <a:pt x="1467571" y="298943"/>
                  <a:pt x="1507341" y="330014"/>
                  <a:pt x="1551962" y="341030"/>
                </a:cubicBezTo>
                <a:lnTo>
                  <a:pt x="1621702" y="358260"/>
                </a:lnTo>
                <a:cubicBezTo>
                  <a:pt x="1658712" y="367205"/>
                  <a:pt x="1675457" y="380387"/>
                  <a:pt x="1675457" y="409387"/>
                </a:cubicBezTo>
                <a:cubicBezTo>
                  <a:pt x="1675457" y="444601"/>
                  <a:pt x="1650340" y="464656"/>
                  <a:pt x="1606384" y="464656"/>
                </a:cubicBezTo>
                <a:cubicBezTo>
                  <a:pt x="1558908" y="464656"/>
                  <a:pt x="1534551" y="441870"/>
                  <a:pt x="1526845" y="384624"/>
                </a:cubicBezTo>
                <a:lnTo>
                  <a:pt x="1452919" y="405338"/>
                </a:lnTo>
                <a:cubicBezTo>
                  <a:pt x="1457106" y="464750"/>
                  <a:pt x="1512954" y="501282"/>
                  <a:pt x="1597345" y="501282"/>
                </a:cubicBezTo>
                <a:cubicBezTo>
                  <a:pt x="1691536" y="501282"/>
                  <a:pt x="1742438" y="457782"/>
                  <a:pt x="1742438" y="388767"/>
                </a:cubicBezTo>
                <a:cubicBezTo>
                  <a:pt x="1742438" y="323894"/>
                  <a:pt x="1697055" y="296965"/>
                  <a:pt x="1649674" y="285196"/>
                </a:cubicBezTo>
                <a:lnTo>
                  <a:pt x="1582693" y="268625"/>
                </a:lnTo>
                <a:cubicBezTo>
                  <a:pt x="1549203" y="260339"/>
                  <a:pt x="1534551" y="245180"/>
                  <a:pt x="1534551" y="223054"/>
                </a:cubicBezTo>
                <a:cubicBezTo>
                  <a:pt x="1534551" y="195466"/>
                  <a:pt x="1558242" y="178895"/>
                  <a:pt x="1593825" y="178895"/>
                </a:cubicBezTo>
                <a:cubicBezTo>
                  <a:pt x="1635688" y="178895"/>
                  <a:pt x="1661471" y="201680"/>
                  <a:pt x="1664992" y="245180"/>
                </a:cubicBezTo>
                <a:lnTo>
                  <a:pt x="1734731" y="224466"/>
                </a:lnTo>
                <a:cubicBezTo>
                  <a:pt x="1726358" y="175976"/>
                  <a:pt x="1678216" y="142174"/>
                  <a:pt x="1600771" y="142174"/>
                </a:cubicBezTo>
                <a:moveTo>
                  <a:pt x="1946803" y="463149"/>
                </a:moveTo>
                <a:cubicBezTo>
                  <a:pt x="1893048" y="463149"/>
                  <a:pt x="1863078" y="412776"/>
                  <a:pt x="1863078" y="321634"/>
                </a:cubicBezTo>
                <a:cubicBezTo>
                  <a:pt x="1863078" y="229080"/>
                  <a:pt x="1893048" y="180119"/>
                  <a:pt x="1946803" y="180119"/>
                </a:cubicBezTo>
                <a:cubicBezTo>
                  <a:pt x="2000559" y="180119"/>
                  <a:pt x="2030529" y="229833"/>
                  <a:pt x="2030529" y="321634"/>
                </a:cubicBezTo>
                <a:cubicBezTo>
                  <a:pt x="2030529" y="414189"/>
                  <a:pt x="2000464" y="463149"/>
                  <a:pt x="1946803" y="463149"/>
                </a:cubicBezTo>
                <a:moveTo>
                  <a:pt x="1946803" y="142174"/>
                </a:moveTo>
                <a:cubicBezTo>
                  <a:pt x="1837294" y="142174"/>
                  <a:pt x="1776594" y="222959"/>
                  <a:pt x="1776594" y="321634"/>
                </a:cubicBezTo>
                <a:cubicBezTo>
                  <a:pt x="1776594" y="420309"/>
                  <a:pt x="1837294" y="501094"/>
                  <a:pt x="1946803" y="501094"/>
                </a:cubicBezTo>
                <a:cubicBezTo>
                  <a:pt x="2056312" y="501094"/>
                  <a:pt x="2117013" y="420309"/>
                  <a:pt x="2117013" y="321634"/>
                </a:cubicBezTo>
                <a:cubicBezTo>
                  <a:pt x="2117013" y="222959"/>
                  <a:pt x="2056312" y="142174"/>
                  <a:pt x="1946803" y="142174"/>
                </a:cubicBezTo>
                <a:moveTo>
                  <a:pt x="2348590" y="142174"/>
                </a:moveTo>
                <a:cubicBezTo>
                  <a:pt x="2296927" y="142174"/>
                  <a:pt x="2268385" y="164301"/>
                  <a:pt x="2252306" y="192547"/>
                </a:cubicBezTo>
                <a:lnTo>
                  <a:pt x="2248119" y="192547"/>
                </a:lnTo>
                <a:lnTo>
                  <a:pt x="2248119" y="149048"/>
                </a:lnTo>
                <a:lnTo>
                  <a:pt x="2165821" y="149048"/>
                </a:lnTo>
                <a:lnTo>
                  <a:pt x="2165821" y="494221"/>
                </a:lnTo>
                <a:lnTo>
                  <a:pt x="2248119" y="494221"/>
                </a:lnTo>
                <a:lnTo>
                  <a:pt x="2248119" y="271261"/>
                </a:lnTo>
                <a:cubicBezTo>
                  <a:pt x="2248119" y="220229"/>
                  <a:pt x="2274664" y="190476"/>
                  <a:pt x="2317193" y="190476"/>
                </a:cubicBezTo>
                <a:cubicBezTo>
                  <a:pt x="2358389" y="190476"/>
                  <a:pt x="2376466" y="217404"/>
                  <a:pt x="2376466" y="258173"/>
                </a:cubicBezTo>
                <a:lnTo>
                  <a:pt x="2376466" y="494221"/>
                </a:lnTo>
                <a:lnTo>
                  <a:pt x="2458764" y="494221"/>
                </a:lnTo>
                <a:lnTo>
                  <a:pt x="2458764" y="257420"/>
                </a:lnTo>
                <a:cubicBezTo>
                  <a:pt x="2458764" y="186333"/>
                  <a:pt x="2421088" y="142174"/>
                  <a:pt x="2348590" y="142174"/>
                </a:cubicBezTo>
                <a:moveTo>
                  <a:pt x="3571359" y="463149"/>
                </a:moveTo>
                <a:cubicBezTo>
                  <a:pt x="3517604" y="463149"/>
                  <a:pt x="3487634" y="412776"/>
                  <a:pt x="3487634" y="321634"/>
                </a:cubicBezTo>
                <a:cubicBezTo>
                  <a:pt x="3487634" y="229080"/>
                  <a:pt x="3517604" y="180119"/>
                  <a:pt x="3571359" y="180119"/>
                </a:cubicBezTo>
                <a:cubicBezTo>
                  <a:pt x="3625115" y="180119"/>
                  <a:pt x="3655085" y="229833"/>
                  <a:pt x="3655085" y="321634"/>
                </a:cubicBezTo>
                <a:cubicBezTo>
                  <a:pt x="3655085" y="414189"/>
                  <a:pt x="3625020" y="463149"/>
                  <a:pt x="3571359" y="463149"/>
                </a:cubicBezTo>
                <a:moveTo>
                  <a:pt x="3571359" y="142174"/>
                </a:moveTo>
                <a:cubicBezTo>
                  <a:pt x="3461850" y="142174"/>
                  <a:pt x="3401150" y="222959"/>
                  <a:pt x="3401150" y="321634"/>
                </a:cubicBezTo>
                <a:cubicBezTo>
                  <a:pt x="3401150" y="420309"/>
                  <a:pt x="3461850" y="501094"/>
                  <a:pt x="3571359" y="501094"/>
                </a:cubicBezTo>
                <a:cubicBezTo>
                  <a:pt x="3680868" y="501094"/>
                  <a:pt x="3741569" y="420309"/>
                  <a:pt x="3741569" y="321634"/>
                </a:cubicBezTo>
                <a:cubicBezTo>
                  <a:pt x="3741569" y="222959"/>
                  <a:pt x="3680868" y="142174"/>
                  <a:pt x="3571359" y="142174"/>
                </a:cubicBezTo>
                <a:moveTo>
                  <a:pt x="4332308" y="142174"/>
                </a:moveTo>
                <a:cubicBezTo>
                  <a:pt x="4280646" y="142174"/>
                  <a:pt x="4252103" y="164301"/>
                  <a:pt x="4236024" y="192547"/>
                </a:cubicBezTo>
                <a:lnTo>
                  <a:pt x="4231838" y="192547"/>
                </a:lnTo>
                <a:lnTo>
                  <a:pt x="4231838" y="149048"/>
                </a:lnTo>
                <a:lnTo>
                  <a:pt x="4149539" y="149048"/>
                </a:lnTo>
                <a:lnTo>
                  <a:pt x="4149539" y="494221"/>
                </a:lnTo>
                <a:lnTo>
                  <a:pt x="4231838" y="494221"/>
                </a:lnTo>
                <a:lnTo>
                  <a:pt x="4231838" y="271261"/>
                </a:lnTo>
                <a:cubicBezTo>
                  <a:pt x="4231838" y="220229"/>
                  <a:pt x="4258383" y="190476"/>
                  <a:pt x="4300911" y="190476"/>
                </a:cubicBezTo>
                <a:cubicBezTo>
                  <a:pt x="4342108" y="190476"/>
                  <a:pt x="4360185" y="217404"/>
                  <a:pt x="4360185" y="258173"/>
                </a:cubicBezTo>
                <a:lnTo>
                  <a:pt x="4360185" y="494221"/>
                </a:lnTo>
                <a:lnTo>
                  <a:pt x="4442483" y="494221"/>
                </a:lnTo>
                <a:lnTo>
                  <a:pt x="4442483" y="257420"/>
                </a:lnTo>
                <a:cubicBezTo>
                  <a:pt x="4442578" y="186333"/>
                  <a:pt x="4404902" y="142174"/>
                  <a:pt x="4332308" y="142174"/>
                </a:cubicBezTo>
                <a:moveTo>
                  <a:pt x="4629533" y="142174"/>
                </a:moveTo>
                <a:cubicBezTo>
                  <a:pt x="4553514" y="142174"/>
                  <a:pt x="4496334" y="173905"/>
                  <a:pt x="4496334" y="241602"/>
                </a:cubicBezTo>
                <a:cubicBezTo>
                  <a:pt x="4496334" y="298943"/>
                  <a:pt x="4536103" y="330014"/>
                  <a:pt x="4580725" y="341030"/>
                </a:cubicBezTo>
                <a:lnTo>
                  <a:pt x="4650464" y="358260"/>
                </a:lnTo>
                <a:cubicBezTo>
                  <a:pt x="4687475" y="367205"/>
                  <a:pt x="4704220" y="380387"/>
                  <a:pt x="4704220" y="409387"/>
                </a:cubicBezTo>
                <a:cubicBezTo>
                  <a:pt x="4704220" y="444601"/>
                  <a:pt x="4679102" y="464656"/>
                  <a:pt x="4635146" y="464656"/>
                </a:cubicBezTo>
                <a:cubicBezTo>
                  <a:pt x="4587670" y="464656"/>
                  <a:pt x="4563314" y="441870"/>
                  <a:pt x="4555607" y="384624"/>
                </a:cubicBezTo>
                <a:lnTo>
                  <a:pt x="4481682" y="405338"/>
                </a:lnTo>
                <a:cubicBezTo>
                  <a:pt x="4485868" y="464750"/>
                  <a:pt x="4541716" y="501282"/>
                  <a:pt x="4626108" y="501282"/>
                </a:cubicBezTo>
                <a:cubicBezTo>
                  <a:pt x="4720299" y="501282"/>
                  <a:pt x="4771200" y="457782"/>
                  <a:pt x="4771200" y="388767"/>
                </a:cubicBezTo>
                <a:cubicBezTo>
                  <a:pt x="4771200" y="323894"/>
                  <a:pt x="4725817" y="296965"/>
                  <a:pt x="4678436" y="285196"/>
                </a:cubicBezTo>
                <a:lnTo>
                  <a:pt x="4611456" y="268625"/>
                </a:lnTo>
                <a:cubicBezTo>
                  <a:pt x="4577966" y="260339"/>
                  <a:pt x="4563314" y="245180"/>
                  <a:pt x="4563314" y="223054"/>
                </a:cubicBezTo>
                <a:cubicBezTo>
                  <a:pt x="4563314" y="195466"/>
                  <a:pt x="4587004" y="178895"/>
                  <a:pt x="4622588" y="178895"/>
                </a:cubicBezTo>
                <a:cubicBezTo>
                  <a:pt x="4664450" y="178895"/>
                  <a:pt x="4690234" y="201680"/>
                  <a:pt x="4693754" y="245180"/>
                </a:cubicBezTo>
                <a:lnTo>
                  <a:pt x="4763493" y="224466"/>
                </a:lnTo>
                <a:cubicBezTo>
                  <a:pt x="4755026" y="175976"/>
                  <a:pt x="4706884" y="142174"/>
                  <a:pt x="4629533" y="142174"/>
                </a:cubicBezTo>
                <a:moveTo>
                  <a:pt x="4975471" y="463149"/>
                </a:moveTo>
                <a:cubicBezTo>
                  <a:pt x="4921715" y="463149"/>
                  <a:pt x="4891745" y="412776"/>
                  <a:pt x="4891745" y="321634"/>
                </a:cubicBezTo>
                <a:cubicBezTo>
                  <a:pt x="4891745" y="229080"/>
                  <a:pt x="4921715" y="180119"/>
                  <a:pt x="4975471" y="180119"/>
                </a:cubicBezTo>
                <a:cubicBezTo>
                  <a:pt x="5029226" y="180119"/>
                  <a:pt x="5059196" y="229833"/>
                  <a:pt x="5059196" y="321634"/>
                </a:cubicBezTo>
                <a:cubicBezTo>
                  <a:pt x="5059196" y="414189"/>
                  <a:pt x="5029131" y="463149"/>
                  <a:pt x="4975471" y="463149"/>
                </a:cubicBezTo>
                <a:moveTo>
                  <a:pt x="4975471" y="142174"/>
                </a:moveTo>
                <a:cubicBezTo>
                  <a:pt x="4865962" y="142174"/>
                  <a:pt x="4805261" y="222959"/>
                  <a:pt x="4805261" y="321634"/>
                </a:cubicBezTo>
                <a:cubicBezTo>
                  <a:pt x="4805261" y="420309"/>
                  <a:pt x="4865962" y="501094"/>
                  <a:pt x="4975471" y="501094"/>
                </a:cubicBezTo>
                <a:cubicBezTo>
                  <a:pt x="5084980" y="501094"/>
                  <a:pt x="5145680" y="420309"/>
                  <a:pt x="5145680" y="321634"/>
                </a:cubicBezTo>
                <a:cubicBezTo>
                  <a:pt x="5145680" y="222959"/>
                  <a:pt x="5084980" y="142174"/>
                  <a:pt x="4975471" y="142174"/>
                </a:cubicBezTo>
                <a:moveTo>
                  <a:pt x="5377257" y="142174"/>
                </a:moveTo>
                <a:cubicBezTo>
                  <a:pt x="5325595" y="142174"/>
                  <a:pt x="5297052" y="164301"/>
                  <a:pt x="5280973" y="192547"/>
                </a:cubicBezTo>
                <a:lnTo>
                  <a:pt x="5276787" y="192547"/>
                </a:lnTo>
                <a:lnTo>
                  <a:pt x="5276787" y="149048"/>
                </a:lnTo>
                <a:lnTo>
                  <a:pt x="5194488" y="149048"/>
                </a:lnTo>
                <a:lnTo>
                  <a:pt x="5194488" y="494221"/>
                </a:lnTo>
                <a:lnTo>
                  <a:pt x="5276787" y="494221"/>
                </a:lnTo>
                <a:lnTo>
                  <a:pt x="5276787" y="271261"/>
                </a:lnTo>
                <a:cubicBezTo>
                  <a:pt x="5276787" y="220229"/>
                  <a:pt x="5303331" y="190476"/>
                  <a:pt x="5345860" y="190476"/>
                </a:cubicBezTo>
                <a:cubicBezTo>
                  <a:pt x="5387057" y="190476"/>
                  <a:pt x="5405134" y="217404"/>
                  <a:pt x="5405134" y="258173"/>
                </a:cubicBezTo>
                <a:lnTo>
                  <a:pt x="5405134" y="494221"/>
                </a:lnTo>
                <a:lnTo>
                  <a:pt x="5487432" y="494221"/>
                </a:lnTo>
                <a:lnTo>
                  <a:pt x="5487432" y="257420"/>
                </a:lnTo>
                <a:cubicBezTo>
                  <a:pt x="5487432" y="186333"/>
                  <a:pt x="5449755" y="142174"/>
                  <a:pt x="5377257" y="142174"/>
                </a:cubicBezTo>
                <a:moveTo>
                  <a:pt x="323674" y="11016"/>
                </a:moveTo>
                <a:lnTo>
                  <a:pt x="237190" y="11016"/>
                </a:lnTo>
                <a:lnTo>
                  <a:pt x="237190" y="367864"/>
                </a:lnTo>
                <a:cubicBezTo>
                  <a:pt x="237190" y="425864"/>
                  <a:pt x="214831" y="460325"/>
                  <a:pt x="161837" y="460325"/>
                </a:cubicBezTo>
                <a:cubicBezTo>
                  <a:pt x="109509" y="460325"/>
                  <a:pt x="86484" y="423698"/>
                  <a:pt x="86484" y="360897"/>
                </a:cubicBezTo>
                <a:lnTo>
                  <a:pt x="86484" y="294612"/>
                </a:lnTo>
                <a:lnTo>
                  <a:pt x="0" y="315985"/>
                </a:lnTo>
                <a:lnTo>
                  <a:pt x="0" y="345644"/>
                </a:lnTo>
                <a:cubicBezTo>
                  <a:pt x="0" y="436033"/>
                  <a:pt x="45383" y="505143"/>
                  <a:pt x="161837" y="505143"/>
                </a:cubicBezTo>
                <a:cubicBezTo>
                  <a:pt x="278291" y="505143"/>
                  <a:pt x="323674" y="436127"/>
                  <a:pt x="323674" y="345644"/>
                </a:cubicBezTo>
                <a:lnTo>
                  <a:pt x="323674" y="11016"/>
                </a:lnTo>
                <a:moveTo>
                  <a:pt x="844008" y="11016"/>
                </a:moveTo>
                <a:lnTo>
                  <a:pt x="761710" y="11016"/>
                </a:lnTo>
                <a:lnTo>
                  <a:pt x="761710" y="494221"/>
                </a:lnTo>
                <a:lnTo>
                  <a:pt x="844008" y="494221"/>
                </a:lnTo>
                <a:lnTo>
                  <a:pt x="844008" y="271261"/>
                </a:lnTo>
                <a:cubicBezTo>
                  <a:pt x="844008" y="220229"/>
                  <a:pt x="870553" y="190476"/>
                  <a:pt x="913081" y="190476"/>
                </a:cubicBezTo>
                <a:cubicBezTo>
                  <a:pt x="954278" y="190476"/>
                  <a:pt x="972355" y="217404"/>
                  <a:pt x="972355" y="258173"/>
                </a:cubicBezTo>
                <a:lnTo>
                  <a:pt x="972355" y="494221"/>
                </a:lnTo>
                <a:lnTo>
                  <a:pt x="1054653" y="494221"/>
                </a:lnTo>
                <a:lnTo>
                  <a:pt x="1054653" y="257420"/>
                </a:lnTo>
                <a:cubicBezTo>
                  <a:pt x="1054653" y="186333"/>
                  <a:pt x="1016977" y="142174"/>
                  <a:pt x="944478" y="142174"/>
                </a:cubicBezTo>
                <a:cubicBezTo>
                  <a:pt x="892816" y="142174"/>
                  <a:pt x="864273" y="164301"/>
                  <a:pt x="848194" y="192547"/>
                </a:cubicBezTo>
                <a:lnTo>
                  <a:pt x="844008" y="192547"/>
                </a:lnTo>
                <a:lnTo>
                  <a:pt x="844008" y="11016"/>
                </a:lnTo>
                <a:moveTo>
                  <a:pt x="3352342" y="11016"/>
                </a:moveTo>
                <a:lnTo>
                  <a:pt x="3265857" y="11016"/>
                </a:lnTo>
                <a:lnTo>
                  <a:pt x="3265857" y="367864"/>
                </a:lnTo>
                <a:cubicBezTo>
                  <a:pt x="3265857" y="425864"/>
                  <a:pt x="3243499" y="460325"/>
                  <a:pt x="3190504" y="460325"/>
                </a:cubicBezTo>
                <a:cubicBezTo>
                  <a:pt x="3138176" y="460325"/>
                  <a:pt x="3115152" y="423698"/>
                  <a:pt x="3115152" y="360897"/>
                </a:cubicBezTo>
                <a:lnTo>
                  <a:pt x="3115152" y="294612"/>
                </a:lnTo>
                <a:lnTo>
                  <a:pt x="3028667" y="315985"/>
                </a:lnTo>
                <a:lnTo>
                  <a:pt x="3028667" y="345644"/>
                </a:lnTo>
                <a:cubicBezTo>
                  <a:pt x="3028667" y="436033"/>
                  <a:pt x="3074050" y="505143"/>
                  <a:pt x="3190504" y="505143"/>
                </a:cubicBezTo>
                <a:cubicBezTo>
                  <a:pt x="3306959" y="505143"/>
                  <a:pt x="3352342" y="436127"/>
                  <a:pt x="3352342" y="345644"/>
                </a:cubicBezTo>
                <a:lnTo>
                  <a:pt x="3352342" y="11016"/>
                </a:lnTo>
                <a:moveTo>
                  <a:pt x="3872675" y="11016"/>
                </a:moveTo>
                <a:lnTo>
                  <a:pt x="3790377" y="11016"/>
                </a:lnTo>
                <a:lnTo>
                  <a:pt x="3790377" y="494221"/>
                </a:lnTo>
                <a:lnTo>
                  <a:pt x="3872675" y="494221"/>
                </a:lnTo>
                <a:lnTo>
                  <a:pt x="3872675" y="271261"/>
                </a:lnTo>
                <a:cubicBezTo>
                  <a:pt x="3872675" y="220229"/>
                  <a:pt x="3899220" y="190476"/>
                  <a:pt x="3941749" y="190476"/>
                </a:cubicBezTo>
                <a:cubicBezTo>
                  <a:pt x="3982945" y="190476"/>
                  <a:pt x="4001022" y="217404"/>
                  <a:pt x="4001022" y="258173"/>
                </a:cubicBezTo>
                <a:lnTo>
                  <a:pt x="4001022" y="494221"/>
                </a:lnTo>
                <a:lnTo>
                  <a:pt x="4083320" y="494221"/>
                </a:lnTo>
                <a:lnTo>
                  <a:pt x="4083320" y="257420"/>
                </a:lnTo>
                <a:cubicBezTo>
                  <a:pt x="4083320" y="186333"/>
                  <a:pt x="4045644" y="142174"/>
                  <a:pt x="3973146" y="142174"/>
                </a:cubicBezTo>
                <a:cubicBezTo>
                  <a:pt x="3921483" y="142174"/>
                  <a:pt x="3892941" y="164301"/>
                  <a:pt x="3876861" y="192547"/>
                </a:cubicBezTo>
                <a:lnTo>
                  <a:pt x="3872675" y="192547"/>
                </a:lnTo>
                <a:lnTo>
                  <a:pt x="3872675" y="11016"/>
                </a:lnTo>
                <a:moveTo>
                  <a:pt x="2730110" y="454864"/>
                </a:moveTo>
                <a:cubicBezTo>
                  <a:pt x="2663130" y="454864"/>
                  <a:pt x="2622029" y="401007"/>
                  <a:pt x="2622029" y="343761"/>
                </a:cubicBezTo>
                <a:cubicBezTo>
                  <a:pt x="2622029" y="307887"/>
                  <a:pt x="2638108" y="274745"/>
                  <a:pt x="2664557" y="256102"/>
                </a:cubicBezTo>
                <a:lnTo>
                  <a:pt x="2822208" y="426617"/>
                </a:lnTo>
                <a:cubicBezTo>
                  <a:pt x="2792904" y="443848"/>
                  <a:pt x="2760080" y="454864"/>
                  <a:pt x="2730110" y="454864"/>
                </a:cubicBezTo>
                <a:moveTo>
                  <a:pt x="2883575" y="369936"/>
                </a:moveTo>
                <a:lnTo>
                  <a:pt x="2746856" y="220794"/>
                </a:lnTo>
                <a:cubicBezTo>
                  <a:pt x="2771307" y="211096"/>
                  <a:pt x="2794998" y="207706"/>
                  <a:pt x="2814502" y="207706"/>
                </a:cubicBezTo>
                <a:cubicBezTo>
                  <a:pt x="2871016" y="207706"/>
                  <a:pt x="2905838" y="240190"/>
                  <a:pt x="2905838" y="296118"/>
                </a:cubicBezTo>
                <a:cubicBezTo>
                  <a:pt x="2905934" y="320975"/>
                  <a:pt x="2898893" y="346491"/>
                  <a:pt x="2883575" y="369936"/>
                </a:cubicBezTo>
                <a:moveTo>
                  <a:pt x="2728017" y="200833"/>
                </a:moveTo>
                <a:lnTo>
                  <a:pt x="2698047" y="167690"/>
                </a:lnTo>
                <a:cubicBezTo>
                  <a:pt x="2671503" y="138691"/>
                  <a:pt x="2663891" y="120707"/>
                  <a:pt x="2663891" y="99334"/>
                </a:cubicBezTo>
                <a:cubicBezTo>
                  <a:pt x="2663891" y="59318"/>
                  <a:pt x="2689675" y="36532"/>
                  <a:pt x="2730110" y="36532"/>
                </a:cubicBezTo>
                <a:cubicBezTo>
                  <a:pt x="2771307" y="36532"/>
                  <a:pt x="2795664" y="59977"/>
                  <a:pt x="2795664" y="102817"/>
                </a:cubicBezTo>
                <a:cubicBezTo>
                  <a:pt x="2795664" y="142174"/>
                  <a:pt x="2776159" y="179460"/>
                  <a:pt x="2728017" y="200833"/>
                </a:cubicBezTo>
                <a:moveTo>
                  <a:pt x="2732204" y="0"/>
                </a:moveTo>
                <a:cubicBezTo>
                  <a:pt x="2635920" y="0"/>
                  <a:pt x="2588539" y="53198"/>
                  <a:pt x="2588539" y="119389"/>
                </a:cubicBezTo>
                <a:cubicBezTo>
                  <a:pt x="2588539" y="155262"/>
                  <a:pt x="2603857" y="191229"/>
                  <a:pt x="2644387" y="234635"/>
                </a:cubicBezTo>
                <a:lnTo>
                  <a:pt x="2645053" y="236047"/>
                </a:lnTo>
                <a:cubicBezTo>
                  <a:pt x="2576741" y="268531"/>
                  <a:pt x="2545344" y="320975"/>
                  <a:pt x="2545344" y="374832"/>
                </a:cubicBezTo>
                <a:cubicBezTo>
                  <a:pt x="2545344" y="445919"/>
                  <a:pt x="2600432" y="505331"/>
                  <a:pt x="2685584" y="505331"/>
                </a:cubicBezTo>
                <a:cubicBezTo>
                  <a:pt x="2734392" y="505331"/>
                  <a:pt x="2791573" y="485276"/>
                  <a:pt x="2843235" y="449403"/>
                </a:cubicBezTo>
                <a:lnTo>
                  <a:pt x="2885097" y="494315"/>
                </a:lnTo>
                <a:lnTo>
                  <a:pt x="2994606" y="494315"/>
                </a:lnTo>
                <a:lnTo>
                  <a:pt x="2994606" y="490831"/>
                </a:lnTo>
                <a:lnTo>
                  <a:pt x="2905363" y="393474"/>
                </a:lnTo>
                <a:cubicBezTo>
                  <a:pt x="2943039" y="349316"/>
                  <a:pt x="2964637" y="301014"/>
                  <a:pt x="2964637" y="258833"/>
                </a:cubicBezTo>
                <a:cubicBezTo>
                  <a:pt x="2964637" y="206388"/>
                  <a:pt x="2929053" y="171174"/>
                  <a:pt x="2873300" y="171174"/>
                </a:cubicBezTo>
                <a:cubicBezTo>
                  <a:pt x="2843996" y="171174"/>
                  <a:pt x="2811172" y="179460"/>
                  <a:pt x="2789574" y="187745"/>
                </a:cubicBezTo>
                <a:lnTo>
                  <a:pt x="2788147" y="185015"/>
                </a:lnTo>
                <a:cubicBezTo>
                  <a:pt x="2841142" y="156674"/>
                  <a:pt x="2863500" y="130499"/>
                  <a:pt x="2863500" y="93873"/>
                </a:cubicBezTo>
                <a:cubicBezTo>
                  <a:pt x="2863310" y="41428"/>
                  <a:pt x="2815929" y="0"/>
                  <a:pt x="2732204" y="0"/>
                </a:cubicBezTo>
              </a:path>
            </a:pathLst>
          </a:custGeom>
          <a:solidFill>
            <a:schemeClr val="tx2"/>
          </a:solidFill>
          <a:ln w="9509" cap="flat">
            <a:noFill/>
            <a:prstDash val="solid"/>
            <a:miter/>
          </a:ln>
        </p:spPr>
        <p:txBody>
          <a:bodyPr rtlCol="0" anchor="ctr"/>
          <a:lstStyle/>
          <a:p>
            <a:endParaRPr lang="en-GB"/>
          </a:p>
        </p:txBody>
      </p:sp>
      <p:sp>
        <p:nvSpPr>
          <p:cNvPr id="2" name="Footer Placeholder 4">
            <a:extLst>
              <a:ext uri="{FF2B5EF4-FFF2-40B4-BE49-F238E27FC236}">
                <a16:creationId xmlns:a16="http://schemas.microsoft.com/office/drawing/2014/main" id="{0534C7B0-DBDA-6247-27A0-B6AF8DC6EBAA}"/>
              </a:ext>
            </a:extLst>
          </p:cNvPr>
          <p:cNvSpPr txBox="1">
            <a:spLocks/>
          </p:cNvSpPr>
          <p:nvPr/>
        </p:nvSpPr>
        <p:spPr>
          <a:xfrm>
            <a:off x="9772073" y="6424023"/>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0" i="0" kern="1200">
                <a:solidFill>
                  <a:schemeClr val="tx1"/>
                </a:solidFill>
                <a:latin typeface="+mn-lt"/>
                <a:ea typeface="+mn-ea"/>
                <a:cs typeface="+mn-cs"/>
              </a:rPr>
              <a:t>HEALTH CARE COMPLIANCE</a:t>
            </a:r>
          </a:p>
        </p:txBody>
      </p:sp>
      <p:sp>
        <p:nvSpPr>
          <p:cNvPr id="3" name="Graphic 2">
            <a:extLst>
              <a:ext uri="{FF2B5EF4-FFF2-40B4-BE49-F238E27FC236}">
                <a16:creationId xmlns:a16="http://schemas.microsoft.com/office/drawing/2014/main" id="{5B3F3440-B4C8-41A1-316C-5BB97D379958}"/>
              </a:ext>
            </a:extLst>
          </p:cNvPr>
          <p:cNvSpPr>
            <a:spLocks noChangeAspect="1"/>
          </p:cNvSpPr>
          <p:nvPr userDrawn="1"/>
        </p:nvSpPr>
        <p:spPr>
          <a:xfrm>
            <a:off x="290513" y="6377853"/>
            <a:ext cx="2034000" cy="187309"/>
          </a:xfrm>
          <a:custGeom>
            <a:avLst/>
            <a:gdLst>
              <a:gd name="connsiteX0" fmla="*/ 542692 w 5487431"/>
              <a:gd name="connsiteY0" fmla="*/ 463149 h 505330"/>
              <a:gd name="connsiteX1" fmla="*/ 458967 w 5487431"/>
              <a:gd name="connsiteY1" fmla="*/ 321634 h 505330"/>
              <a:gd name="connsiteX2" fmla="*/ 542692 w 5487431"/>
              <a:gd name="connsiteY2" fmla="*/ 180119 h 505330"/>
              <a:gd name="connsiteX3" fmla="*/ 626417 w 5487431"/>
              <a:gd name="connsiteY3" fmla="*/ 321634 h 505330"/>
              <a:gd name="connsiteX4" fmla="*/ 542692 w 5487431"/>
              <a:gd name="connsiteY4" fmla="*/ 463149 h 505330"/>
              <a:gd name="connsiteX5" fmla="*/ 542692 w 5487431"/>
              <a:gd name="connsiteY5" fmla="*/ 142174 h 505330"/>
              <a:gd name="connsiteX6" fmla="*/ 372482 w 5487431"/>
              <a:gd name="connsiteY6" fmla="*/ 321634 h 505330"/>
              <a:gd name="connsiteX7" fmla="*/ 542692 w 5487431"/>
              <a:gd name="connsiteY7" fmla="*/ 501094 h 505330"/>
              <a:gd name="connsiteX8" fmla="*/ 712902 w 5487431"/>
              <a:gd name="connsiteY8" fmla="*/ 321634 h 505330"/>
              <a:gd name="connsiteX9" fmla="*/ 542692 w 5487431"/>
              <a:gd name="connsiteY9" fmla="*/ 142174 h 505330"/>
              <a:gd name="connsiteX10" fmla="*/ 1303641 w 5487431"/>
              <a:gd name="connsiteY10" fmla="*/ 142174 h 505330"/>
              <a:gd name="connsiteX11" fmla="*/ 1207357 w 5487431"/>
              <a:gd name="connsiteY11" fmla="*/ 192547 h 505330"/>
              <a:gd name="connsiteX12" fmla="*/ 1203170 w 5487431"/>
              <a:gd name="connsiteY12" fmla="*/ 192547 h 505330"/>
              <a:gd name="connsiteX13" fmla="*/ 1203170 w 5487431"/>
              <a:gd name="connsiteY13" fmla="*/ 149048 h 505330"/>
              <a:gd name="connsiteX14" fmla="*/ 1120872 w 5487431"/>
              <a:gd name="connsiteY14" fmla="*/ 149048 h 505330"/>
              <a:gd name="connsiteX15" fmla="*/ 1120872 w 5487431"/>
              <a:gd name="connsiteY15" fmla="*/ 494221 h 505330"/>
              <a:gd name="connsiteX16" fmla="*/ 1203170 w 5487431"/>
              <a:gd name="connsiteY16" fmla="*/ 494221 h 505330"/>
              <a:gd name="connsiteX17" fmla="*/ 1203170 w 5487431"/>
              <a:gd name="connsiteY17" fmla="*/ 271261 h 505330"/>
              <a:gd name="connsiteX18" fmla="*/ 1272244 w 5487431"/>
              <a:gd name="connsiteY18" fmla="*/ 190476 h 505330"/>
              <a:gd name="connsiteX19" fmla="*/ 1331518 w 5487431"/>
              <a:gd name="connsiteY19" fmla="*/ 258173 h 505330"/>
              <a:gd name="connsiteX20" fmla="*/ 1331518 w 5487431"/>
              <a:gd name="connsiteY20" fmla="*/ 494221 h 505330"/>
              <a:gd name="connsiteX21" fmla="*/ 1413816 w 5487431"/>
              <a:gd name="connsiteY21" fmla="*/ 494221 h 505330"/>
              <a:gd name="connsiteX22" fmla="*/ 1413816 w 5487431"/>
              <a:gd name="connsiteY22" fmla="*/ 257420 h 505330"/>
              <a:gd name="connsiteX23" fmla="*/ 1303641 w 5487431"/>
              <a:gd name="connsiteY23" fmla="*/ 142174 h 505330"/>
              <a:gd name="connsiteX24" fmla="*/ 1600771 w 5487431"/>
              <a:gd name="connsiteY24" fmla="*/ 142174 h 505330"/>
              <a:gd name="connsiteX25" fmla="*/ 1467571 w 5487431"/>
              <a:gd name="connsiteY25" fmla="*/ 241602 h 505330"/>
              <a:gd name="connsiteX26" fmla="*/ 1551962 w 5487431"/>
              <a:gd name="connsiteY26" fmla="*/ 341030 h 505330"/>
              <a:gd name="connsiteX27" fmla="*/ 1621702 w 5487431"/>
              <a:gd name="connsiteY27" fmla="*/ 358260 h 505330"/>
              <a:gd name="connsiteX28" fmla="*/ 1675457 w 5487431"/>
              <a:gd name="connsiteY28" fmla="*/ 409387 h 505330"/>
              <a:gd name="connsiteX29" fmla="*/ 1606384 w 5487431"/>
              <a:gd name="connsiteY29" fmla="*/ 464656 h 505330"/>
              <a:gd name="connsiteX30" fmla="*/ 1526845 w 5487431"/>
              <a:gd name="connsiteY30" fmla="*/ 384624 h 505330"/>
              <a:gd name="connsiteX31" fmla="*/ 1452919 w 5487431"/>
              <a:gd name="connsiteY31" fmla="*/ 405338 h 505330"/>
              <a:gd name="connsiteX32" fmla="*/ 1597345 w 5487431"/>
              <a:gd name="connsiteY32" fmla="*/ 501282 h 505330"/>
              <a:gd name="connsiteX33" fmla="*/ 1742438 w 5487431"/>
              <a:gd name="connsiteY33" fmla="*/ 388767 h 505330"/>
              <a:gd name="connsiteX34" fmla="*/ 1649674 w 5487431"/>
              <a:gd name="connsiteY34" fmla="*/ 285196 h 505330"/>
              <a:gd name="connsiteX35" fmla="*/ 1582693 w 5487431"/>
              <a:gd name="connsiteY35" fmla="*/ 268625 h 505330"/>
              <a:gd name="connsiteX36" fmla="*/ 1534551 w 5487431"/>
              <a:gd name="connsiteY36" fmla="*/ 223054 h 505330"/>
              <a:gd name="connsiteX37" fmla="*/ 1593825 w 5487431"/>
              <a:gd name="connsiteY37" fmla="*/ 178895 h 505330"/>
              <a:gd name="connsiteX38" fmla="*/ 1664992 w 5487431"/>
              <a:gd name="connsiteY38" fmla="*/ 245180 h 505330"/>
              <a:gd name="connsiteX39" fmla="*/ 1734731 w 5487431"/>
              <a:gd name="connsiteY39" fmla="*/ 224466 h 505330"/>
              <a:gd name="connsiteX40" fmla="*/ 1600771 w 5487431"/>
              <a:gd name="connsiteY40" fmla="*/ 142174 h 505330"/>
              <a:gd name="connsiteX41" fmla="*/ 1946803 w 5487431"/>
              <a:gd name="connsiteY41" fmla="*/ 463149 h 505330"/>
              <a:gd name="connsiteX42" fmla="*/ 1863078 w 5487431"/>
              <a:gd name="connsiteY42" fmla="*/ 321634 h 505330"/>
              <a:gd name="connsiteX43" fmla="*/ 1946803 w 5487431"/>
              <a:gd name="connsiteY43" fmla="*/ 180119 h 505330"/>
              <a:gd name="connsiteX44" fmla="*/ 2030529 w 5487431"/>
              <a:gd name="connsiteY44" fmla="*/ 321634 h 505330"/>
              <a:gd name="connsiteX45" fmla="*/ 1946803 w 5487431"/>
              <a:gd name="connsiteY45" fmla="*/ 463149 h 505330"/>
              <a:gd name="connsiteX46" fmla="*/ 1946803 w 5487431"/>
              <a:gd name="connsiteY46" fmla="*/ 142174 h 505330"/>
              <a:gd name="connsiteX47" fmla="*/ 1776594 w 5487431"/>
              <a:gd name="connsiteY47" fmla="*/ 321634 h 505330"/>
              <a:gd name="connsiteX48" fmla="*/ 1946803 w 5487431"/>
              <a:gd name="connsiteY48" fmla="*/ 501094 h 505330"/>
              <a:gd name="connsiteX49" fmla="*/ 2117013 w 5487431"/>
              <a:gd name="connsiteY49" fmla="*/ 321634 h 505330"/>
              <a:gd name="connsiteX50" fmla="*/ 1946803 w 5487431"/>
              <a:gd name="connsiteY50" fmla="*/ 142174 h 505330"/>
              <a:gd name="connsiteX51" fmla="*/ 2348590 w 5487431"/>
              <a:gd name="connsiteY51" fmla="*/ 142174 h 505330"/>
              <a:gd name="connsiteX52" fmla="*/ 2252306 w 5487431"/>
              <a:gd name="connsiteY52" fmla="*/ 192547 h 505330"/>
              <a:gd name="connsiteX53" fmla="*/ 2248119 w 5487431"/>
              <a:gd name="connsiteY53" fmla="*/ 192547 h 505330"/>
              <a:gd name="connsiteX54" fmla="*/ 2248119 w 5487431"/>
              <a:gd name="connsiteY54" fmla="*/ 149048 h 505330"/>
              <a:gd name="connsiteX55" fmla="*/ 2165821 w 5487431"/>
              <a:gd name="connsiteY55" fmla="*/ 149048 h 505330"/>
              <a:gd name="connsiteX56" fmla="*/ 2165821 w 5487431"/>
              <a:gd name="connsiteY56" fmla="*/ 494221 h 505330"/>
              <a:gd name="connsiteX57" fmla="*/ 2248119 w 5487431"/>
              <a:gd name="connsiteY57" fmla="*/ 494221 h 505330"/>
              <a:gd name="connsiteX58" fmla="*/ 2248119 w 5487431"/>
              <a:gd name="connsiteY58" fmla="*/ 271261 h 505330"/>
              <a:gd name="connsiteX59" fmla="*/ 2317193 w 5487431"/>
              <a:gd name="connsiteY59" fmla="*/ 190476 h 505330"/>
              <a:gd name="connsiteX60" fmla="*/ 2376466 w 5487431"/>
              <a:gd name="connsiteY60" fmla="*/ 258173 h 505330"/>
              <a:gd name="connsiteX61" fmla="*/ 2376466 w 5487431"/>
              <a:gd name="connsiteY61" fmla="*/ 494221 h 505330"/>
              <a:gd name="connsiteX62" fmla="*/ 2458764 w 5487431"/>
              <a:gd name="connsiteY62" fmla="*/ 494221 h 505330"/>
              <a:gd name="connsiteX63" fmla="*/ 2458764 w 5487431"/>
              <a:gd name="connsiteY63" fmla="*/ 257420 h 505330"/>
              <a:gd name="connsiteX64" fmla="*/ 2348590 w 5487431"/>
              <a:gd name="connsiteY64" fmla="*/ 142174 h 505330"/>
              <a:gd name="connsiteX65" fmla="*/ 3571359 w 5487431"/>
              <a:gd name="connsiteY65" fmla="*/ 463149 h 505330"/>
              <a:gd name="connsiteX66" fmla="*/ 3487634 w 5487431"/>
              <a:gd name="connsiteY66" fmla="*/ 321634 h 505330"/>
              <a:gd name="connsiteX67" fmla="*/ 3571359 w 5487431"/>
              <a:gd name="connsiteY67" fmla="*/ 180119 h 505330"/>
              <a:gd name="connsiteX68" fmla="*/ 3655085 w 5487431"/>
              <a:gd name="connsiteY68" fmla="*/ 321634 h 505330"/>
              <a:gd name="connsiteX69" fmla="*/ 3571359 w 5487431"/>
              <a:gd name="connsiteY69" fmla="*/ 463149 h 505330"/>
              <a:gd name="connsiteX70" fmla="*/ 3571359 w 5487431"/>
              <a:gd name="connsiteY70" fmla="*/ 142174 h 505330"/>
              <a:gd name="connsiteX71" fmla="*/ 3401150 w 5487431"/>
              <a:gd name="connsiteY71" fmla="*/ 321634 h 505330"/>
              <a:gd name="connsiteX72" fmla="*/ 3571359 w 5487431"/>
              <a:gd name="connsiteY72" fmla="*/ 501094 h 505330"/>
              <a:gd name="connsiteX73" fmla="*/ 3741569 w 5487431"/>
              <a:gd name="connsiteY73" fmla="*/ 321634 h 505330"/>
              <a:gd name="connsiteX74" fmla="*/ 3571359 w 5487431"/>
              <a:gd name="connsiteY74" fmla="*/ 142174 h 505330"/>
              <a:gd name="connsiteX75" fmla="*/ 4332308 w 5487431"/>
              <a:gd name="connsiteY75" fmla="*/ 142174 h 505330"/>
              <a:gd name="connsiteX76" fmla="*/ 4236024 w 5487431"/>
              <a:gd name="connsiteY76" fmla="*/ 192547 h 505330"/>
              <a:gd name="connsiteX77" fmla="*/ 4231838 w 5487431"/>
              <a:gd name="connsiteY77" fmla="*/ 192547 h 505330"/>
              <a:gd name="connsiteX78" fmla="*/ 4231838 w 5487431"/>
              <a:gd name="connsiteY78" fmla="*/ 149048 h 505330"/>
              <a:gd name="connsiteX79" fmla="*/ 4149539 w 5487431"/>
              <a:gd name="connsiteY79" fmla="*/ 149048 h 505330"/>
              <a:gd name="connsiteX80" fmla="*/ 4149539 w 5487431"/>
              <a:gd name="connsiteY80" fmla="*/ 494221 h 505330"/>
              <a:gd name="connsiteX81" fmla="*/ 4231838 w 5487431"/>
              <a:gd name="connsiteY81" fmla="*/ 494221 h 505330"/>
              <a:gd name="connsiteX82" fmla="*/ 4231838 w 5487431"/>
              <a:gd name="connsiteY82" fmla="*/ 271261 h 505330"/>
              <a:gd name="connsiteX83" fmla="*/ 4300911 w 5487431"/>
              <a:gd name="connsiteY83" fmla="*/ 190476 h 505330"/>
              <a:gd name="connsiteX84" fmla="*/ 4360185 w 5487431"/>
              <a:gd name="connsiteY84" fmla="*/ 258173 h 505330"/>
              <a:gd name="connsiteX85" fmla="*/ 4360185 w 5487431"/>
              <a:gd name="connsiteY85" fmla="*/ 494221 h 505330"/>
              <a:gd name="connsiteX86" fmla="*/ 4442483 w 5487431"/>
              <a:gd name="connsiteY86" fmla="*/ 494221 h 505330"/>
              <a:gd name="connsiteX87" fmla="*/ 4442483 w 5487431"/>
              <a:gd name="connsiteY87" fmla="*/ 257420 h 505330"/>
              <a:gd name="connsiteX88" fmla="*/ 4332308 w 5487431"/>
              <a:gd name="connsiteY88" fmla="*/ 142174 h 505330"/>
              <a:gd name="connsiteX89" fmla="*/ 4629533 w 5487431"/>
              <a:gd name="connsiteY89" fmla="*/ 142174 h 505330"/>
              <a:gd name="connsiteX90" fmla="*/ 4496334 w 5487431"/>
              <a:gd name="connsiteY90" fmla="*/ 241602 h 505330"/>
              <a:gd name="connsiteX91" fmla="*/ 4580725 w 5487431"/>
              <a:gd name="connsiteY91" fmla="*/ 341030 h 505330"/>
              <a:gd name="connsiteX92" fmla="*/ 4650464 w 5487431"/>
              <a:gd name="connsiteY92" fmla="*/ 358260 h 505330"/>
              <a:gd name="connsiteX93" fmla="*/ 4704220 w 5487431"/>
              <a:gd name="connsiteY93" fmla="*/ 409387 h 505330"/>
              <a:gd name="connsiteX94" fmla="*/ 4635146 w 5487431"/>
              <a:gd name="connsiteY94" fmla="*/ 464656 h 505330"/>
              <a:gd name="connsiteX95" fmla="*/ 4555607 w 5487431"/>
              <a:gd name="connsiteY95" fmla="*/ 384624 h 505330"/>
              <a:gd name="connsiteX96" fmla="*/ 4481682 w 5487431"/>
              <a:gd name="connsiteY96" fmla="*/ 405338 h 505330"/>
              <a:gd name="connsiteX97" fmla="*/ 4626108 w 5487431"/>
              <a:gd name="connsiteY97" fmla="*/ 501282 h 505330"/>
              <a:gd name="connsiteX98" fmla="*/ 4771200 w 5487431"/>
              <a:gd name="connsiteY98" fmla="*/ 388767 h 505330"/>
              <a:gd name="connsiteX99" fmla="*/ 4678436 w 5487431"/>
              <a:gd name="connsiteY99" fmla="*/ 285196 h 505330"/>
              <a:gd name="connsiteX100" fmla="*/ 4611456 w 5487431"/>
              <a:gd name="connsiteY100" fmla="*/ 268625 h 505330"/>
              <a:gd name="connsiteX101" fmla="*/ 4563314 w 5487431"/>
              <a:gd name="connsiteY101" fmla="*/ 223054 h 505330"/>
              <a:gd name="connsiteX102" fmla="*/ 4622588 w 5487431"/>
              <a:gd name="connsiteY102" fmla="*/ 178895 h 505330"/>
              <a:gd name="connsiteX103" fmla="*/ 4693754 w 5487431"/>
              <a:gd name="connsiteY103" fmla="*/ 245180 h 505330"/>
              <a:gd name="connsiteX104" fmla="*/ 4763493 w 5487431"/>
              <a:gd name="connsiteY104" fmla="*/ 224466 h 505330"/>
              <a:gd name="connsiteX105" fmla="*/ 4629533 w 5487431"/>
              <a:gd name="connsiteY105" fmla="*/ 142174 h 505330"/>
              <a:gd name="connsiteX106" fmla="*/ 4975471 w 5487431"/>
              <a:gd name="connsiteY106" fmla="*/ 463149 h 505330"/>
              <a:gd name="connsiteX107" fmla="*/ 4891745 w 5487431"/>
              <a:gd name="connsiteY107" fmla="*/ 321634 h 505330"/>
              <a:gd name="connsiteX108" fmla="*/ 4975471 w 5487431"/>
              <a:gd name="connsiteY108" fmla="*/ 180119 h 505330"/>
              <a:gd name="connsiteX109" fmla="*/ 5059196 w 5487431"/>
              <a:gd name="connsiteY109" fmla="*/ 321634 h 505330"/>
              <a:gd name="connsiteX110" fmla="*/ 4975471 w 5487431"/>
              <a:gd name="connsiteY110" fmla="*/ 463149 h 505330"/>
              <a:gd name="connsiteX111" fmla="*/ 4975471 w 5487431"/>
              <a:gd name="connsiteY111" fmla="*/ 142174 h 505330"/>
              <a:gd name="connsiteX112" fmla="*/ 4805261 w 5487431"/>
              <a:gd name="connsiteY112" fmla="*/ 321634 h 505330"/>
              <a:gd name="connsiteX113" fmla="*/ 4975471 w 5487431"/>
              <a:gd name="connsiteY113" fmla="*/ 501094 h 505330"/>
              <a:gd name="connsiteX114" fmla="*/ 5145680 w 5487431"/>
              <a:gd name="connsiteY114" fmla="*/ 321634 h 505330"/>
              <a:gd name="connsiteX115" fmla="*/ 4975471 w 5487431"/>
              <a:gd name="connsiteY115" fmla="*/ 142174 h 505330"/>
              <a:gd name="connsiteX116" fmla="*/ 5377257 w 5487431"/>
              <a:gd name="connsiteY116" fmla="*/ 142174 h 505330"/>
              <a:gd name="connsiteX117" fmla="*/ 5280973 w 5487431"/>
              <a:gd name="connsiteY117" fmla="*/ 192547 h 505330"/>
              <a:gd name="connsiteX118" fmla="*/ 5276787 w 5487431"/>
              <a:gd name="connsiteY118" fmla="*/ 192547 h 505330"/>
              <a:gd name="connsiteX119" fmla="*/ 5276787 w 5487431"/>
              <a:gd name="connsiteY119" fmla="*/ 149048 h 505330"/>
              <a:gd name="connsiteX120" fmla="*/ 5194488 w 5487431"/>
              <a:gd name="connsiteY120" fmla="*/ 149048 h 505330"/>
              <a:gd name="connsiteX121" fmla="*/ 5194488 w 5487431"/>
              <a:gd name="connsiteY121" fmla="*/ 494221 h 505330"/>
              <a:gd name="connsiteX122" fmla="*/ 5276787 w 5487431"/>
              <a:gd name="connsiteY122" fmla="*/ 494221 h 505330"/>
              <a:gd name="connsiteX123" fmla="*/ 5276787 w 5487431"/>
              <a:gd name="connsiteY123" fmla="*/ 271261 h 505330"/>
              <a:gd name="connsiteX124" fmla="*/ 5345860 w 5487431"/>
              <a:gd name="connsiteY124" fmla="*/ 190476 h 505330"/>
              <a:gd name="connsiteX125" fmla="*/ 5405134 w 5487431"/>
              <a:gd name="connsiteY125" fmla="*/ 258173 h 505330"/>
              <a:gd name="connsiteX126" fmla="*/ 5405134 w 5487431"/>
              <a:gd name="connsiteY126" fmla="*/ 494221 h 505330"/>
              <a:gd name="connsiteX127" fmla="*/ 5487432 w 5487431"/>
              <a:gd name="connsiteY127" fmla="*/ 494221 h 505330"/>
              <a:gd name="connsiteX128" fmla="*/ 5487432 w 5487431"/>
              <a:gd name="connsiteY128" fmla="*/ 257420 h 505330"/>
              <a:gd name="connsiteX129" fmla="*/ 5377257 w 5487431"/>
              <a:gd name="connsiteY129" fmla="*/ 142174 h 505330"/>
              <a:gd name="connsiteX130" fmla="*/ 323674 w 5487431"/>
              <a:gd name="connsiteY130" fmla="*/ 11016 h 505330"/>
              <a:gd name="connsiteX131" fmla="*/ 237190 w 5487431"/>
              <a:gd name="connsiteY131" fmla="*/ 11016 h 505330"/>
              <a:gd name="connsiteX132" fmla="*/ 237190 w 5487431"/>
              <a:gd name="connsiteY132" fmla="*/ 367864 h 505330"/>
              <a:gd name="connsiteX133" fmla="*/ 161837 w 5487431"/>
              <a:gd name="connsiteY133" fmla="*/ 460325 h 505330"/>
              <a:gd name="connsiteX134" fmla="*/ 86484 w 5487431"/>
              <a:gd name="connsiteY134" fmla="*/ 360897 h 505330"/>
              <a:gd name="connsiteX135" fmla="*/ 86484 w 5487431"/>
              <a:gd name="connsiteY135" fmla="*/ 294612 h 505330"/>
              <a:gd name="connsiteX136" fmla="*/ 0 w 5487431"/>
              <a:gd name="connsiteY136" fmla="*/ 315985 h 505330"/>
              <a:gd name="connsiteX137" fmla="*/ 0 w 5487431"/>
              <a:gd name="connsiteY137" fmla="*/ 345644 h 505330"/>
              <a:gd name="connsiteX138" fmla="*/ 161837 w 5487431"/>
              <a:gd name="connsiteY138" fmla="*/ 505143 h 505330"/>
              <a:gd name="connsiteX139" fmla="*/ 323674 w 5487431"/>
              <a:gd name="connsiteY139" fmla="*/ 345644 h 505330"/>
              <a:gd name="connsiteX140" fmla="*/ 323674 w 5487431"/>
              <a:gd name="connsiteY140" fmla="*/ 11016 h 505330"/>
              <a:gd name="connsiteX141" fmla="*/ 844008 w 5487431"/>
              <a:gd name="connsiteY141" fmla="*/ 11016 h 505330"/>
              <a:gd name="connsiteX142" fmla="*/ 761710 w 5487431"/>
              <a:gd name="connsiteY142" fmla="*/ 11016 h 505330"/>
              <a:gd name="connsiteX143" fmla="*/ 761710 w 5487431"/>
              <a:gd name="connsiteY143" fmla="*/ 494221 h 505330"/>
              <a:gd name="connsiteX144" fmla="*/ 844008 w 5487431"/>
              <a:gd name="connsiteY144" fmla="*/ 494221 h 505330"/>
              <a:gd name="connsiteX145" fmla="*/ 844008 w 5487431"/>
              <a:gd name="connsiteY145" fmla="*/ 271261 h 505330"/>
              <a:gd name="connsiteX146" fmla="*/ 913081 w 5487431"/>
              <a:gd name="connsiteY146" fmla="*/ 190476 h 505330"/>
              <a:gd name="connsiteX147" fmla="*/ 972355 w 5487431"/>
              <a:gd name="connsiteY147" fmla="*/ 258173 h 505330"/>
              <a:gd name="connsiteX148" fmla="*/ 972355 w 5487431"/>
              <a:gd name="connsiteY148" fmla="*/ 494221 h 505330"/>
              <a:gd name="connsiteX149" fmla="*/ 1054653 w 5487431"/>
              <a:gd name="connsiteY149" fmla="*/ 494221 h 505330"/>
              <a:gd name="connsiteX150" fmla="*/ 1054653 w 5487431"/>
              <a:gd name="connsiteY150" fmla="*/ 257420 h 505330"/>
              <a:gd name="connsiteX151" fmla="*/ 944478 w 5487431"/>
              <a:gd name="connsiteY151" fmla="*/ 142174 h 505330"/>
              <a:gd name="connsiteX152" fmla="*/ 848194 w 5487431"/>
              <a:gd name="connsiteY152" fmla="*/ 192547 h 505330"/>
              <a:gd name="connsiteX153" fmla="*/ 844008 w 5487431"/>
              <a:gd name="connsiteY153" fmla="*/ 192547 h 505330"/>
              <a:gd name="connsiteX154" fmla="*/ 844008 w 5487431"/>
              <a:gd name="connsiteY154" fmla="*/ 11016 h 505330"/>
              <a:gd name="connsiteX155" fmla="*/ 3352342 w 5487431"/>
              <a:gd name="connsiteY155" fmla="*/ 11016 h 505330"/>
              <a:gd name="connsiteX156" fmla="*/ 3265857 w 5487431"/>
              <a:gd name="connsiteY156" fmla="*/ 11016 h 505330"/>
              <a:gd name="connsiteX157" fmla="*/ 3265857 w 5487431"/>
              <a:gd name="connsiteY157" fmla="*/ 367864 h 505330"/>
              <a:gd name="connsiteX158" fmla="*/ 3190504 w 5487431"/>
              <a:gd name="connsiteY158" fmla="*/ 460325 h 505330"/>
              <a:gd name="connsiteX159" fmla="*/ 3115152 w 5487431"/>
              <a:gd name="connsiteY159" fmla="*/ 360897 h 505330"/>
              <a:gd name="connsiteX160" fmla="*/ 3115152 w 5487431"/>
              <a:gd name="connsiteY160" fmla="*/ 294612 h 505330"/>
              <a:gd name="connsiteX161" fmla="*/ 3028667 w 5487431"/>
              <a:gd name="connsiteY161" fmla="*/ 315985 h 505330"/>
              <a:gd name="connsiteX162" fmla="*/ 3028667 w 5487431"/>
              <a:gd name="connsiteY162" fmla="*/ 345644 h 505330"/>
              <a:gd name="connsiteX163" fmla="*/ 3190504 w 5487431"/>
              <a:gd name="connsiteY163" fmla="*/ 505143 h 505330"/>
              <a:gd name="connsiteX164" fmla="*/ 3352342 w 5487431"/>
              <a:gd name="connsiteY164" fmla="*/ 345644 h 505330"/>
              <a:gd name="connsiteX165" fmla="*/ 3352342 w 5487431"/>
              <a:gd name="connsiteY165" fmla="*/ 11016 h 505330"/>
              <a:gd name="connsiteX166" fmla="*/ 3872675 w 5487431"/>
              <a:gd name="connsiteY166" fmla="*/ 11016 h 505330"/>
              <a:gd name="connsiteX167" fmla="*/ 3790377 w 5487431"/>
              <a:gd name="connsiteY167" fmla="*/ 11016 h 505330"/>
              <a:gd name="connsiteX168" fmla="*/ 3790377 w 5487431"/>
              <a:gd name="connsiteY168" fmla="*/ 494221 h 505330"/>
              <a:gd name="connsiteX169" fmla="*/ 3872675 w 5487431"/>
              <a:gd name="connsiteY169" fmla="*/ 494221 h 505330"/>
              <a:gd name="connsiteX170" fmla="*/ 3872675 w 5487431"/>
              <a:gd name="connsiteY170" fmla="*/ 271261 h 505330"/>
              <a:gd name="connsiteX171" fmla="*/ 3941749 w 5487431"/>
              <a:gd name="connsiteY171" fmla="*/ 190476 h 505330"/>
              <a:gd name="connsiteX172" fmla="*/ 4001022 w 5487431"/>
              <a:gd name="connsiteY172" fmla="*/ 258173 h 505330"/>
              <a:gd name="connsiteX173" fmla="*/ 4001022 w 5487431"/>
              <a:gd name="connsiteY173" fmla="*/ 494221 h 505330"/>
              <a:gd name="connsiteX174" fmla="*/ 4083320 w 5487431"/>
              <a:gd name="connsiteY174" fmla="*/ 494221 h 505330"/>
              <a:gd name="connsiteX175" fmla="*/ 4083320 w 5487431"/>
              <a:gd name="connsiteY175" fmla="*/ 257420 h 505330"/>
              <a:gd name="connsiteX176" fmla="*/ 3973146 w 5487431"/>
              <a:gd name="connsiteY176" fmla="*/ 142174 h 505330"/>
              <a:gd name="connsiteX177" fmla="*/ 3876861 w 5487431"/>
              <a:gd name="connsiteY177" fmla="*/ 192547 h 505330"/>
              <a:gd name="connsiteX178" fmla="*/ 3872675 w 5487431"/>
              <a:gd name="connsiteY178" fmla="*/ 192547 h 505330"/>
              <a:gd name="connsiteX179" fmla="*/ 3872675 w 5487431"/>
              <a:gd name="connsiteY179" fmla="*/ 11016 h 505330"/>
              <a:gd name="connsiteX180" fmla="*/ 2730110 w 5487431"/>
              <a:gd name="connsiteY180" fmla="*/ 454864 h 505330"/>
              <a:gd name="connsiteX181" fmla="*/ 2622029 w 5487431"/>
              <a:gd name="connsiteY181" fmla="*/ 343761 h 505330"/>
              <a:gd name="connsiteX182" fmla="*/ 2664557 w 5487431"/>
              <a:gd name="connsiteY182" fmla="*/ 256102 h 505330"/>
              <a:gd name="connsiteX183" fmla="*/ 2822208 w 5487431"/>
              <a:gd name="connsiteY183" fmla="*/ 426617 h 505330"/>
              <a:gd name="connsiteX184" fmla="*/ 2730110 w 5487431"/>
              <a:gd name="connsiteY184" fmla="*/ 454864 h 505330"/>
              <a:gd name="connsiteX185" fmla="*/ 2883575 w 5487431"/>
              <a:gd name="connsiteY185" fmla="*/ 369936 h 505330"/>
              <a:gd name="connsiteX186" fmla="*/ 2746856 w 5487431"/>
              <a:gd name="connsiteY186" fmla="*/ 220794 h 505330"/>
              <a:gd name="connsiteX187" fmla="*/ 2814502 w 5487431"/>
              <a:gd name="connsiteY187" fmla="*/ 207706 h 505330"/>
              <a:gd name="connsiteX188" fmla="*/ 2905838 w 5487431"/>
              <a:gd name="connsiteY188" fmla="*/ 296118 h 505330"/>
              <a:gd name="connsiteX189" fmla="*/ 2883575 w 5487431"/>
              <a:gd name="connsiteY189" fmla="*/ 369936 h 505330"/>
              <a:gd name="connsiteX190" fmla="*/ 2728017 w 5487431"/>
              <a:gd name="connsiteY190" fmla="*/ 200833 h 505330"/>
              <a:gd name="connsiteX191" fmla="*/ 2698047 w 5487431"/>
              <a:gd name="connsiteY191" fmla="*/ 167690 h 505330"/>
              <a:gd name="connsiteX192" fmla="*/ 2663891 w 5487431"/>
              <a:gd name="connsiteY192" fmla="*/ 99334 h 505330"/>
              <a:gd name="connsiteX193" fmla="*/ 2730110 w 5487431"/>
              <a:gd name="connsiteY193" fmla="*/ 36532 h 505330"/>
              <a:gd name="connsiteX194" fmla="*/ 2795664 w 5487431"/>
              <a:gd name="connsiteY194" fmla="*/ 102817 h 505330"/>
              <a:gd name="connsiteX195" fmla="*/ 2728017 w 5487431"/>
              <a:gd name="connsiteY195" fmla="*/ 200833 h 505330"/>
              <a:gd name="connsiteX196" fmla="*/ 2732204 w 5487431"/>
              <a:gd name="connsiteY196" fmla="*/ 0 h 505330"/>
              <a:gd name="connsiteX197" fmla="*/ 2588539 w 5487431"/>
              <a:gd name="connsiteY197" fmla="*/ 119389 h 505330"/>
              <a:gd name="connsiteX198" fmla="*/ 2644387 w 5487431"/>
              <a:gd name="connsiteY198" fmla="*/ 234635 h 505330"/>
              <a:gd name="connsiteX199" fmla="*/ 2645053 w 5487431"/>
              <a:gd name="connsiteY199" fmla="*/ 236047 h 505330"/>
              <a:gd name="connsiteX200" fmla="*/ 2545344 w 5487431"/>
              <a:gd name="connsiteY200" fmla="*/ 374832 h 505330"/>
              <a:gd name="connsiteX201" fmla="*/ 2685584 w 5487431"/>
              <a:gd name="connsiteY201" fmla="*/ 505331 h 505330"/>
              <a:gd name="connsiteX202" fmla="*/ 2843235 w 5487431"/>
              <a:gd name="connsiteY202" fmla="*/ 449403 h 505330"/>
              <a:gd name="connsiteX203" fmla="*/ 2885097 w 5487431"/>
              <a:gd name="connsiteY203" fmla="*/ 494315 h 505330"/>
              <a:gd name="connsiteX204" fmla="*/ 2994606 w 5487431"/>
              <a:gd name="connsiteY204" fmla="*/ 494315 h 505330"/>
              <a:gd name="connsiteX205" fmla="*/ 2994606 w 5487431"/>
              <a:gd name="connsiteY205" fmla="*/ 490831 h 505330"/>
              <a:gd name="connsiteX206" fmla="*/ 2905363 w 5487431"/>
              <a:gd name="connsiteY206" fmla="*/ 393474 h 505330"/>
              <a:gd name="connsiteX207" fmla="*/ 2964637 w 5487431"/>
              <a:gd name="connsiteY207" fmla="*/ 258833 h 505330"/>
              <a:gd name="connsiteX208" fmla="*/ 2873300 w 5487431"/>
              <a:gd name="connsiteY208" fmla="*/ 171174 h 505330"/>
              <a:gd name="connsiteX209" fmla="*/ 2789574 w 5487431"/>
              <a:gd name="connsiteY209" fmla="*/ 187745 h 505330"/>
              <a:gd name="connsiteX210" fmla="*/ 2788147 w 5487431"/>
              <a:gd name="connsiteY210" fmla="*/ 185015 h 505330"/>
              <a:gd name="connsiteX211" fmla="*/ 2863500 w 5487431"/>
              <a:gd name="connsiteY211" fmla="*/ 93873 h 505330"/>
              <a:gd name="connsiteX212" fmla="*/ 2732204 w 5487431"/>
              <a:gd name="connsiteY212" fmla="*/ 0 h 50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5487431" h="505330">
                <a:moveTo>
                  <a:pt x="542692" y="463149"/>
                </a:moveTo>
                <a:cubicBezTo>
                  <a:pt x="488937" y="463149"/>
                  <a:pt x="458967" y="412776"/>
                  <a:pt x="458967" y="321634"/>
                </a:cubicBezTo>
                <a:cubicBezTo>
                  <a:pt x="458967" y="229080"/>
                  <a:pt x="488937" y="180119"/>
                  <a:pt x="542692" y="180119"/>
                </a:cubicBezTo>
                <a:cubicBezTo>
                  <a:pt x="596448" y="180119"/>
                  <a:pt x="626417" y="229833"/>
                  <a:pt x="626417" y="321634"/>
                </a:cubicBezTo>
                <a:cubicBezTo>
                  <a:pt x="626322" y="414189"/>
                  <a:pt x="596352" y="463149"/>
                  <a:pt x="542692" y="463149"/>
                </a:cubicBezTo>
                <a:moveTo>
                  <a:pt x="542692" y="142174"/>
                </a:moveTo>
                <a:cubicBezTo>
                  <a:pt x="433183" y="142174"/>
                  <a:pt x="372482" y="222959"/>
                  <a:pt x="372482" y="321634"/>
                </a:cubicBezTo>
                <a:cubicBezTo>
                  <a:pt x="372482" y="420309"/>
                  <a:pt x="433183" y="501094"/>
                  <a:pt x="542692" y="501094"/>
                </a:cubicBezTo>
                <a:cubicBezTo>
                  <a:pt x="652201" y="501094"/>
                  <a:pt x="712902" y="420309"/>
                  <a:pt x="712902" y="321634"/>
                </a:cubicBezTo>
                <a:cubicBezTo>
                  <a:pt x="712902" y="222959"/>
                  <a:pt x="652201" y="142174"/>
                  <a:pt x="542692" y="142174"/>
                </a:cubicBezTo>
                <a:moveTo>
                  <a:pt x="1303641" y="142174"/>
                </a:moveTo>
                <a:cubicBezTo>
                  <a:pt x="1251979" y="142174"/>
                  <a:pt x="1223436" y="164301"/>
                  <a:pt x="1207357" y="192547"/>
                </a:cubicBezTo>
                <a:lnTo>
                  <a:pt x="1203170" y="192547"/>
                </a:lnTo>
                <a:lnTo>
                  <a:pt x="1203170" y="149048"/>
                </a:lnTo>
                <a:lnTo>
                  <a:pt x="1120872" y="149048"/>
                </a:lnTo>
                <a:lnTo>
                  <a:pt x="1120872" y="494221"/>
                </a:lnTo>
                <a:lnTo>
                  <a:pt x="1203170" y="494221"/>
                </a:lnTo>
                <a:lnTo>
                  <a:pt x="1203170" y="271261"/>
                </a:lnTo>
                <a:cubicBezTo>
                  <a:pt x="1203170" y="220229"/>
                  <a:pt x="1229715" y="190476"/>
                  <a:pt x="1272244" y="190476"/>
                </a:cubicBezTo>
                <a:cubicBezTo>
                  <a:pt x="1313440" y="190476"/>
                  <a:pt x="1331518" y="217404"/>
                  <a:pt x="1331518" y="258173"/>
                </a:cubicBezTo>
                <a:lnTo>
                  <a:pt x="1331518" y="494221"/>
                </a:lnTo>
                <a:lnTo>
                  <a:pt x="1413816" y="494221"/>
                </a:lnTo>
                <a:lnTo>
                  <a:pt x="1413816" y="257420"/>
                </a:lnTo>
                <a:cubicBezTo>
                  <a:pt x="1413911" y="186333"/>
                  <a:pt x="1376234" y="142174"/>
                  <a:pt x="1303641" y="142174"/>
                </a:cubicBezTo>
                <a:moveTo>
                  <a:pt x="1600771" y="142174"/>
                </a:moveTo>
                <a:cubicBezTo>
                  <a:pt x="1524752" y="142174"/>
                  <a:pt x="1467571" y="173905"/>
                  <a:pt x="1467571" y="241602"/>
                </a:cubicBezTo>
                <a:cubicBezTo>
                  <a:pt x="1467571" y="298943"/>
                  <a:pt x="1507341" y="330014"/>
                  <a:pt x="1551962" y="341030"/>
                </a:cubicBezTo>
                <a:lnTo>
                  <a:pt x="1621702" y="358260"/>
                </a:lnTo>
                <a:cubicBezTo>
                  <a:pt x="1658712" y="367205"/>
                  <a:pt x="1675457" y="380387"/>
                  <a:pt x="1675457" y="409387"/>
                </a:cubicBezTo>
                <a:cubicBezTo>
                  <a:pt x="1675457" y="444601"/>
                  <a:pt x="1650340" y="464656"/>
                  <a:pt x="1606384" y="464656"/>
                </a:cubicBezTo>
                <a:cubicBezTo>
                  <a:pt x="1558908" y="464656"/>
                  <a:pt x="1534551" y="441870"/>
                  <a:pt x="1526845" y="384624"/>
                </a:cubicBezTo>
                <a:lnTo>
                  <a:pt x="1452919" y="405338"/>
                </a:lnTo>
                <a:cubicBezTo>
                  <a:pt x="1457106" y="464750"/>
                  <a:pt x="1512954" y="501282"/>
                  <a:pt x="1597345" y="501282"/>
                </a:cubicBezTo>
                <a:cubicBezTo>
                  <a:pt x="1691536" y="501282"/>
                  <a:pt x="1742438" y="457782"/>
                  <a:pt x="1742438" y="388767"/>
                </a:cubicBezTo>
                <a:cubicBezTo>
                  <a:pt x="1742438" y="323894"/>
                  <a:pt x="1697055" y="296965"/>
                  <a:pt x="1649674" y="285196"/>
                </a:cubicBezTo>
                <a:lnTo>
                  <a:pt x="1582693" y="268625"/>
                </a:lnTo>
                <a:cubicBezTo>
                  <a:pt x="1549203" y="260339"/>
                  <a:pt x="1534551" y="245180"/>
                  <a:pt x="1534551" y="223054"/>
                </a:cubicBezTo>
                <a:cubicBezTo>
                  <a:pt x="1534551" y="195466"/>
                  <a:pt x="1558242" y="178895"/>
                  <a:pt x="1593825" y="178895"/>
                </a:cubicBezTo>
                <a:cubicBezTo>
                  <a:pt x="1635688" y="178895"/>
                  <a:pt x="1661471" y="201680"/>
                  <a:pt x="1664992" y="245180"/>
                </a:cubicBezTo>
                <a:lnTo>
                  <a:pt x="1734731" y="224466"/>
                </a:lnTo>
                <a:cubicBezTo>
                  <a:pt x="1726358" y="175976"/>
                  <a:pt x="1678216" y="142174"/>
                  <a:pt x="1600771" y="142174"/>
                </a:cubicBezTo>
                <a:moveTo>
                  <a:pt x="1946803" y="463149"/>
                </a:moveTo>
                <a:cubicBezTo>
                  <a:pt x="1893048" y="463149"/>
                  <a:pt x="1863078" y="412776"/>
                  <a:pt x="1863078" y="321634"/>
                </a:cubicBezTo>
                <a:cubicBezTo>
                  <a:pt x="1863078" y="229080"/>
                  <a:pt x="1893048" y="180119"/>
                  <a:pt x="1946803" y="180119"/>
                </a:cubicBezTo>
                <a:cubicBezTo>
                  <a:pt x="2000559" y="180119"/>
                  <a:pt x="2030529" y="229833"/>
                  <a:pt x="2030529" y="321634"/>
                </a:cubicBezTo>
                <a:cubicBezTo>
                  <a:pt x="2030529" y="414189"/>
                  <a:pt x="2000464" y="463149"/>
                  <a:pt x="1946803" y="463149"/>
                </a:cubicBezTo>
                <a:moveTo>
                  <a:pt x="1946803" y="142174"/>
                </a:moveTo>
                <a:cubicBezTo>
                  <a:pt x="1837294" y="142174"/>
                  <a:pt x="1776594" y="222959"/>
                  <a:pt x="1776594" y="321634"/>
                </a:cubicBezTo>
                <a:cubicBezTo>
                  <a:pt x="1776594" y="420309"/>
                  <a:pt x="1837294" y="501094"/>
                  <a:pt x="1946803" y="501094"/>
                </a:cubicBezTo>
                <a:cubicBezTo>
                  <a:pt x="2056312" y="501094"/>
                  <a:pt x="2117013" y="420309"/>
                  <a:pt x="2117013" y="321634"/>
                </a:cubicBezTo>
                <a:cubicBezTo>
                  <a:pt x="2117013" y="222959"/>
                  <a:pt x="2056312" y="142174"/>
                  <a:pt x="1946803" y="142174"/>
                </a:cubicBezTo>
                <a:moveTo>
                  <a:pt x="2348590" y="142174"/>
                </a:moveTo>
                <a:cubicBezTo>
                  <a:pt x="2296927" y="142174"/>
                  <a:pt x="2268385" y="164301"/>
                  <a:pt x="2252306" y="192547"/>
                </a:cubicBezTo>
                <a:lnTo>
                  <a:pt x="2248119" y="192547"/>
                </a:lnTo>
                <a:lnTo>
                  <a:pt x="2248119" y="149048"/>
                </a:lnTo>
                <a:lnTo>
                  <a:pt x="2165821" y="149048"/>
                </a:lnTo>
                <a:lnTo>
                  <a:pt x="2165821" y="494221"/>
                </a:lnTo>
                <a:lnTo>
                  <a:pt x="2248119" y="494221"/>
                </a:lnTo>
                <a:lnTo>
                  <a:pt x="2248119" y="271261"/>
                </a:lnTo>
                <a:cubicBezTo>
                  <a:pt x="2248119" y="220229"/>
                  <a:pt x="2274664" y="190476"/>
                  <a:pt x="2317193" y="190476"/>
                </a:cubicBezTo>
                <a:cubicBezTo>
                  <a:pt x="2358389" y="190476"/>
                  <a:pt x="2376466" y="217404"/>
                  <a:pt x="2376466" y="258173"/>
                </a:cubicBezTo>
                <a:lnTo>
                  <a:pt x="2376466" y="494221"/>
                </a:lnTo>
                <a:lnTo>
                  <a:pt x="2458764" y="494221"/>
                </a:lnTo>
                <a:lnTo>
                  <a:pt x="2458764" y="257420"/>
                </a:lnTo>
                <a:cubicBezTo>
                  <a:pt x="2458764" y="186333"/>
                  <a:pt x="2421088" y="142174"/>
                  <a:pt x="2348590" y="142174"/>
                </a:cubicBezTo>
                <a:moveTo>
                  <a:pt x="3571359" y="463149"/>
                </a:moveTo>
                <a:cubicBezTo>
                  <a:pt x="3517604" y="463149"/>
                  <a:pt x="3487634" y="412776"/>
                  <a:pt x="3487634" y="321634"/>
                </a:cubicBezTo>
                <a:cubicBezTo>
                  <a:pt x="3487634" y="229080"/>
                  <a:pt x="3517604" y="180119"/>
                  <a:pt x="3571359" y="180119"/>
                </a:cubicBezTo>
                <a:cubicBezTo>
                  <a:pt x="3625115" y="180119"/>
                  <a:pt x="3655085" y="229833"/>
                  <a:pt x="3655085" y="321634"/>
                </a:cubicBezTo>
                <a:cubicBezTo>
                  <a:pt x="3655085" y="414189"/>
                  <a:pt x="3625020" y="463149"/>
                  <a:pt x="3571359" y="463149"/>
                </a:cubicBezTo>
                <a:moveTo>
                  <a:pt x="3571359" y="142174"/>
                </a:moveTo>
                <a:cubicBezTo>
                  <a:pt x="3461850" y="142174"/>
                  <a:pt x="3401150" y="222959"/>
                  <a:pt x="3401150" y="321634"/>
                </a:cubicBezTo>
                <a:cubicBezTo>
                  <a:pt x="3401150" y="420309"/>
                  <a:pt x="3461850" y="501094"/>
                  <a:pt x="3571359" y="501094"/>
                </a:cubicBezTo>
                <a:cubicBezTo>
                  <a:pt x="3680868" y="501094"/>
                  <a:pt x="3741569" y="420309"/>
                  <a:pt x="3741569" y="321634"/>
                </a:cubicBezTo>
                <a:cubicBezTo>
                  <a:pt x="3741569" y="222959"/>
                  <a:pt x="3680868" y="142174"/>
                  <a:pt x="3571359" y="142174"/>
                </a:cubicBezTo>
                <a:moveTo>
                  <a:pt x="4332308" y="142174"/>
                </a:moveTo>
                <a:cubicBezTo>
                  <a:pt x="4280646" y="142174"/>
                  <a:pt x="4252103" y="164301"/>
                  <a:pt x="4236024" y="192547"/>
                </a:cubicBezTo>
                <a:lnTo>
                  <a:pt x="4231838" y="192547"/>
                </a:lnTo>
                <a:lnTo>
                  <a:pt x="4231838" y="149048"/>
                </a:lnTo>
                <a:lnTo>
                  <a:pt x="4149539" y="149048"/>
                </a:lnTo>
                <a:lnTo>
                  <a:pt x="4149539" y="494221"/>
                </a:lnTo>
                <a:lnTo>
                  <a:pt x="4231838" y="494221"/>
                </a:lnTo>
                <a:lnTo>
                  <a:pt x="4231838" y="271261"/>
                </a:lnTo>
                <a:cubicBezTo>
                  <a:pt x="4231838" y="220229"/>
                  <a:pt x="4258383" y="190476"/>
                  <a:pt x="4300911" y="190476"/>
                </a:cubicBezTo>
                <a:cubicBezTo>
                  <a:pt x="4342108" y="190476"/>
                  <a:pt x="4360185" y="217404"/>
                  <a:pt x="4360185" y="258173"/>
                </a:cubicBezTo>
                <a:lnTo>
                  <a:pt x="4360185" y="494221"/>
                </a:lnTo>
                <a:lnTo>
                  <a:pt x="4442483" y="494221"/>
                </a:lnTo>
                <a:lnTo>
                  <a:pt x="4442483" y="257420"/>
                </a:lnTo>
                <a:cubicBezTo>
                  <a:pt x="4442578" y="186333"/>
                  <a:pt x="4404902" y="142174"/>
                  <a:pt x="4332308" y="142174"/>
                </a:cubicBezTo>
                <a:moveTo>
                  <a:pt x="4629533" y="142174"/>
                </a:moveTo>
                <a:cubicBezTo>
                  <a:pt x="4553514" y="142174"/>
                  <a:pt x="4496334" y="173905"/>
                  <a:pt x="4496334" y="241602"/>
                </a:cubicBezTo>
                <a:cubicBezTo>
                  <a:pt x="4496334" y="298943"/>
                  <a:pt x="4536103" y="330014"/>
                  <a:pt x="4580725" y="341030"/>
                </a:cubicBezTo>
                <a:lnTo>
                  <a:pt x="4650464" y="358260"/>
                </a:lnTo>
                <a:cubicBezTo>
                  <a:pt x="4687475" y="367205"/>
                  <a:pt x="4704220" y="380387"/>
                  <a:pt x="4704220" y="409387"/>
                </a:cubicBezTo>
                <a:cubicBezTo>
                  <a:pt x="4704220" y="444601"/>
                  <a:pt x="4679102" y="464656"/>
                  <a:pt x="4635146" y="464656"/>
                </a:cubicBezTo>
                <a:cubicBezTo>
                  <a:pt x="4587670" y="464656"/>
                  <a:pt x="4563314" y="441870"/>
                  <a:pt x="4555607" y="384624"/>
                </a:cubicBezTo>
                <a:lnTo>
                  <a:pt x="4481682" y="405338"/>
                </a:lnTo>
                <a:cubicBezTo>
                  <a:pt x="4485868" y="464750"/>
                  <a:pt x="4541716" y="501282"/>
                  <a:pt x="4626108" y="501282"/>
                </a:cubicBezTo>
                <a:cubicBezTo>
                  <a:pt x="4720299" y="501282"/>
                  <a:pt x="4771200" y="457782"/>
                  <a:pt x="4771200" y="388767"/>
                </a:cubicBezTo>
                <a:cubicBezTo>
                  <a:pt x="4771200" y="323894"/>
                  <a:pt x="4725817" y="296965"/>
                  <a:pt x="4678436" y="285196"/>
                </a:cubicBezTo>
                <a:lnTo>
                  <a:pt x="4611456" y="268625"/>
                </a:lnTo>
                <a:cubicBezTo>
                  <a:pt x="4577966" y="260339"/>
                  <a:pt x="4563314" y="245180"/>
                  <a:pt x="4563314" y="223054"/>
                </a:cubicBezTo>
                <a:cubicBezTo>
                  <a:pt x="4563314" y="195466"/>
                  <a:pt x="4587004" y="178895"/>
                  <a:pt x="4622588" y="178895"/>
                </a:cubicBezTo>
                <a:cubicBezTo>
                  <a:pt x="4664450" y="178895"/>
                  <a:pt x="4690234" y="201680"/>
                  <a:pt x="4693754" y="245180"/>
                </a:cubicBezTo>
                <a:lnTo>
                  <a:pt x="4763493" y="224466"/>
                </a:lnTo>
                <a:cubicBezTo>
                  <a:pt x="4755026" y="175976"/>
                  <a:pt x="4706884" y="142174"/>
                  <a:pt x="4629533" y="142174"/>
                </a:cubicBezTo>
                <a:moveTo>
                  <a:pt x="4975471" y="463149"/>
                </a:moveTo>
                <a:cubicBezTo>
                  <a:pt x="4921715" y="463149"/>
                  <a:pt x="4891745" y="412776"/>
                  <a:pt x="4891745" y="321634"/>
                </a:cubicBezTo>
                <a:cubicBezTo>
                  <a:pt x="4891745" y="229080"/>
                  <a:pt x="4921715" y="180119"/>
                  <a:pt x="4975471" y="180119"/>
                </a:cubicBezTo>
                <a:cubicBezTo>
                  <a:pt x="5029226" y="180119"/>
                  <a:pt x="5059196" y="229833"/>
                  <a:pt x="5059196" y="321634"/>
                </a:cubicBezTo>
                <a:cubicBezTo>
                  <a:pt x="5059196" y="414189"/>
                  <a:pt x="5029131" y="463149"/>
                  <a:pt x="4975471" y="463149"/>
                </a:cubicBezTo>
                <a:moveTo>
                  <a:pt x="4975471" y="142174"/>
                </a:moveTo>
                <a:cubicBezTo>
                  <a:pt x="4865962" y="142174"/>
                  <a:pt x="4805261" y="222959"/>
                  <a:pt x="4805261" y="321634"/>
                </a:cubicBezTo>
                <a:cubicBezTo>
                  <a:pt x="4805261" y="420309"/>
                  <a:pt x="4865962" y="501094"/>
                  <a:pt x="4975471" y="501094"/>
                </a:cubicBezTo>
                <a:cubicBezTo>
                  <a:pt x="5084980" y="501094"/>
                  <a:pt x="5145680" y="420309"/>
                  <a:pt x="5145680" y="321634"/>
                </a:cubicBezTo>
                <a:cubicBezTo>
                  <a:pt x="5145680" y="222959"/>
                  <a:pt x="5084980" y="142174"/>
                  <a:pt x="4975471" y="142174"/>
                </a:cubicBezTo>
                <a:moveTo>
                  <a:pt x="5377257" y="142174"/>
                </a:moveTo>
                <a:cubicBezTo>
                  <a:pt x="5325595" y="142174"/>
                  <a:pt x="5297052" y="164301"/>
                  <a:pt x="5280973" y="192547"/>
                </a:cubicBezTo>
                <a:lnTo>
                  <a:pt x="5276787" y="192547"/>
                </a:lnTo>
                <a:lnTo>
                  <a:pt x="5276787" y="149048"/>
                </a:lnTo>
                <a:lnTo>
                  <a:pt x="5194488" y="149048"/>
                </a:lnTo>
                <a:lnTo>
                  <a:pt x="5194488" y="494221"/>
                </a:lnTo>
                <a:lnTo>
                  <a:pt x="5276787" y="494221"/>
                </a:lnTo>
                <a:lnTo>
                  <a:pt x="5276787" y="271261"/>
                </a:lnTo>
                <a:cubicBezTo>
                  <a:pt x="5276787" y="220229"/>
                  <a:pt x="5303331" y="190476"/>
                  <a:pt x="5345860" y="190476"/>
                </a:cubicBezTo>
                <a:cubicBezTo>
                  <a:pt x="5387057" y="190476"/>
                  <a:pt x="5405134" y="217404"/>
                  <a:pt x="5405134" y="258173"/>
                </a:cubicBezTo>
                <a:lnTo>
                  <a:pt x="5405134" y="494221"/>
                </a:lnTo>
                <a:lnTo>
                  <a:pt x="5487432" y="494221"/>
                </a:lnTo>
                <a:lnTo>
                  <a:pt x="5487432" y="257420"/>
                </a:lnTo>
                <a:cubicBezTo>
                  <a:pt x="5487432" y="186333"/>
                  <a:pt x="5449755" y="142174"/>
                  <a:pt x="5377257" y="142174"/>
                </a:cubicBezTo>
                <a:moveTo>
                  <a:pt x="323674" y="11016"/>
                </a:moveTo>
                <a:lnTo>
                  <a:pt x="237190" y="11016"/>
                </a:lnTo>
                <a:lnTo>
                  <a:pt x="237190" y="367864"/>
                </a:lnTo>
                <a:cubicBezTo>
                  <a:pt x="237190" y="425864"/>
                  <a:pt x="214831" y="460325"/>
                  <a:pt x="161837" y="460325"/>
                </a:cubicBezTo>
                <a:cubicBezTo>
                  <a:pt x="109509" y="460325"/>
                  <a:pt x="86484" y="423698"/>
                  <a:pt x="86484" y="360897"/>
                </a:cubicBezTo>
                <a:lnTo>
                  <a:pt x="86484" y="294612"/>
                </a:lnTo>
                <a:lnTo>
                  <a:pt x="0" y="315985"/>
                </a:lnTo>
                <a:lnTo>
                  <a:pt x="0" y="345644"/>
                </a:lnTo>
                <a:cubicBezTo>
                  <a:pt x="0" y="436033"/>
                  <a:pt x="45383" y="505143"/>
                  <a:pt x="161837" y="505143"/>
                </a:cubicBezTo>
                <a:cubicBezTo>
                  <a:pt x="278291" y="505143"/>
                  <a:pt x="323674" y="436127"/>
                  <a:pt x="323674" y="345644"/>
                </a:cubicBezTo>
                <a:lnTo>
                  <a:pt x="323674" y="11016"/>
                </a:lnTo>
                <a:moveTo>
                  <a:pt x="844008" y="11016"/>
                </a:moveTo>
                <a:lnTo>
                  <a:pt x="761710" y="11016"/>
                </a:lnTo>
                <a:lnTo>
                  <a:pt x="761710" y="494221"/>
                </a:lnTo>
                <a:lnTo>
                  <a:pt x="844008" y="494221"/>
                </a:lnTo>
                <a:lnTo>
                  <a:pt x="844008" y="271261"/>
                </a:lnTo>
                <a:cubicBezTo>
                  <a:pt x="844008" y="220229"/>
                  <a:pt x="870553" y="190476"/>
                  <a:pt x="913081" y="190476"/>
                </a:cubicBezTo>
                <a:cubicBezTo>
                  <a:pt x="954278" y="190476"/>
                  <a:pt x="972355" y="217404"/>
                  <a:pt x="972355" y="258173"/>
                </a:cubicBezTo>
                <a:lnTo>
                  <a:pt x="972355" y="494221"/>
                </a:lnTo>
                <a:lnTo>
                  <a:pt x="1054653" y="494221"/>
                </a:lnTo>
                <a:lnTo>
                  <a:pt x="1054653" y="257420"/>
                </a:lnTo>
                <a:cubicBezTo>
                  <a:pt x="1054653" y="186333"/>
                  <a:pt x="1016977" y="142174"/>
                  <a:pt x="944478" y="142174"/>
                </a:cubicBezTo>
                <a:cubicBezTo>
                  <a:pt x="892816" y="142174"/>
                  <a:pt x="864273" y="164301"/>
                  <a:pt x="848194" y="192547"/>
                </a:cubicBezTo>
                <a:lnTo>
                  <a:pt x="844008" y="192547"/>
                </a:lnTo>
                <a:lnTo>
                  <a:pt x="844008" y="11016"/>
                </a:lnTo>
                <a:moveTo>
                  <a:pt x="3352342" y="11016"/>
                </a:moveTo>
                <a:lnTo>
                  <a:pt x="3265857" y="11016"/>
                </a:lnTo>
                <a:lnTo>
                  <a:pt x="3265857" y="367864"/>
                </a:lnTo>
                <a:cubicBezTo>
                  <a:pt x="3265857" y="425864"/>
                  <a:pt x="3243499" y="460325"/>
                  <a:pt x="3190504" y="460325"/>
                </a:cubicBezTo>
                <a:cubicBezTo>
                  <a:pt x="3138176" y="460325"/>
                  <a:pt x="3115152" y="423698"/>
                  <a:pt x="3115152" y="360897"/>
                </a:cubicBezTo>
                <a:lnTo>
                  <a:pt x="3115152" y="294612"/>
                </a:lnTo>
                <a:lnTo>
                  <a:pt x="3028667" y="315985"/>
                </a:lnTo>
                <a:lnTo>
                  <a:pt x="3028667" y="345644"/>
                </a:lnTo>
                <a:cubicBezTo>
                  <a:pt x="3028667" y="436033"/>
                  <a:pt x="3074050" y="505143"/>
                  <a:pt x="3190504" y="505143"/>
                </a:cubicBezTo>
                <a:cubicBezTo>
                  <a:pt x="3306959" y="505143"/>
                  <a:pt x="3352342" y="436127"/>
                  <a:pt x="3352342" y="345644"/>
                </a:cubicBezTo>
                <a:lnTo>
                  <a:pt x="3352342" y="11016"/>
                </a:lnTo>
                <a:moveTo>
                  <a:pt x="3872675" y="11016"/>
                </a:moveTo>
                <a:lnTo>
                  <a:pt x="3790377" y="11016"/>
                </a:lnTo>
                <a:lnTo>
                  <a:pt x="3790377" y="494221"/>
                </a:lnTo>
                <a:lnTo>
                  <a:pt x="3872675" y="494221"/>
                </a:lnTo>
                <a:lnTo>
                  <a:pt x="3872675" y="271261"/>
                </a:lnTo>
                <a:cubicBezTo>
                  <a:pt x="3872675" y="220229"/>
                  <a:pt x="3899220" y="190476"/>
                  <a:pt x="3941749" y="190476"/>
                </a:cubicBezTo>
                <a:cubicBezTo>
                  <a:pt x="3982945" y="190476"/>
                  <a:pt x="4001022" y="217404"/>
                  <a:pt x="4001022" y="258173"/>
                </a:cubicBezTo>
                <a:lnTo>
                  <a:pt x="4001022" y="494221"/>
                </a:lnTo>
                <a:lnTo>
                  <a:pt x="4083320" y="494221"/>
                </a:lnTo>
                <a:lnTo>
                  <a:pt x="4083320" y="257420"/>
                </a:lnTo>
                <a:cubicBezTo>
                  <a:pt x="4083320" y="186333"/>
                  <a:pt x="4045644" y="142174"/>
                  <a:pt x="3973146" y="142174"/>
                </a:cubicBezTo>
                <a:cubicBezTo>
                  <a:pt x="3921483" y="142174"/>
                  <a:pt x="3892941" y="164301"/>
                  <a:pt x="3876861" y="192547"/>
                </a:cubicBezTo>
                <a:lnTo>
                  <a:pt x="3872675" y="192547"/>
                </a:lnTo>
                <a:lnTo>
                  <a:pt x="3872675" y="11016"/>
                </a:lnTo>
                <a:moveTo>
                  <a:pt x="2730110" y="454864"/>
                </a:moveTo>
                <a:cubicBezTo>
                  <a:pt x="2663130" y="454864"/>
                  <a:pt x="2622029" y="401007"/>
                  <a:pt x="2622029" y="343761"/>
                </a:cubicBezTo>
                <a:cubicBezTo>
                  <a:pt x="2622029" y="307887"/>
                  <a:pt x="2638108" y="274745"/>
                  <a:pt x="2664557" y="256102"/>
                </a:cubicBezTo>
                <a:lnTo>
                  <a:pt x="2822208" y="426617"/>
                </a:lnTo>
                <a:cubicBezTo>
                  <a:pt x="2792904" y="443848"/>
                  <a:pt x="2760080" y="454864"/>
                  <a:pt x="2730110" y="454864"/>
                </a:cubicBezTo>
                <a:moveTo>
                  <a:pt x="2883575" y="369936"/>
                </a:moveTo>
                <a:lnTo>
                  <a:pt x="2746856" y="220794"/>
                </a:lnTo>
                <a:cubicBezTo>
                  <a:pt x="2771307" y="211096"/>
                  <a:pt x="2794998" y="207706"/>
                  <a:pt x="2814502" y="207706"/>
                </a:cubicBezTo>
                <a:cubicBezTo>
                  <a:pt x="2871016" y="207706"/>
                  <a:pt x="2905838" y="240190"/>
                  <a:pt x="2905838" y="296118"/>
                </a:cubicBezTo>
                <a:cubicBezTo>
                  <a:pt x="2905934" y="320975"/>
                  <a:pt x="2898893" y="346491"/>
                  <a:pt x="2883575" y="369936"/>
                </a:cubicBezTo>
                <a:moveTo>
                  <a:pt x="2728017" y="200833"/>
                </a:moveTo>
                <a:lnTo>
                  <a:pt x="2698047" y="167690"/>
                </a:lnTo>
                <a:cubicBezTo>
                  <a:pt x="2671503" y="138691"/>
                  <a:pt x="2663891" y="120707"/>
                  <a:pt x="2663891" y="99334"/>
                </a:cubicBezTo>
                <a:cubicBezTo>
                  <a:pt x="2663891" y="59318"/>
                  <a:pt x="2689675" y="36532"/>
                  <a:pt x="2730110" y="36532"/>
                </a:cubicBezTo>
                <a:cubicBezTo>
                  <a:pt x="2771307" y="36532"/>
                  <a:pt x="2795664" y="59977"/>
                  <a:pt x="2795664" y="102817"/>
                </a:cubicBezTo>
                <a:cubicBezTo>
                  <a:pt x="2795664" y="142174"/>
                  <a:pt x="2776159" y="179460"/>
                  <a:pt x="2728017" y="200833"/>
                </a:cubicBezTo>
                <a:moveTo>
                  <a:pt x="2732204" y="0"/>
                </a:moveTo>
                <a:cubicBezTo>
                  <a:pt x="2635920" y="0"/>
                  <a:pt x="2588539" y="53198"/>
                  <a:pt x="2588539" y="119389"/>
                </a:cubicBezTo>
                <a:cubicBezTo>
                  <a:pt x="2588539" y="155262"/>
                  <a:pt x="2603857" y="191229"/>
                  <a:pt x="2644387" y="234635"/>
                </a:cubicBezTo>
                <a:lnTo>
                  <a:pt x="2645053" y="236047"/>
                </a:lnTo>
                <a:cubicBezTo>
                  <a:pt x="2576741" y="268531"/>
                  <a:pt x="2545344" y="320975"/>
                  <a:pt x="2545344" y="374832"/>
                </a:cubicBezTo>
                <a:cubicBezTo>
                  <a:pt x="2545344" y="445919"/>
                  <a:pt x="2600432" y="505331"/>
                  <a:pt x="2685584" y="505331"/>
                </a:cubicBezTo>
                <a:cubicBezTo>
                  <a:pt x="2734392" y="505331"/>
                  <a:pt x="2791573" y="485276"/>
                  <a:pt x="2843235" y="449403"/>
                </a:cubicBezTo>
                <a:lnTo>
                  <a:pt x="2885097" y="494315"/>
                </a:lnTo>
                <a:lnTo>
                  <a:pt x="2994606" y="494315"/>
                </a:lnTo>
                <a:lnTo>
                  <a:pt x="2994606" y="490831"/>
                </a:lnTo>
                <a:lnTo>
                  <a:pt x="2905363" y="393474"/>
                </a:lnTo>
                <a:cubicBezTo>
                  <a:pt x="2943039" y="349316"/>
                  <a:pt x="2964637" y="301014"/>
                  <a:pt x="2964637" y="258833"/>
                </a:cubicBezTo>
                <a:cubicBezTo>
                  <a:pt x="2964637" y="206388"/>
                  <a:pt x="2929053" y="171174"/>
                  <a:pt x="2873300" y="171174"/>
                </a:cubicBezTo>
                <a:cubicBezTo>
                  <a:pt x="2843996" y="171174"/>
                  <a:pt x="2811172" y="179460"/>
                  <a:pt x="2789574" y="187745"/>
                </a:cubicBezTo>
                <a:lnTo>
                  <a:pt x="2788147" y="185015"/>
                </a:lnTo>
                <a:cubicBezTo>
                  <a:pt x="2841142" y="156674"/>
                  <a:pt x="2863500" y="130499"/>
                  <a:pt x="2863500" y="93873"/>
                </a:cubicBezTo>
                <a:cubicBezTo>
                  <a:pt x="2863310" y="41428"/>
                  <a:pt x="2815929" y="0"/>
                  <a:pt x="2732204" y="0"/>
                </a:cubicBezTo>
              </a:path>
            </a:pathLst>
          </a:custGeom>
          <a:solidFill>
            <a:schemeClr val="accent1"/>
          </a:solidFill>
          <a:ln w="9509" cap="flat">
            <a:noFill/>
            <a:prstDash val="solid"/>
            <a:miter/>
          </a:ln>
        </p:spPr>
        <p:txBody>
          <a:bodyPr rtlCol="0" anchor="ctr"/>
          <a:lstStyle/>
          <a:p>
            <a:endParaRPr lang="en-GB"/>
          </a:p>
        </p:txBody>
      </p:sp>
    </p:spTree>
    <p:extLst>
      <p:ext uri="{BB962C8B-B14F-4D97-AF65-F5344CB8AC3E}">
        <p14:creationId xmlns:p14="http://schemas.microsoft.com/office/powerpoint/2010/main" val="31834047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C22AC-FEA7-AD51-FB22-01EC3D276410}"/>
              </a:ext>
            </a:extLst>
          </p:cNvPr>
          <p:cNvSpPr>
            <a:spLocks noGrp="1"/>
          </p:cNvSpPr>
          <p:nvPr>
            <p:ph type="title"/>
          </p:nvPr>
        </p:nvSpPr>
        <p:spPr>
          <a:xfrm>
            <a:off x="286715" y="273600"/>
            <a:ext cx="1811959" cy="392415"/>
          </a:xfrm>
        </p:spPr>
        <p:txBody>
          <a:bodyPr/>
          <a:lstStyle>
            <a:lvl1pPr>
              <a:lnSpc>
                <a:spcPct val="85000"/>
              </a:lnSpc>
              <a:defRPr sz="1500" b="1" i="0">
                <a:solidFill>
                  <a:schemeClr val="tx1"/>
                </a:solidFill>
                <a:latin typeface="+mn-lt"/>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D07DAC6C-95A8-D53D-7D6B-43128BEEF186}"/>
              </a:ext>
            </a:extLst>
          </p:cNvPr>
          <p:cNvSpPr>
            <a:spLocks noGrp="1"/>
          </p:cNvSpPr>
          <p:nvPr>
            <p:ph type="body" sz="quarter" idx="13"/>
          </p:nvPr>
        </p:nvSpPr>
        <p:spPr>
          <a:xfrm>
            <a:off x="3225801" y="277200"/>
            <a:ext cx="8966200" cy="5995014"/>
          </a:xfrm>
        </p:spPr>
        <p:txBody>
          <a:bodyPr/>
          <a:lstStyle>
            <a:lvl1pPr marL="981075" indent="-981075">
              <a:lnSpc>
                <a:spcPct val="80000"/>
              </a:lnSpc>
              <a:spcBef>
                <a:spcPts val="600"/>
              </a:spcBef>
              <a:spcAft>
                <a:spcPts val="600"/>
              </a:spcAft>
              <a:buFont typeface="+mj-lt"/>
              <a:buAutoNum type="arabicPeriod"/>
              <a:tabLst/>
              <a:defRPr sz="3000" b="0" i="0">
                <a:latin typeface="+mj-lt"/>
              </a:defRPr>
            </a:lvl1pPr>
            <a:lvl2pPr marL="1201738" indent="-220663">
              <a:tabLst/>
              <a:defRPr/>
            </a:lvl2pPr>
            <a:lvl3pPr marL="1201738" indent="-220663">
              <a:tabLst/>
              <a:defRPr/>
            </a:lvl3pPr>
            <a:lvl4pPr marL="1201738" indent="-220663">
              <a:tabLst/>
              <a:defRPr/>
            </a:lvl4pPr>
            <a:lvl5pPr marL="1201738" indent="-22066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r>
              <a:rPr lang="en-US"/>
              <a:t>Job Aid and Guidance Document still under review.</a:t>
            </a:r>
            <a:endParaRPr lang="en-GB"/>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Tree>
    <p:extLst>
      <p:ext uri="{BB962C8B-B14F-4D97-AF65-F5344CB8AC3E}">
        <p14:creationId xmlns:p14="http://schemas.microsoft.com/office/powerpoint/2010/main" val="83855102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tx2"/>
        </a:solidFill>
        <a:effectLst/>
      </p:bgPr>
    </p:bg>
    <p:spTree>
      <p:nvGrpSpPr>
        <p:cNvPr id="1" name=""/>
        <p:cNvGrpSpPr/>
        <p:nvPr/>
      </p:nvGrpSpPr>
      <p:grpSpPr>
        <a:xfrm>
          <a:off x="0" y="0"/>
          <a:ext cx="0" cy="0"/>
          <a:chOff x="0" y="0"/>
          <a:chExt cx="0" cy="0"/>
        </a:xfrm>
      </p:grpSpPr>
      <p:sp>
        <p:nvSpPr>
          <p:cNvPr id="15" name="Freeform 14">
            <a:extLst>
              <a:ext uri="{FF2B5EF4-FFF2-40B4-BE49-F238E27FC236}">
                <a16:creationId xmlns:a16="http://schemas.microsoft.com/office/drawing/2014/main" id="{11E89327-3BBA-1507-2BFB-0E509816FBA8}"/>
              </a:ext>
            </a:extLst>
          </p:cNvPr>
          <p:cNvSpPr/>
          <p:nvPr/>
        </p:nvSpPr>
        <p:spPr>
          <a:xfrm>
            <a:off x="291593" y="281482"/>
            <a:ext cx="2032407" cy="189099"/>
          </a:xfrm>
          <a:custGeom>
            <a:avLst/>
            <a:gdLst>
              <a:gd name="connsiteX0" fmla="*/ 786066 w 7948307"/>
              <a:gd name="connsiteY0" fmla="*/ 677532 h 739526"/>
              <a:gd name="connsiteX1" fmla="*/ 664794 w 7948307"/>
              <a:gd name="connsiteY1" fmla="*/ 470470 h 739526"/>
              <a:gd name="connsiteX2" fmla="*/ 786066 w 7948307"/>
              <a:gd name="connsiteY2" fmla="*/ 263408 h 739526"/>
              <a:gd name="connsiteX3" fmla="*/ 907339 w 7948307"/>
              <a:gd name="connsiteY3" fmla="*/ 470470 h 739526"/>
              <a:gd name="connsiteX4" fmla="*/ 786066 w 7948307"/>
              <a:gd name="connsiteY4" fmla="*/ 677532 h 739526"/>
              <a:gd name="connsiteX5" fmla="*/ 786066 w 7948307"/>
              <a:gd name="connsiteY5" fmla="*/ 207889 h 739526"/>
              <a:gd name="connsiteX6" fmla="*/ 539525 w 7948307"/>
              <a:gd name="connsiteY6" fmla="*/ 470470 h 739526"/>
              <a:gd name="connsiteX7" fmla="*/ 786066 w 7948307"/>
              <a:gd name="connsiteY7" fmla="*/ 733052 h 739526"/>
              <a:gd name="connsiteX8" fmla="*/ 1032607 w 7948307"/>
              <a:gd name="connsiteY8" fmla="*/ 470470 h 739526"/>
              <a:gd name="connsiteX9" fmla="*/ 786066 w 7948307"/>
              <a:gd name="connsiteY9" fmla="*/ 207889 h 739526"/>
              <a:gd name="connsiteX10" fmla="*/ 1888405 w 7948307"/>
              <a:gd name="connsiteY10" fmla="*/ 207889 h 739526"/>
              <a:gd name="connsiteX11" fmla="*/ 1748942 w 7948307"/>
              <a:gd name="connsiteY11" fmla="*/ 281593 h 739526"/>
              <a:gd name="connsiteX12" fmla="*/ 1742878 w 7948307"/>
              <a:gd name="connsiteY12" fmla="*/ 281593 h 739526"/>
              <a:gd name="connsiteX13" fmla="*/ 1742878 w 7948307"/>
              <a:gd name="connsiteY13" fmla="*/ 217945 h 739526"/>
              <a:gd name="connsiteX14" fmla="*/ 1623673 w 7948307"/>
              <a:gd name="connsiteY14" fmla="*/ 217945 h 739526"/>
              <a:gd name="connsiteX15" fmla="*/ 1623673 w 7948307"/>
              <a:gd name="connsiteY15" fmla="*/ 722995 h 739526"/>
              <a:gd name="connsiteX16" fmla="*/ 1742878 w 7948307"/>
              <a:gd name="connsiteY16" fmla="*/ 722995 h 739526"/>
              <a:gd name="connsiteX17" fmla="*/ 1742878 w 7948307"/>
              <a:gd name="connsiteY17" fmla="*/ 396765 h 739526"/>
              <a:gd name="connsiteX18" fmla="*/ 1842928 w 7948307"/>
              <a:gd name="connsiteY18" fmla="*/ 278562 h 739526"/>
              <a:gd name="connsiteX19" fmla="*/ 1928783 w 7948307"/>
              <a:gd name="connsiteY19" fmla="*/ 377616 h 739526"/>
              <a:gd name="connsiteX20" fmla="*/ 1928783 w 7948307"/>
              <a:gd name="connsiteY20" fmla="*/ 722995 h 739526"/>
              <a:gd name="connsiteX21" fmla="*/ 2047989 w 7948307"/>
              <a:gd name="connsiteY21" fmla="*/ 722995 h 739526"/>
              <a:gd name="connsiteX22" fmla="*/ 2047989 w 7948307"/>
              <a:gd name="connsiteY22" fmla="*/ 376514 h 739526"/>
              <a:gd name="connsiteX23" fmla="*/ 1888405 w 7948307"/>
              <a:gd name="connsiteY23" fmla="*/ 207889 h 739526"/>
              <a:gd name="connsiteX24" fmla="*/ 2318785 w 7948307"/>
              <a:gd name="connsiteY24" fmla="*/ 207889 h 739526"/>
              <a:gd name="connsiteX25" fmla="*/ 2125851 w 7948307"/>
              <a:gd name="connsiteY25" fmla="*/ 353369 h 739526"/>
              <a:gd name="connsiteX26" fmla="*/ 2248089 w 7948307"/>
              <a:gd name="connsiteY26" fmla="*/ 498850 h 739526"/>
              <a:gd name="connsiteX27" fmla="*/ 2349103 w 7948307"/>
              <a:gd name="connsiteY27" fmla="*/ 524061 h 739526"/>
              <a:gd name="connsiteX28" fmla="*/ 2426965 w 7948307"/>
              <a:gd name="connsiteY28" fmla="*/ 598868 h 739526"/>
              <a:gd name="connsiteX29" fmla="*/ 2326916 w 7948307"/>
              <a:gd name="connsiteY29" fmla="*/ 679736 h 739526"/>
              <a:gd name="connsiteX30" fmla="*/ 2211707 w 7948307"/>
              <a:gd name="connsiteY30" fmla="*/ 562635 h 739526"/>
              <a:gd name="connsiteX31" fmla="*/ 2104629 w 7948307"/>
              <a:gd name="connsiteY31" fmla="*/ 592944 h 739526"/>
              <a:gd name="connsiteX32" fmla="*/ 2313824 w 7948307"/>
              <a:gd name="connsiteY32" fmla="*/ 733327 h 739526"/>
              <a:gd name="connsiteX33" fmla="*/ 2523983 w 7948307"/>
              <a:gd name="connsiteY33" fmla="*/ 568697 h 739526"/>
              <a:gd name="connsiteX34" fmla="*/ 2389619 w 7948307"/>
              <a:gd name="connsiteY34" fmla="*/ 417155 h 739526"/>
              <a:gd name="connsiteX35" fmla="*/ 2292601 w 7948307"/>
              <a:gd name="connsiteY35" fmla="*/ 392908 h 739526"/>
              <a:gd name="connsiteX36" fmla="*/ 2222869 w 7948307"/>
              <a:gd name="connsiteY36" fmla="*/ 326229 h 739526"/>
              <a:gd name="connsiteX37" fmla="*/ 2308725 w 7948307"/>
              <a:gd name="connsiteY37" fmla="*/ 261617 h 739526"/>
              <a:gd name="connsiteX38" fmla="*/ 2411806 w 7948307"/>
              <a:gd name="connsiteY38" fmla="*/ 358604 h 739526"/>
              <a:gd name="connsiteX39" fmla="*/ 2512821 w 7948307"/>
              <a:gd name="connsiteY39" fmla="*/ 328296 h 739526"/>
              <a:gd name="connsiteX40" fmla="*/ 2318785 w 7948307"/>
              <a:gd name="connsiteY40" fmla="*/ 208164 h 739526"/>
              <a:gd name="connsiteX41" fmla="*/ 2819861 w 7948307"/>
              <a:gd name="connsiteY41" fmla="*/ 677807 h 739526"/>
              <a:gd name="connsiteX42" fmla="*/ 2698588 w 7948307"/>
              <a:gd name="connsiteY42" fmla="*/ 470746 h 739526"/>
              <a:gd name="connsiteX43" fmla="*/ 2819861 w 7948307"/>
              <a:gd name="connsiteY43" fmla="*/ 263684 h 739526"/>
              <a:gd name="connsiteX44" fmla="*/ 2941133 w 7948307"/>
              <a:gd name="connsiteY44" fmla="*/ 470746 h 739526"/>
              <a:gd name="connsiteX45" fmla="*/ 2819861 w 7948307"/>
              <a:gd name="connsiteY45" fmla="*/ 677807 h 739526"/>
              <a:gd name="connsiteX46" fmla="*/ 2819861 w 7948307"/>
              <a:gd name="connsiteY46" fmla="*/ 208164 h 739526"/>
              <a:gd name="connsiteX47" fmla="*/ 2573319 w 7948307"/>
              <a:gd name="connsiteY47" fmla="*/ 470746 h 739526"/>
              <a:gd name="connsiteX48" fmla="*/ 2819861 w 7948307"/>
              <a:gd name="connsiteY48" fmla="*/ 733327 h 739526"/>
              <a:gd name="connsiteX49" fmla="*/ 3066402 w 7948307"/>
              <a:gd name="connsiteY49" fmla="*/ 470746 h 739526"/>
              <a:gd name="connsiteX50" fmla="*/ 2819861 w 7948307"/>
              <a:gd name="connsiteY50" fmla="*/ 208164 h 739526"/>
              <a:gd name="connsiteX51" fmla="*/ 3401831 w 7948307"/>
              <a:gd name="connsiteY51" fmla="*/ 208164 h 739526"/>
              <a:gd name="connsiteX52" fmla="*/ 3262367 w 7948307"/>
              <a:gd name="connsiteY52" fmla="*/ 281869 h 739526"/>
              <a:gd name="connsiteX53" fmla="*/ 3256304 w 7948307"/>
              <a:gd name="connsiteY53" fmla="*/ 281869 h 739526"/>
              <a:gd name="connsiteX54" fmla="*/ 3256304 w 7948307"/>
              <a:gd name="connsiteY54" fmla="*/ 218221 h 739526"/>
              <a:gd name="connsiteX55" fmla="*/ 3137098 w 7948307"/>
              <a:gd name="connsiteY55" fmla="*/ 218221 h 739526"/>
              <a:gd name="connsiteX56" fmla="*/ 3137098 w 7948307"/>
              <a:gd name="connsiteY56" fmla="*/ 723270 h 739526"/>
              <a:gd name="connsiteX57" fmla="*/ 3256304 w 7948307"/>
              <a:gd name="connsiteY57" fmla="*/ 723270 h 739526"/>
              <a:gd name="connsiteX58" fmla="*/ 3256304 w 7948307"/>
              <a:gd name="connsiteY58" fmla="*/ 397041 h 739526"/>
              <a:gd name="connsiteX59" fmla="*/ 3356353 w 7948307"/>
              <a:gd name="connsiteY59" fmla="*/ 278838 h 739526"/>
              <a:gd name="connsiteX60" fmla="*/ 3442209 w 7948307"/>
              <a:gd name="connsiteY60" fmla="*/ 377891 h 739526"/>
              <a:gd name="connsiteX61" fmla="*/ 3442209 w 7948307"/>
              <a:gd name="connsiteY61" fmla="*/ 723270 h 739526"/>
              <a:gd name="connsiteX62" fmla="*/ 3561414 w 7948307"/>
              <a:gd name="connsiteY62" fmla="*/ 723270 h 739526"/>
              <a:gd name="connsiteX63" fmla="*/ 3561414 w 7948307"/>
              <a:gd name="connsiteY63" fmla="*/ 376789 h 739526"/>
              <a:gd name="connsiteX64" fmla="*/ 3401831 w 7948307"/>
              <a:gd name="connsiteY64" fmla="*/ 208164 h 739526"/>
              <a:gd name="connsiteX65" fmla="*/ 5172960 w 7948307"/>
              <a:gd name="connsiteY65" fmla="*/ 677807 h 739526"/>
              <a:gd name="connsiteX66" fmla="*/ 5051688 w 7948307"/>
              <a:gd name="connsiteY66" fmla="*/ 470746 h 739526"/>
              <a:gd name="connsiteX67" fmla="*/ 5172960 w 7948307"/>
              <a:gd name="connsiteY67" fmla="*/ 263684 h 739526"/>
              <a:gd name="connsiteX68" fmla="*/ 5294232 w 7948307"/>
              <a:gd name="connsiteY68" fmla="*/ 470746 h 739526"/>
              <a:gd name="connsiteX69" fmla="*/ 5172960 w 7948307"/>
              <a:gd name="connsiteY69" fmla="*/ 677807 h 739526"/>
              <a:gd name="connsiteX70" fmla="*/ 5172960 w 7948307"/>
              <a:gd name="connsiteY70" fmla="*/ 208164 h 739526"/>
              <a:gd name="connsiteX71" fmla="*/ 4926418 w 7948307"/>
              <a:gd name="connsiteY71" fmla="*/ 470746 h 739526"/>
              <a:gd name="connsiteX72" fmla="*/ 5172960 w 7948307"/>
              <a:gd name="connsiteY72" fmla="*/ 733327 h 739526"/>
              <a:gd name="connsiteX73" fmla="*/ 5419502 w 7948307"/>
              <a:gd name="connsiteY73" fmla="*/ 470746 h 739526"/>
              <a:gd name="connsiteX74" fmla="*/ 5172960 w 7948307"/>
              <a:gd name="connsiteY74" fmla="*/ 208164 h 739526"/>
              <a:gd name="connsiteX75" fmla="*/ 6275299 w 7948307"/>
              <a:gd name="connsiteY75" fmla="*/ 208164 h 739526"/>
              <a:gd name="connsiteX76" fmla="*/ 6135836 w 7948307"/>
              <a:gd name="connsiteY76" fmla="*/ 281869 h 739526"/>
              <a:gd name="connsiteX77" fmla="*/ 6129772 w 7948307"/>
              <a:gd name="connsiteY77" fmla="*/ 281869 h 739526"/>
              <a:gd name="connsiteX78" fmla="*/ 6129772 w 7948307"/>
              <a:gd name="connsiteY78" fmla="*/ 218221 h 739526"/>
              <a:gd name="connsiteX79" fmla="*/ 6010567 w 7948307"/>
              <a:gd name="connsiteY79" fmla="*/ 218221 h 739526"/>
              <a:gd name="connsiteX80" fmla="*/ 6010567 w 7948307"/>
              <a:gd name="connsiteY80" fmla="*/ 723270 h 739526"/>
              <a:gd name="connsiteX81" fmla="*/ 6129772 w 7948307"/>
              <a:gd name="connsiteY81" fmla="*/ 723270 h 739526"/>
              <a:gd name="connsiteX82" fmla="*/ 6129772 w 7948307"/>
              <a:gd name="connsiteY82" fmla="*/ 397041 h 739526"/>
              <a:gd name="connsiteX83" fmla="*/ 6229822 w 7948307"/>
              <a:gd name="connsiteY83" fmla="*/ 278838 h 739526"/>
              <a:gd name="connsiteX84" fmla="*/ 6315677 w 7948307"/>
              <a:gd name="connsiteY84" fmla="*/ 377891 h 739526"/>
              <a:gd name="connsiteX85" fmla="*/ 6315677 w 7948307"/>
              <a:gd name="connsiteY85" fmla="*/ 723270 h 739526"/>
              <a:gd name="connsiteX86" fmla="*/ 6434883 w 7948307"/>
              <a:gd name="connsiteY86" fmla="*/ 723270 h 739526"/>
              <a:gd name="connsiteX87" fmla="*/ 6434883 w 7948307"/>
              <a:gd name="connsiteY87" fmla="*/ 376789 h 739526"/>
              <a:gd name="connsiteX88" fmla="*/ 6275299 w 7948307"/>
              <a:gd name="connsiteY88" fmla="*/ 208164 h 739526"/>
              <a:gd name="connsiteX89" fmla="*/ 6705679 w 7948307"/>
              <a:gd name="connsiteY89" fmla="*/ 208164 h 739526"/>
              <a:gd name="connsiteX90" fmla="*/ 6512746 w 7948307"/>
              <a:gd name="connsiteY90" fmla="*/ 353645 h 739526"/>
              <a:gd name="connsiteX91" fmla="*/ 6634983 w 7948307"/>
              <a:gd name="connsiteY91" fmla="*/ 499125 h 739526"/>
              <a:gd name="connsiteX92" fmla="*/ 6735996 w 7948307"/>
              <a:gd name="connsiteY92" fmla="*/ 524336 h 739526"/>
              <a:gd name="connsiteX93" fmla="*/ 6813859 w 7948307"/>
              <a:gd name="connsiteY93" fmla="*/ 599143 h 739526"/>
              <a:gd name="connsiteX94" fmla="*/ 6713809 w 7948307"/>
              <a:gd name="connsiteY94" fmla="*/ 680012 h 739526"/>
              <a:gd name="connsiteX95" fmla="*/ 6598601 w 7948307"/>
              <a:gd name="connsiteY95" fmla="*/ 562911 h 739526"/>
              <a:gd name="connsiteX96" fmla="*/ 6491522 w 7948307"/>
              <a:gd name="connsiteY96" fmla="*/ 593219 h 739526"/>
              <a:gd name="connsiteX97" fmla="*/ 6700717 w 7948307"/>
              <a:gd name="connsiteY97" fmla="*/ 733603 h 739526"/>
              <a:gd name="connsiteX98" fmla="*/ 6910877 w 7948307"/>
              <a:gd name="connsiteY98" fmla="*/ 568973 h 739526"/>
              <a:gd name="connsiteX99" fmla="*/ 6776513 w 7948307"/>
              <a:gd name="connsiteY99" fmla="*/ 417430 h 739526"/>
              <a:gd name="connsiteX100" fmla="*/ 6679495 w 7948307"/>
              <a:gd name="connsiteY100" fmla="*/ 393183 h 739526"/>
              <a:gd name="connsiteX101" fmla="*/ 6609763 w 7948307"/>
              <a:gd name="connsiteY101" fmla="*/ 326505 h 739526"/>
              <a:gd name="connsiteX102" fmla="*/ 6695618 w 7948307"/>
              <a:gd name="connsiteY102" fmla="*/ 261893 h 739526"/>
              <a:gd name="connsiteX103" fmla="*/ 6798701 w 7948307"/>
              <a:gd name="connsiteY103" fmla="*/ 358880 h 739526"/>
              <a:gd name="connsiteX104" fmla="*/ 6899714 w 7948307"/>
              <a:gd name="connsiteY104" fmla="*/ 328571 h 739526"/>
              <a:gd name="connsiteX105" fmla="*/ 6705679 w 7948307"/>
              <a:gd name="connsiteY105" fmla="*/ 208440 h 739526"/>
              <a:gd name="connsiteX106" fmla="*/ 7206755 w 7948307"/>
              <a:gd name="connsiteY106" fmla="*/ 678083 h 739526"/>
              <a:gd name="connsiteX107" fmla="*/ 7085482 w 7948307"/>
              <a:gd name="connsiteY107" fmla="*/ 471021 h 739526"/>
              <a:gd name="connsiteX108" fmla="*/ 7206755 w 7948307"/>
              <a:gd name="connsiteY108" fmla="*/ 263959 h 739526"/>
              <a:gd name="connsiteX109" fmla="*/ 7328027 w 7948307"/>
              <a:gd name="connsiteY109" fmla="*/ 471021 h 739526"/>
              <a:gd name="connsiteX110" fmla="*/ 7206755 w 7948307"/>
              <a:gd name="connsiteY110" fmla="*/ 678083 h 739526"/>
              <a:gd name="connsiteX111" fmla="*/ 7206755 w 7948307"/>
              <a:gd name="connsiteY111" fmla="*/ 208440 h 739526"/>
              <a:gd name="connsiteX112" fmla="*/ 6960213 w 7948307"/>
              <a:gd name="connsiteY112" fmla="*/ 471021 h 739526"/>
              <a:gd name="connsiteX113" fmla="*/ 7206755 w 7948307"/>
              <a:gd name="connsiteY113" fmla="*/ 733603 h 739526"/>
              <a:gd name="connsiteX114" fmla="*/ 7453296 w 7948307"/>
              <a:gd name="connsiteY114" fmla="*/ 471021 h 739526"/>
              <a:gd name="connsiteX115" fmla="*/ 7206755 w 7948307"/>
              <a:gd name="connsiteY115" fmla="*/ 208440 h 739526"/>
              <a:gd name="connsiteX116" fmla="*/ 7788724 w 7948307"/>
              <a:gd name="connsiteY116" fmla="*/ 208440 h 739526"/>
              <a:gd name="connsiteX117" fmla="*/ 7649261 w 7948307"/>
              <a:gd name="connsiteY117" fmla="*/ 282144 h 739526"/>
              <a:gd name="connsiteX118" fmla="*/ 7643197 w 7948307"/>
              <a:gd name="connsiteY118" fmla="*/ 282144 h 739526"/>
              <a:gd name="connsiteX119" fmla="*/ 7643197 w 7948307"/>
              <a:gd name="connsiteY119" fmla="*/ 218496 h 739526"/>
              <a:gd name="connsiteX120" fmla="*/ 7523992 w 7948307"/>
              <a:gd name="connsiteY120" fmla="*/ 218496 h 739526"/>
              <a:gd name="connsiteX121" fmla="*/ 7523992 w 7948307"/>
              <a:gd name="connsiteY121" fmla="*/ 723546 h 739526"/>
              <a:gd name="connsiteX122" fmla="*/ 7643197 w 7948307"/>
              <a:gd name="connsiteY122" fmla="*/ 723546 h 739526"/>
              <a:gd name="connsiteX123" fmla="*/ 7643197 w 7948307"/>
              <a:gd name="connsiteY123" fmla="*/ 397316 h 739526"/>
              <a:gd name="connsiteX124" fmla="*/ 7743247 w 7948307"/>
              <a:gd name="connsiteY124" fmla="*/ 279113 h 739526"/>
              <a:gd name="connsiteX125" fmla="*/ 7829102 w 7948307"/>
              <a:gd name="connsiteY125" fmla="*/ 378167 h 739526"/>
              <a:gd name="connsiteX126" fmla="*/ 7829102 w 7948307"/>
              <a:gd name="connsiteY126" fmla="*/ 723546 h 739526"/>
              <a:gd name="connsiteX127" fmla="*/ 7948308 w 7948307"/>
              <a:gd name="connsiteY127" fmla="*/ 723546 h 739526"/>
              <a:gd name="connsiteX128" fmla="*/ 7948308 w 7948307"/>
              <a:gd name="connsiteY128" fmla="*/ 377065 h 739526"/>
              <a:gd name="connsiteX129" fmla="*/ 7788724 w 7948307"/>
              <a:gd name="connsiteY129" fmla="*/ 208440 h 739526"/>
              <a:gd name="connsiteX130" fmla="*/ 468828 w 7948307"/>
              <a:gd name="connsiteY130" fmla="*/ 16532 h 739526"/>
              <a:gd name="connsiteX131" fmla="*/ 343559 w 7948307"/>
              <a:gd name="connsiteY131" fmla="*/ 16532 h 739526"/>
              <a:gd name="connsiteX132" fmla="*/ 343559 w 7948307"/>
              <a:gd name="connsiteY132" fmla="*/ 538664 h 739526"/>
              <a:gd name="connsiteX133" fmla="*/ 234414 w 7948307"/>
              <a:gd name="connsiteY133" fmla="*/ 673950 h 739526"/>
              <a:gd name="connsiteX134" fmla="*/ 125269 w 7948307"/>
              <a:gd name="connsiteY134" fmla="*/ 528469 h 739526"/>
              <a:gd name="connsiteX135" fmla="*/ 125269 w 7948307"/>
              <a:gd name="connsiteY135" fmla="*/ 431482 h 739526"/>
              <a:gd name="connsiteX136" fmla="*/ 0 w 7948307"/>
              <a:gd name="connsiteY136" fmla="*/ 462755 h 739526"/>
              <a:gd name="connsiteX137" fmla="*/ 0 w 7948307"/>
              <a:gd name="connsiteY137" fmla="*/ 506151 h 739526"/>
              <a:gd name="connsiteX138" fmla="*/ 234414 w 7948307"/>
              <a:gd name="connsiteY138" fmla="*/ 739527 h 739526"/>
              <a:gd name="connsiteX139" fmla="*/ 468828 w 7948307"/>
              <a:gd name="connsiteY139" fmla="*/ 506151 h 739526"/>
              <a:gd name="connsiteX140" fmla="*/ 468828 w 7948307"/>
              <a:gd name="connsiteY140" fmla="*/ 16256 h 739526"/>
              <a:gd name="connsiteX141" fmla="*/ 1222509 w 7948307"/>
              <a:gd name="connsiteY141" fmla="*/ 16256 h 739526"/>
              <a:gd name="connsiteX142" fmla="*/ 1103304 w 7948307"/>
              <a:gd name="connsiteY142" fmla="*/ 16256 h 739526"/>
              <a:gd name="connsiteX143" fmla="*/ 1103304 w 7948307"/>
              <a:gd name="connsiteY143" fmla="*/ 723270 h 739526"/>
              <a:gd name="connsiteX144" fmla="*/ 1222509 w 7948307"/>
              <a:gd name="connsiteY144" fmla="*/ 723270 h 739526"/>
              <a:gd name="connsiteX145" fmla="*/ 1222509 w 7948307"/>
              <a:gd name="connsiteY145" fmla="*/ 397041 h 739526"/>
              <a:gd name="connsiteX146" fmla="*/ 1322559 w 7948307"/>
              <a:gd name="connsiteY146" fmla="*/ 278838 h 739526"/>
              <a:gd name="connsiteX147" fmla="*/ 1408415 w 7948307"/>
              <a:gd name="connsiteY147" fmla="*/ 377891 h 739526"/>
              <a:gd name="connsiteX148" fmla="*/ 1408415 w 7948307"/>
              <a:gd name="connsiteY148" fmla="*/ 723270 h 739526"/>
              <a:gd name="connsiteX149" fmla="*/ 1527620 w 7948307"/>
              <a:gd name="connsiteY149" fmla="*/ 723270 h 739526"/>
              <a:gd name="connsiteX150" fmla="*/ 1527620 w 7948307"/>
              <a:gd name="connsiteY150" fmla="*/ 376789 h 739526"/>
              <a:gd name="connsiteX151" fmla="*/ 1368036 w 7948307"/>
              <a:gd name="connsiteY151" fmla="*/ 208164 h 739526"/>
              <a:gd name="connsiteX152" fmla="*/ 1228573 w 7948307"/>
              <a:gd name="connsiteY152" fmla="*/ 281869 h 739526"/>
              <a:gd name="connsiteX153" fmla="*/ 1222509 w 7948307"/>
              <a:gd name="connsiteY153" fmla="*/ 281869 h 739526"/>
              <a:gd name="connsiteX154" fmla="*/ 1222509 w 7948307"/>
              <a:gd name="connsiteY154" fmla="*/ 16256 h 739526"/>
              <a:gd name="connsiteX155" fmla="*/ 4855722 w 7948307"/>
              <a:gd name="connsiteY155" fmla="*/ 16256 h 739526"/>
              <a:gd name="connsiteX156" fmla="*/ 4730453 w 7948307"/>
              <a:gd name="connsiteY156" fmla="*/ 16256 h 739526"/>
              <a:gd name="connsiteX157" fmla="*/ 4730453 w 7948307"/>
              <a:gd name="connsiteY157" fmla="*/ 538389 h 739526"/>
              <a:gd name="connsiteX158" fmla="*/ 4621308 w 7948307"/>
              <a:gd name="connsiteY158" fmla="*/ 673675 h 739526"/>
              <a:gd name="connsiteX159" fmla="*/ 4512163 w 7948307"/>
              <a:gd name="connsiteY159" fmla="*/ 528194 h 739526"/>
              <a:gd name="connsiteX160" fmla="*/ 4512163 w 7948307"/>
              <a:gd name="connsiteY160" fmla="*/ 431207 h 739526"/>
              <a:gd name="connsiteX161" fmla="*/ 4386894 w 7948307"/>
              <a:gd name="connsiteY161" fmla="*/ 462480 h 739526"/>
              <a:gd name="connsiteX162" fmla="*/ 4386894 w 7948307"/>
              <a:gd name="connsiteY162" fmla="*/ 505876 h 739526"/>
              <a:gd name="connsiteX163" fmla="*/ 4621308 w 7948307"/>
              <a:gd name="connsiteY163" fmla="*/ 739251 h 739526"/>
              <a:gd name="connsiteX164" fmla="*/ 4855722 w 7948307"/>
              <a:gd name="connsiteY164" fmla="*/ 505876 h 739526"/>
              <a:gd name="connsiteX165" fmla="*/ 4855722 w 7948307"/>
              <a:gd name="connsiteY165" fmla="*/ 15981 h 739526"/>
              <a:gd name="connsiteX166" fmla="*/ 5609403 w 7948307"/>
              <a:gd name="connsiteY166" fmla="*/ 15981 h 739526"/>
              <a:gd name="connsiteX167" fmla="*/ 5490198 w 7948307"/>
              <a:gd name="connsiteY167" fmla="*/ 15981 h 739526"/>
              <a:gd name="connsiteX168" fmla="*/ 5490198 w 7948307"/>
              <a:gd name="connsiteY168" fmla="*/ 722995 h 739526"/>
              <a:gd name="connsiteX169" fmla="*/ 5609403 w 7948307"/>
              <a:gd name="connsiteY169" fmla="*/ 722995 h 739526"/>
              <a:gd name="connsiteX170" fmla="*/ 5609403 w 7948307"/>
              <a:gd name="connsiteY170" fmla="*/ 396765 h 739526"/>
              <a:gd name="connsiteX171" fmla="*/ 5709453 w 7948307"/>
              <a:gd name="connsiteY171" fmla="*/ 278562 h 739526"/>
              <a:gd name="connsiteX172" fmla="*/ 5795308 w 7948307"/>
              <a:gd name="connsiteY172" fmla="*/ 377616 h 739526"/>
              <a:gd name="connsiteX173" fmla="*/ 5795308 w 7948307"/>
              <a:gd name="connsiteY173" fmla="*/ 722995 h 739526"/>
              <a:gd name="connsiteX174" fmla="*/ 5914514 w 7948307"/>
              <a:gd name="connsiteY174" fmla="*/ 722995 h 739526"/>
              <a:gd name="connsiteX175" fmla="*/ 5914514 w 7948307"/>
              <a:gd name="connsiteY175" fmla="*/ 376514 h 739526"/>
              <a:gd name="connsiteX176" fmla="*/ 5754930 w 7948307"/>
              <a:gd name="connsiteY176" fmla="*/ 207889 h 739526"/>
              <a:gd name="connsiteX177" fmla="*/ 5615466 w 7948307"/>
              <a:gd name="connsiteY177" fmla="*/ 281593 h 739526"/>
              <a:gd name="connsiteX178" fmla="*/ 5609403 w 7948307"/>
              <a:gd name="connsiteY178" fmla="*/ 281593 h 739526"/>
              <a:gd name="connsiteX179" fmla="*/ 5609403 w 7948307"/>
              <a:gd name="connsiteY179" fmla="*/ 15981 h 739526"/>
              <a:gd name="connsiteX180" fmla="*/ 3954447 w 7948307"/>
              <a:gd name="connsiteY180" fmla="*/ 665409 h 739526"/>
              <a:gd name="connsiteX181" fmla="*/ 3797895 w 7948307"/>
              <a:gd name="connsiteY181" fmla="*/ 502845 h 739526"/>
              <a:gd name="connsiteX182" fmla="*/ 3859496 w 7948307"/>
              <a:gd name="connsiteY182" fmla="*/ 374585 h 739526"/>
              <a:gd name="connsiteX183" fmla="*/ 4087847 w 7948307"/>
              <a:gd name="connsiteY183" fmla="*/ 624079 h 739526"/>
              <a:gd name="connsiteX184" fmla="*/ 3954447 w 7948307"/>
              <a:gd name="connsiteY184" fmla="*/ 665546 h 739526"/>
              <a:gd name="connsiteX185" fmla="*/ 4176734 w 7948307"/>
              <a:gd name="connsiteY185" fmla="*/ 541282 h 739526"/>
              <a:gd name="connsiteX186" fmla="*/ 3978702 w 7948307"/>
              <a:gd name="connsiteY186" fmla="*/ 323061 h 739526"/>
              <a:gd name="connsiteX187" fmla="*/ 4076684 w 7948307"/>
              <a:gd name="connsiteY187" fmla="*/ 303911 h 739526"/>
              <a:gd name="connsiteX188" fmla="*/ 4208981 w 7948307"/>
              <a:gd name="connsiteY188" fmla="*/ 433273 h 739526"/>
              <a:gd name="connsiteX189" fmla="*/ 4176596 w 7948307"/>
              <a:gd name="connsiteY189" fmla="*/ 541282 h 739526"/>
              <a:gd name="connsiteX190" fmla="*/ 3951278 w 7948307"/>
              <a:gd name="connsiteY190" fmla="*/ 293854 h 739526"/>
              <a:gd name="connsiteX191" fmla="*/ 3907868 w 7948307"/>
              <a:gd name="connsiteY191" fmla="*/ 245361 h 739526"/>
              <a:gd name="connsiteX192" fmla="*/ 3858394 w 7948307"/>
              <a:gd name="connsiteY192" fmla="*/ 145343 h 739526"/>
              <a:gd name="connsiteX193" fmla="*/ 3954309 w 7948307"/>
              <a:gd name="connsiteY193" fmla="*/ 53453 h 739526"/>
              <a:gd name="connsiteX194" fmla="*/ 4049260 w 7948307"/>
              <a:gd name="connsiteY194" fmla="*/ 150440 h 739526"/>
              <a:gd name="connsiteX195" fmla="*/ 3951278 w 7948307"/>
              <a:gd name="connsiteY195" fmla="*/ 293854 h 739526"/>
              <a:gd name="connsiteX196" fmla="*/ 3957341 w 7948307"/>
              <a:gd name="connsiteY196" fmla="*/ 0 h 739526"/>
              <a:gd name="connsiteX197" fmla="*/ 3749249 w 7948307"/>
              <a:gd name="connsiteY197" fmla="*/ 174687 h 739526"/>
              <a:gd name="connsiteX198" fmla="*/ 3830143 w 7948307"/>
              <a:gd name="connsiteY198" fmla="*/ 343312 h 739526"/>
              <a:gd name="connsiteX199" fmla="*/ 3831108 w 7948307"/>
              <a:gd name="connsiteY199" fmla="*/ 345379 h 739526"/>
              <a:gd name="connsiteX200" fmla="*/ 3686683 w 7948307"/>
              <a:gd name="connsiteY200" fmla="*/ 548445 h 739526"/>
              <a:gd name="connsiteX201" fmla="*/ 3889815 w 7948307"/>
              <a:gd name="connsiteY201" fmla="*/ 739389 h 739526"/>
              <a:gd name="connsiteX202" fmla="*/ 4118165 w 7948307"/>
              <a:gd name="connsiteY202" fmla="*/ 657556 h 739526"/>
              <a:gd name="connsiteX203" fmla="*/ 4178801 w 7948307"/>
              <a:gd name="connsiteY203" fmla="*/ 723270 h 739526"/>
              <a:gd name="connsiteX204" fmla="*/ 4337420 w 7948307"/>
              <a:gd name="connsiteY204" fmla="*/ 723270 h 739526"/>
              <a:gd name="connsiteX205" fmla="*/ 4337420 w 7948307"/>
              <a:gd name="connsiteY205" fmla="*/ 718173 h 739526"/>
              <a:gd name="connsiteX206" fmla="*/ 4208155 w 7948307"/>
              <a:gd name="connsiteY206" fmla="*/ 575723 h 739526"/>
              <a:gd name="connsiteX207" fmla="*/ 4294011 w 7948307"/>
              <a:gd name="connsiteY207" fmla="*/ 378718 h 739526"/>
              <a:gd name="connsiteX208" fmla="*/ 4161713 w 7948307"/>
              <a:gd name="connsiteY208" fmla="*/ 250458 h 739526"/>
              <a:gd name="connsiteX209" fmla="*/ 4040440 w 7948307"/>
              <a:gd name="connsiteY209" fmla="*/ 274705 h 739526"/>
              <a:gd name="connsiteX210" fmla="*/ 4038373 w 7948307"/>
              <a:gd name="connsiteY210" fmla="*/ 270710 h 739526"/>
              <a:gd name="connsiteX211" fmla="*/ 4147518 w 7948307"/>
              <a:gd name="connsiteY211" fmla="*/ 137352 h 739526"/>
              <a:gd name="connsiteX212" fmla="*/ 3957617 w 7948307"/>
              <a:gd name="connsiteY212" fmla="*/ 0 h 73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7948307" h="739526">
                <a:moveTo>
                  <a:pt x="786066" y="677532"/>
                </a:moveTo>
                <a:cubicBezTo>
                  <a:pt x="708204" y="677532"/>
                  <a:pt x="664794" y="603827"/>
                  <a:pt x="664794" y="470470"/>
                </a:cubicBezTo>
                <a:cubicBezTo>
                  <a:pt x="664794" y="337113"/>
                  <a:pt x="708204" y="263408"/>
                  <a:pt x="786066" y="263408"/>
                </a:cubicBezTo>
                <a:cubicBezTo>
                  <a:pt x="863929" y="263408"/>
                  <a:pt x="907339" y="336148"/>
                  <a:pt x="907339" y="470470"/>
                </a:cubicBezTo>
                <a:cubicBezTo>
                  <a:pt x="907339" y="604792"/>
                  <a:pt x="863929" y="677532"/>
                  <a:pt x="786066" y="677532"/>
                </a:cubicBezTo>
                <a:moveTo>
                  <a:pt x="786066" y="207889"/>
                </a:moveTo>
                <a:cubicBezTo>
                  <a:pt x="627447" y="207889"/>
                  <a:pt x="539525" y="326091"/>
                  <a:pt x="539525" y="470470"/>
                </a:cubicBezTo>
                <a:cubicBezTo>
                  <a:pt x="539525" y="614849"/>
                  <a:pt x="627447" y="733052"/>
                  <a:pt x="786066" y="733052"/>
                </a:cubicBezTo>
                <a:cubicBezTo>
                  <a:pt x="944685" y="733052"/>
                  <a:pt x="1032607" y="614849"/>
                  <a:pt x="1032607" y="470470"/>
                </a:cubicBezTo>
                <a:cubicBezTo>
                  <a:pt x="1032607" y="326091"/>
                  <a:pt x="944685" y="207889"/>
                  <a:pt x="786066" y="207889"/>
                </a:cubicBezTo>
                <a:moveTo>
                  <a:pt x="1888405" y="207889"/>
                </a:moveTo>
                <a:cubicBezTo>
                  <a:pt x="1813575" y="207889"/>
                  <a:pt x="1772232" y="240263"/>
                  <a:pt x="1748942" y="281593"/>
                </a:cubicBezTo>
                <a:lnTo>
                  <a:pt x="1742878" y="281593"/>
                </a:lnTo>
                <a:lnTo>
                  <a:pt x="1742878" y="217945"/>
                </a:lnTo>
                <a:lnTo>
                  <a:pt x="1623673" y="217945"/>
                </a:lnTo>
                <a:lnTo>
                  <a:pt x="1623673" y="722995"/>
                </a:lnTo>
                <a:lnTo>
                  <a:pt x="1742878" y="722995"/>
                </a:lnTo>
                <a:lnTo>
                  <a:pt x="1742878" y="396765"/>
                </a:lnTo>
                <a:cubicBezTo>
                  <a:pt x="1742878" y="322096"/>
                  <a:pt x="1781327" y="278562"/>
                  <a:pt x="1842928" y="278562"/>
                </a:cubicBezTo>
                <a:cubicBezTo>
                  <a:pt x="1904529" y="278562"/>
                  <a:pt x="1928783" y="317963"/>
                  <a:pt x="1928783" y="377616"/>
                </a:cubicBezTo>
                <a:lnTo>
                  <a:pt x="1928783" y="722995"/>
                </a:lnTo>
                <a:lnTo>
                  <a:pt x="2047989" y="722995"/>
                </a:lnTo>
                <a:lnTo>
                  <a:pt x="2047989" y="376514"/>
                </a:lnTo>
                <a:cubicBezTo>
                  <a:pt x="2047989" y="272501"/>
                  <a:pt x="1993416" y="207889"/>
                  <a:pt x="1888405" y="207889"/>
                </a:cubicBezTo>
                <a:moveTo>
                  <a:pt x="2318785" y="207889"/>
                </a:moveTo>
                <a:cubicBezTo>
                  <a:pt x="2208675" y="207889"/>
                  <a:pt x="2125851" y="254316"/>
                  <a:pt x="2125851" y="353369"/>
                </a:cubicBezTo>
                <a:cubicBezTo>
                  <a:pt x="2125851" y="437269"/>
                  <a:pt x="2183456" y="482731"/>
                  <a:pt x="2248089" y="498850"/>
                </a:cubicBezTo>
                <a:lnTo>
                  <a:pt x="2349103" y="524061"/>
                </a:lnTo>
                <a:cubicBezTo>
                  <a:pt x="2402711" y="537149"/>
                  <a:pt x="2426965" y="556436"/>
                  <a:pt x="2426965" y="598868"/>
                </a:cubicBezTo>
                <a:cubicBezTo>
                  <a:pt x="2426965" y="650392"/>
                  <a:pt x="2390584" y="679736"/>
                  <a:pt x="2326916" y="679736"/>
                </a:cubicBezTo>
                <a:cubicBezTo>
                  <a:pt x="2258148" y="679736"/>
                  <a:pt x="2222869" y="646397"/>
                  <a:pt x="2211707" y="562635"/>
                </a:cubicBezTo>
                <a:lnTo>
                  <a:pt x="2104629" y="592944"/>
                </a:lnTo>
                <a:cubicBezTo>
                  <a:pt x="2110692" y="679874"/>
                  <a:pt x="2191587" y="733327"/>
                  <a:pt x="2313824" y="733327"/>
                </a:cubicBezTo>
                <a:cubicBezTo>
                  <a:pt x="2450255" y="733327"/>
                  <a:pt x="2523983" y="669679"/>
                  <a:pt x="2523983" y="568697"/>
                </a:cubicBezTo>
                <a:cubicBezTo>
                  <a:pt x="2523983" y="473776"/>
                  <a:pt x="2458248" y="434375"/>
                  <a:pt x="2389619" y="417155"/>
                </a:cubicBezTo>
                <a:lnTo>
                  <a:pt x="2292601" y="392908"/>
                </a:lnTo>
                <a:cubicBezTo>
                  <a:pt x="2244092" y="380784"/>
                  <a:pt x="2222869" y="358604"/>
                  <a:pt x="2222869" y="326229"/>
                </a:cubicBezTo>
                <a:cubicBezTo>
                  <a:pt x="2222869" y="285864"/>
                  <a:pt x="2257184" y="261617"/>
                  <a:pt x="2308725" y="261617"/>
                </a:cubicBezTo>
                <a:cubicBezTo>
                  <a:pt x="2369361" y="261617"/>
                  <a:pt x="2406707" y="294957"/>
                  <a:pt x="2411806" y="358604"/>
                </a:cubicBezTo>
                <a:lnTo>
                  <a:pt x="2512821" y="328296"/>
                </a:lnTo>
                <a:cubicBezTo>
                  <a:pt x="2500693" y="257622"/>
                  <a:pt x="2430962" y="208164"/>
                  <a:pt x="2318785" y="208164"/>
                </a:cubicBezTo>
                <a:moveTo>
                  <a:pt x="2819861" y="677807"/>
                </a:moveTo>
                <a:cubicBezTo>
                  <a:pt x="2741998" y="677807"/>
                  <a:pt x="2698588" y="604103"/>
                  <a:pt x="2698588" y="470746"/>
                </a:cubicBezTo>
                <a:cubicBezTo>
                  <a:pt x="2698588" y="337388"/>
                  <a:pt x="2741998" y="263684"/>
                  <a:pt x="2819861" y="263684"/>
                </a:cubicBezTo>
                <a:cubicBezTo>
                  <a:pt x="2897723" y="263684"/>
                  <a:pt x="2941133" y="336424"/>
                  <a:pt x="2941133" y="470746"/>
                </a:cubicBezTo>
                <a:cubicBezTo>
                  <a:pt x="2941133" y="605067"/>
                  <a:pt x="2897723" y="677807"/>
                  <a:pt x="2819861" y="677807"/>
                </a:cubicBezTo>
                <a:moveTo>
                  <a:pt x="2819861" y="208164"/>
                </a:moveTo>
                <a:cubicBezTo>
                  <a:pt x="2661242" y="208164"/>
                  <a:pt x="2573319" y="326367"/>
                  <a:pt x="2573319" y="470746"/>
                </a:cubicBezTo>
                <a:cubicBezTo>
                  <a:pt x="2573319" y="615124"/>
                  <a:pt x="2661242" y="733327"/>
                  <a:pt x="2819861" y="733327"/>
                </a:cubicBezTo>
                <a:cubicBezTo>
                  <a:pt x="2978480" y="733327"/>
                  <a:pt x="3066402" y="615124"/>
                  <a:pt x="3066402" y="470746"/>
                </a:cubicBezTo>
                <a:cubicBezTo>
                  <a:pt x="3066402" y="326367"/>
                  <a:pt x="2978480" y="208164"/>
                  <a:pt x="2819861" y="208164"/>
                </a:cubicBezTo>
                <a:moveTo>
                  <a:pt x="3401831" y="208164"/>
                </a:moveTo>
                <a:cubicBezTo>
                  <a:pt x="3327000" y="208164"/>
                  <a:pt x="3285657" y="240539"/>
                  <a:pt x="3262367" y="281869"/>
                </a:cubicBezTo>
                <a:lnTo>
                  <a:pt x="3256304" y="281869"/>
                </a:lnTo>
                <a:lnTo>
                  <a:pt x="3256304" y="218221"/>
                </a:lnTo>
                <a:lnTo>
                  <a:pt x="3137098" y="218221"/>
                </a:lnTo>
                <a:lnTo>
                  <a:pt x="3137098" y="723270"/>
                </a:lnTo>
                <a:lnTo>
                  <a:pt x="3256304" y="723270"/>
                </a:lnTo>
                <a:lnTo>
                  <a:pt x="3256304" y="397041"/>
                </a:lnTo>
                <a:cubicBezTo>
                  <a:pt x="3256304" y="322372"/>
                  <a:pt x="3294752" y="278838"/>
                  <a:pt x="3356353" y="278838"/>
                </a:cubicBezTo>
                <a:cubicBezTo>
                  <a:pt x="3417954" y="278838"/>
                  <a:pt x="3442209" y="318239"/>
                  <a:pt x="3442209" y="377891"/>
                </a:cubicBezTo>
                <a:lnTo>
                  <a:pt x="3442209" y="723270"/>
                </a:lnTo>
                <a:lnTo>
                  <a:pt x="3561414" y="723270"/>
                </a:lnTo>
                <a:lnTo>
                  <a:pt x="3561414" y="376789"/>
                </a:lnTo>
                <a:cubicBezTo>
                  <a:pt x="3561414" y="272776"/>
                  <a:pt x="3506842" y="208164"/>
                  <a:pt x="3401831" y="208164"/>
                </a:cubicBezTo>
                <a:moveTo>
                  <a:pt x="5172960" y="677807"/>
                </a:moveTo>
                <a:cubicBezTo>
                  <a:pt x="5095097" y="677807"/>
                  <a:pt x="5051688" y="604103"/>
                  <a:pt x="5051688" y="470746"/>
                </a:cubicBezTo>
                <a:cubicBezTo>
                  <a:pt x="5051688" y="337388"/>
                  <a:pt x="5095097" y="263684"/>
                  <a:pt x="5172960" y="263684"/>
                </a:cubicBezTo>
                <a:cubicBezTo>
                  <a:pt x="5250823" y="263684"/>
                  <a:pt x="5294232" y="336424"/>
                  <a:pt x="5294232" y="470746"/>
                </a:cubicBezTo>
                <a:cubicBezTo>
                  <a:pt x="5294232" y="605067"/>
                  <a:pt x="5250823" y="677807"/>
                  <a:pt x="5172960" y="677807"/>
                </a:cubicBezTo>
                <a:moveTo>
                  <a:pt x="5172960" y="208164"/>
                </a:moveTo>
                <a:cubicBezTo>
                  <a:pt x="5014341" y="208164"/>
                  <a:pt x="4926418" y="326367"/>
                  <a:pt x="4926418" y="470746"/>
                </a:cubicBezTo>
                <a:cubicBezTo>
                  <a:pt x="4926418" y="615124"/>
                  <a:pt x="5014341" y="733327"/>
                  <a:pt x="5172960" y="733327"/>
                </a:cubicBezTo>
                <a:cubicBezTo>
                  <a:pt x="5331579" y="733327"/>
                  <a:pt x="5419502" y="615124"/>
                  <a:pt x="5419502" y="470746"/>
                </a:cubicBezTo>
                <a:cubicBezTo>
                  <a:pt x="5419502" y="326367"/>
                  <a:pt x="5331579" y="208164"/>
                  <a:pt x="5172960" y="208164"/>
                </a:cubicBezTo>
                <a:moveTo>
                  <a:pt x="6275299" y="208164"/>
                </a:moveTo>
                <a:cubicBezTo>
                  <a:pt x="6200468" y="208164"/>
                  <a:pt x="6159126" y="240539"/>
                  <a:pt x="6135836" y="281869"/>
                </a:cubicBezTo>
                <a:lnTo>
                  <a:pt x="6129772" y="281869"/>
                </a:lnTo>
                <a:lnTo>
                  <a:pt x="6129772" y="218221"/>
                </a:lnTo>
                <a:lnTo>
                  <a:pt x="6010567" y="218221"/>
                </a:lnTo>
                <a:lnTo>
                  <a:pt x="6010567" y="723270"/>
                </a:lnTo>
                <a:lnTo>
                  <a:pt x="6129772" y="723270"/>
                </a:lnTo>
                <a:lnTo>
                  <a:pt x="6129772" y="397041"/>
                </a:lnTo>
                <a:cubicBezTo>
                  <a:pt x="6129772" y="322372"/>
                  <a:pt x="6168222" y="278838"/>
                  <a:pt x="6229822" y="278838"/>
                </a:cubicBezTo>
                <a:cubicBezTo>
                  <a:pt x="6291422" y="278838"/>
                  <a:pt x="6315677" y="318239"/>
                  <a:pt x="6315677" y="377891"/>
                </a:cubicBezTo>
                <a:lnTo>
                  <a:pt x="6315677" y="723270"/>
                </a:lnTo>
                <a:lnTo>
                  <a:pt x="6434883" y="723270"/>
                </a:lnTo>
                <a:lnTo>
                  <a:pt x="6434883" y="376789"/>
                </a:lnTo>
                <a:cubicBezTo>
                  <a:pt x="6434883" y="272776"/>
                  <a:pt x="6380310" y="208164"/>
                  <a:pt x="6275299" y="208164"/>
                </a:cubicBezTo>
                <a:moveTo>
                  <a:pt x="6705679" y="208164"/>
                </a:moveTo>
                <a:cubicBezTo>
                  <a:pt x="6595568" y="208164"/>
                  <a:pt x="6512746" y="254591"/>
                  <a:pt x="6512746" y="353645"/>
                </a:cubicBezTo>
                <a:cubicBezTo>
                  <a:pt x="6512746" y="437544"/>
                  <a:pt x="6570350" y="483007"/>
                  <a:pt x="6634983" y="499125"/>
                </a:cubicBezTo>
                <a:lnTo>
                  <a:pt x="6735996" y="524336"/>
                </a:lnTo>
                <a:cubicBezTo>
                  <a:pt x="6789605" y="537424"/>
                  <a:pt x="6813859" y="556711"/>
                  <a:pt x="6813859" y="599143"/>
                </a:cubicBezTo>
                <a:cubicBezTo>
                  <a:pt x="6813859" y="650668"/>
                  <a:pt x="6777477" y="680012"/>
                  <a:pt x="6713809" y="680012"/>
                </a:cubicBezTo>
                <a:cubicBezTo>
                  <a:pt x="6645042" y="680012"/>
                  <a:pt x="6609763" y="646672"/>
                  <a:pt x="6598601" y="562911"/>
                </a:cubicBezTo>
                <a:lnTo>
                  <a:pt x="6491522" y="593219"/>
                </a:lnTo>
                <a:cubicBezTo>
                  <a:pt x="6497586" y="680149"/>
                  <a:pt x="6578480" y="733603"/>
                  <a:pt x="6700717" y="733603"/>
                </a:cubicBezTo>
                <a:cubicBezTo>
                  <a:pt x="6837149" y="733603"/>
                  <a:pt x="6910877" y="669955"/>
                  <a:pt x="6910877" y="568973"/>
                </a:cubicBezTo>
                <a:cubicBezTo>
                  <a:pt x="6910877" y="474052"/>
                  <a:pt x="6845142" y="434651"/>
                  <a:pt x="6776513" y="417430"/>
                </a:cubicBezTo>
                <a:lnTo>
                  <a:pt x="6679495" y="393183"/>
                </a:lnTo>
                <a:cubicBezTo>
                  <a:pt x="6630986" y="381060"/>
                  <a:pt x="6609763" y="358880"/>
                  <a:pt x="6609763" y="326505"/>
                </a:cubicBezTo>
                <a:cubicBezTo>
                  <a:pt x="6609763" y="286140"/>
                  <a:pt x="6644078" y="261893"/>
                  <a:pt x="6695618" y="261893"/>
                </a:cubicBezTo>
                <a:cubicBezTo>
                  <a:pt x="6756255" y="261893"/>
                  <a:pt x="6793601" y="295232"/>
                  <a:pt x="6798701" y="358880"/>
                </a:cubicBezTo>
                <a:lnTo>
                  <a:pt x="6899714" y="328571"/>
                </a:lnTo>
                <a:cubicBezTo>
                  <a:pt x="6887587" y="257897"/>
                  <a:pt x="6817855" y="208440"/>
                  <a:pt x="6705679" y="208440"/>
                </a:cubicBezTo>
                <a:moveTo>
                  <a:pt x="7206755" y="678083"/>
                </a:moveTo>
                <a:cubicBezTo>
                  <a:pt x="7128892" y="678083"/>
                  <a:pt x="7085482" y="604378"/>
                  <a:pt x="7085482" y="471021"/>
                </a:cubicBezTo>
                <a:cubicBezTo>
                  <a:pt x="7085482" y="337664"/>
                  <a:pt x="7128892" y="263959"/>
                  <a:pt x="7206755" y="263959"/>
                </a:cubicBezTo>
                <a:cubicBezTo>
                  <a:pt x="7284617" y="263959"/>
                  <a:pt x="7328027" y="336700"/>
                  <a:pt x="7328027" y="471021"/>
                </a:cubicBezTo>
                <a:cubicBezTo>
                  <a:pt x="7328027" y="605343"/>
                  <a:pt x="7284617" y="678083"/>
                  <a:pt x="7206755" y="678083"/>
                </a:cubicBezTo>
                <a:moveTo>
                  <a:pt x="7206755" y="208440"/>
                </a:moveTo>
                <a:cubicBezTo>
                  <a:pt x="7048136" y="208440"/>
                  <a:pt x="6960213" y="326643"/>
                  <a:pt x="6960213" y="471021"/>
                </a:cubicBezTo>
                <a:cubicBezTo>
                  <a:pt x="6960213" y="615400"/>
                  <a:pt x="7048136" y="733603"/>
                  <a:pt x="7206755" y="733603"/>
                </a:cubicBezTo>
                <a:cubicBezTo>
                  <a:pt x="7365374" y="733603"/>
                  <a:pt x="7453296" y="615400"/>
                  <a:pt x="7453296" y="471021"/>
                </a:cubicBezTo>
                <a:cubicBezTo>
                  <a:pt x="7453296" y="326643"/>
                  <a:pt x="7365374" y="208440"/>
                  <a:pt x="7206755" y="208440"/>
                </a:cubicBezTo>
                <a:moveTo>
                  <a:pt x="7788724" y="208440"/>
                </a:moveTo>
                <a:cubicBezTo>
                  <a:pt x="7713894" y="208440"/>
                  <a:pt x="7672551" y="240815"/>
                  <a:pt x="7649261" y="282144"/>
                </a:cubicBezTo>
                <a:lnTo>
                  <a:pt x="7643197" y="282144"/>
                </a:lnTo>
                <a:lnTo>
                  <a:pt x="7643197" y="218496"/>
                </a:lnTo>
                <a:lnTo>
                  <a:pt x="7523992" y="218496"/>
                </a:lnTo>
                <a:lnTo>
                  <a:pt x="7523992" y="723546"/>
                </a:lnTo>
                <a:lnTo>
                  <a:pt x="7643197" y="723546"/>
                </a:lnTo>
                <a:lnTo>
                  <a:pt x="7643197" y="397316"/>
                </a:lnTo>
                <a:cubicBezTo>
                  <a:pt x="7643197" y="322647"/>
                  <a:pt x="7681646" y="279113"/>
                  <a:pt x="7743247" y="279113"/>
                </a:cubicBezTo>
                <a:cubicBezTo>
                  <a:pt x="7804848" y="279113"/>
                  <a:pt x="7829102" y="318514"/>
                  <a:pt x="7829102" y="378167"/>
                </a:cubicBezTo>
                <a:lnTo>
                  <a:pt x="7829102" y="723546"/>
                </a:lnTo>
                <a:lnTo>
                  <a:pt x="7948308" y="723546"/>
                </a:lnTo>
                <a:lnTo>
                  <a:pt x="7948308" y="377065"/>
                </a:lnTo>
                <a:cubicBezTo>
                  <a:pt x="7948308" y="273052"/>
                  <a:pt x="7893735" y="208440"/>
                  <a:pt x="7788724" y="208440"/>
                </a:cubicBezTo>
                <a:moveTo>
                  <a:pt x="468828" y="16532"/>
                </a:moveTo>
                <a:lnTo>
                  <a:pt x="343559" y="16532"/>
                </a:lnTo>
                <a:lnTo>
                  <a:pt x="343559" y="538664"/>
                </a:lnTo>
                <a:cubicBezTo>
                  <a:pt x="343559" y="623528"/>
                  <a:pt x="311174" y="673950"/>
                  <a:pt x="234414" y="673950"/>
                </a:cubicBezTo>
                <a:cubicBezTo>
                  <a:pt x="157654" y="673950"/>
                  <a:pt x="125269" y="620359"/>
                  <a:pt x="125269" y="528469"/>
                </a:cubicBezTo>
                <a:lnTo>
                  <a:pt x="125269" y="431482"/>
                </a:lnTo>
                <a:lnTo>
                  <a:pt x="0" y="462755"/>
                </a:lnTo>
                <a:lnTo>
                  <a:pt x="0" y="506151"/>
                </a:lnTo>
                <a:cubicBezTo>
                  <a:pt x="0" y="638406"/>
                  <a:pt x="65735" y="739527"/>
                  <a:pt x="234414" y="739527"/>
                </a:cubicBezTo>
                <a:cubicBezTo>
                  <a:pt x="403093" y="739527"/>
                  <a:pt x="468828" y="638544"/>
                  <a:pt x="468828" y="506151"/>
                </a:cubicBezTo>
                <a:lnTo>
                  <a:pt x="468828" y="16256"/>
                </a:lnTo>
                <a:moveTo>
                  <a:pt x="1222509" y="16256"/>
                </a:moveTo>
                <a:lnTo>
                  <a:pt x="1103304" y="16256"/>
                </a:lnTo>
                <a:lnTo>
                  <a:pt x="1103304" y="723270"/>
                </a:lnTo>
                <a:lnTo>
                  <a:pt x="1222509" y="723270"/>
                </a:lnTo>
                <a:lnTo>
                  <a:pt x="1222509" y="397041"/>
                </a:lnTo>
                <a:cubicBezTo>
                  <a:pt x="1222509" y="322372"/>
                  <a:pt x="1260958" y="278838"/>
                  <a:pt x="1322559" y="278838"/>
                </a:cubicBezTo>
                <a:cubicBezTo>
                  <a:pt x="1384160" y="278838"/>
                  <a:pt x="1408415" y="318239"/>
                  <a:pt x="1408415" y="377891"/>
                </a:cubicBezTo>
                <a:lnTo>
                  <a:pt x="1408415" y="723270"/>
                </a:lnTo>
                <a:lnTo>
                  <a:pt x="1527620" y="723270"/>
                </a:lnTo>
                <a:lnTo>
                  <a:pt x="1527620" y="376789"/>
                </a:lnTo>
                <a:cubicBezTo>
                  <a:pt x="1527620" y="272776"/>
                  <a:pt x="1473047" y="208164"/>
                  <a:pt x="1368036" y="208164"/>
                </a:cubicBezTo>
                <a:cubicBezTo>
                  <a:pt x="1293206" y="208164"/>
                  <a:pt x="1251863" y="240539"/>
                  <a:pt x="1228573" y="281869"/>
                </a:cubicBezTo>
                <a:lnTo>
                  <a:pt x="1222509" y="281869"/>
                </a:lnTo>
                <a:lnTo>
                  <a:pt x="1222509" y="16256"/>
                </a:lnTo>
                <a:moveTo>
                  <a:pt x="4855722" y="16256"/>
                </a:moveTo>
                <a:lnTo>
                  <a:pt x="4730453" y="16256"/>
                </a:lnTo>
                <a:lnTo>
                  <a:pt x="4730453" y="538389"/>
                </a:lnTo>
                <a:cubicBezTo>
                  <a:pt x="4730453" y="623252"/>
                  <a:pt x="4698068" y="673675"/>
                  <a:pt x="4621308" y="673675"/>
                </a:cubicBezTo>
                <a:cubicBezTo>
                  <a:pt x="4544548" y="673675"/>
                  <a:pt x="4512163" y="620084"/>
                  <a:pt x="4512163" y="528194"/>
                </a:cubicBezTo>
                <a:lnTo>
                  <a:pt x="4512163" y="431207"/>
                </a:lnTo>
                <a:lnTo>
                  <a:pt x="4386894" y="462480"/>
                </a:lnTo>
                <a:lnTo>
                  <a:pt x="4386894" y="505876"/>
                </a:lnTo>
                <a:cubicBezTo>
                  <a:pt x="4386894" y="638131"/>
                  <a:pt x="4452629" y="739251"/>
                  <a:pt x="4621308" y="739251"/>
                </a:cubicBezTo>
                <a:cubicBezTo>
                  <a:pt x="4789987" y="739251"/>
                  <a:pt x="4855722" y="638269"/>
                  <a:pt x="4855722" y="505876"/>
                </a:cubicBezTo>
                <a:lnTo>
                  <a:pt x="4855722" y="15981"/>
                </a:lnTo>
                <a:moveTo>
                  <a:pt x="5609403" y="15981"/>
                </a:moveTo>
                <a:lnTo>
                  <a:pt x="5490198" y="15981"/>
                </a:lnTo>
                <a:lnTo>
                  <a:pt x="5490198" y="722995"/>
                </a:lnTo>
                <a:lnTo>
                  <a:pt x="5609403" y="722995"/>
                </a:lnTo>
                <a:lnTo>
                  <a:pt x="5609403" y="396765"/>
                </a:lnTo>
                <a:cubicBezTo>
                  <a:pt x="5609403" y="322096"/>
                  <a:pt x="5647852" y="278562"/>
                  <a:pt x="5709453" y="278562"/>
                </a:cubicBezTo>
                <a:cubicBezTo>
                  <a:pt x="5771054" y="278562"/>
                  <a:pt x="5795308" y="317963"/>
                  <a:pt x="5795308" y="377616"/>
                </a:cubicBezTo>
                <a:lnTo>
                  <a:pt x="5795308" y="722995"/>
                </a:lnTo>
                <a:lnTo>
                  <a:pt x="5914514" y="722995"/>
                </a:lnTo>
                <a:lnTo>
                  <a:pt x="5914514" y="376514"/>
                </a:lnTo>
                <a:cubicBezTo>
                  <a:pt x="5914514" y="272501"/>
                  <a:pt x="5859941" y="207889"/>
                  <a:pt x="5754930" y="207889"/>
                </a:cubicBezTo>
                <a:cubicBezTo>
                  <a:pt x="5680099" y="207889"/>
                  <a:pt x="5638756" y="240263"/>
                  <a:pt x="5615466" y="281593"/>
                </a:cubicBezTo>
                <a:lnTo>
                  <a:pt x="5609403" y="281593"/>
                </a:lnTo>
                <a:lnTo>
                  <a:pt x="5609403" y="15981"/>
                </a:lnTo>
                <a:moveTo>
                  <a:pt x="3954447" y="665409"/>
                </a:moveTo>
                <a:cubicBezTo>
                  <a:pt x="3857429" y="665409"/>
                  <a:pt x="3797895" y="586607"/>
                  <a:pt x="3797895" y="502845"/>
                </a:cubicBezTo>
                <a:cubicBezTo>
                  <a:pt x="3797895" y="450356"/>
                  <a:pt x="3821185" y="401863"/>
                  <a:pt x="3859496" y="374585"/>
                </a:cubicBezTo>
                <a:lnTo>
                  <a:pt x="4087847" y="624079"/>
                </a:lnTo>
                <a:cubicBezTo>
                  <a:pt x="4045401" y="649290"/>
                  <a:pt x="3997857" y="665546"/>
                  <a:pt x="3954447" y="665546"/>
                </a:cubicBezTo>
                <a:moveTo>
                  <a:pt x="4176734" y="541282"/>
                </a:moveTo>
                <a:lnTo>
                  <a:pt x="3978702" y="323061"/>
                </a:lnTo>
                <a:cubicBezTo>
                  <a:pt x="4014119" y="308871"/>
                  <a:pt x="4048433" y="303911"/>
                  <a:pt x="4076684" y="303911"/>
                </a:cubicBezTo>
                <a:cubicBezTo>
                  <a:pt x="4158543" y="303911"/>
                  <a:pt x="4208981" y="351440"/>
                  <a:pt x="4208981" y="433273"/>
                </a:cubicBezTo>
                <a:cubicBezTo>
                  <a:pt x="4208981" y="469643"/>
                  <a:pt x="4198922" y="506978"/>
                  <a:pt x="4176596" y="541282"/>
                </a:cubicBezTo>
                <a:moveTo>
                  <a:pt x="3951278" y="293854"/>
                </a:moveTo>
                <a:lnTo>
                  <a:pt x="3907868" y="245361"/>
                </a:lnTo>
                <a:cubicBezTo>
                  <a:pt x="3869419" y="202929"/>
                  <a:pt x="3858394" y="176616"/>
                  <a:pt x="3858394" y="145343"/>
                </a:cubicBezTo>
                <a:cubicBezTo>
                  <a:pt x="3858394" y="86792"/>
                  <a:pt x="3895740" y="53453"/>
                  <a:pt x="3954309" y="53453"/>
                </a:cubicBezTo>
                <a:cubicBezTo>
                  <a:pt x="4012879" y="53453"/>
                  <a:pt x="4049260" y="87757"/>
                  <a:pt x="4049260" y="150440"/>
                </a:cubicBezTo>
                <a:cubicBezTo>
                  <a:pt x="4049260" y="208026"/>
                  <a:pt x="4021009" y="262582"/>
                  <a:pt x="3951278" y="293854"/>
                </a:cubicBezTo>
                <a:moveTo>
                  <a:pt x="3957341" y="0"/>
                </a:moveTo>
                <a:cubicBezTo>
                  <a:pt x="3817878" y="0"/>
                  <a:pt x="3749249" y="77838"/>
                  <a:pt x="3749249" y="174687"/>
                </a:cubicBezTo>
                <a:cubicBezTo>
                  <a:pt x="3749249" y="227176"/>
                  <a:pt x="3771436" y="279802"/>
                  <a:pt x="3830143" y="343312"/>
                </a:cubicBezTo>
                <a:lnTo>
                  <a:pt x="3831108" y="345379"/>
                </a:lnTo>
                <a:cubicBezTo>
                  <a:pt x="3732160" y="392908"/>
                  <a:pt x="3686683" y="469643"/>
                  <a:pt x="3686683" y="548445"/>
                </a:cubicBezTo>
                <a:cubicBezTo>
                  <a:pt x="3686683" y="652459"/>
                  <a:pt x="3766475" y="739389"/>
                  <a:pt x="3889815" y="739389"/>
                </a:cubicBezTo>
                <a:cubicBezTo>
                  <a:pt x="3960511" y="739389"/>
                  <a:pt x="4043334" y="710045"/>
                  <a:pt x="4118165" y="657556"/>
                </a:cubicBezTo>
                <a:lnTo>
                  <a:pt x="4178801" y="723270"/>
                </a:lnTo>
                <a:lnTo>
                  <a:pt x="4337420" y="723270"/>
                </a:lnTo>
                <a:lnTo>
                  <a:pt x="4337420" y="718173"/>
                </a:lnTo>
                <a:lnTo>
                  <a:pt x="4208155" y="575723"/>
                </a:lnTo>
                <a:cubicBezTo>
                  <a:pt x="4262728" y="511111"/>
                  <a:pt x="4294011" y="440437"/>
                  <a:pt x="4294011" y="378718"/>
                </a:cubicBezTo>
                <a:cubicBezTo>
                  <a:pt x="4294011" y="301982"/>
                  <a:pt x="4242469" y="250458"/>
                  <a:pt x="4161713" y="250458"/>
                </a:cubicBezTo>
                <a:cubicBezTo>
                  <a:pt x="4119268" y="250458"/>
                  <a:pt x="4071723" y="262582"/>
                  <a:pt x="4040440" y="274705"/>
                </a:cubicBezTo>
                <a:lnTo>
                  <a:pt x="4038373" y="270710"/>
                </a:lnTo>
                <a:cubicBezTo>
                  <a:pt x="4115133" y="229242"/>
                  <a:pt x="4147518" y="190943"/>
                  <a:pt x="4147518" y="137352"/>
                </a:cubicBezTo>
                <a:cubicBezTo>
                  <a:pt x="4147518" y="60617"/>
                  <a:pt x="4078752" y="0"/>
                  <a:pt x="3957617" y="0"/>
                </a:cubicBezTo>
              </a:path>
            </a:pathLst>
          </a:custGeom>
          <a:solidFill>
            <a:schemeClr val="bg1"/>
          </a:solidFill>
          <a:ln w="13780" cap="flat">
            <a:noFill/>
            <a:prstDash val="solid"/>
            <a:miter/>
          </a:ln>
        </p:spPr>
        <p:txBody>
          <a:bodyPr rtlCol="0" anchor="t"/>
          <a:lstStyle/>
          <a:p>
            <a:endParaRPr lang="en-GB" b="0" i="0">
              <a:solidFill>
                <a:schemeClr val="bg1"/>
              </a:solidFill>
              <a:latin typeface="Johnson Text" pitchFamily="2" charset="77"/>
            </a:endParaRPr>
          </a:p>
        </p:txBody>
      </p:sp>
      <p:sp>
        <p:nvSpPr>
          <p:cNvPr id="2" name="Title 1">
            <a:extLst>
              <a:ext uri="{FF2B5EF4-FFF2-40B4-BE49-F238E27FC236}">
                <a16:creationId xmlns:a16="http://schemas.microsoft.com/office/drawing/2014/main" id="{241F71E3-AC39-2207-0CC4-1E2486610795}"/>
              </a:ext>
            </a:extLst>
          </p:cNvPr>
          <p:cNvSpPr>
            <a:spLocks noGrp="1"/>
          </p:cNvSpPr>
          <p:nvPr>
            <p:ph type="ctrTitle"/>
          </p:nvPr>
        </p:nvSpPr>
        <p:spPr>
          <a:xfrm>
            <a:off x="6165850" y="266955"/>
            <a:ext cx="5734050" cy="2585323"/>
          </a:xfrm>
        </p:spPr>
        <p:txBody>
          <a:bodyPr wrap="square" anchor="t">
            <a:spAutoFit/>
          </a:bodyPr>
          <a:lstStyle>
            <a:lvl1pPr algn="l">
              <a:lnSpc>
                <a:spcPct val="80000"/>
              </a:lnSpc>
              <a:defRPr sz="7000" b="0" i="0" spc="0" baseline="0">
                <a:solidFill>
                  <a:schemeClr val="bg1"/>
                </a:solidFill>
                <a:latin typeface="+mj-lt"/>
              </a:defRPr>
            </a:lvl1pPr>
          </a:lstStyle>
          <a:p>
            <a:r>
              <a:rPr lang="zh-CN" altLang="en-US"/>
              <a:t>单击此处编辑母版标题样式</a:t>
            </a:r>
            <a:endParaRPr lang="en-GB"/>
          </a:p>
        </p:txBody>
      </p:sp>
      <p:sp>
        <p:nvSpPr>
          <p:cNvPr id="9" name="Subtitle 2">
            <a:extLst>
              <a:ext uri="{FF2B5EF4-FFF2-40B4-BE49-F238E27FC236}">
                <a16:creationId xmlns:a16="http://schemas.microsoft.com/office/drawing/2014/main" id="{565D7B25-1665-DB97-EC26-F653F638EABF}"/>
              </a:ext>
            </a:extLst>
          </p:cNvPr>
          <p:cNvSpPr>
            <a:spLocks noGrp="1"/>
          </p:cNvSpPr>
          <p:nvPr>
            <p:ph type="subTitle" idx="1" hasCustomPrompt="1"/>
          </p:nvPr>
        </p:nvSpPr>
        <p:spPr>
          <a:xfrm>
            <a:off x="6165850" y="5892920"/>
            <a:ext cx="2795587" cy="717180"/>
          </a:xfrm>
        </p:spPr>
        <p:txBody>
          <a:bodyPr anchor="b"/>
          <a:lstStyle>
            <a:lvl1pPr marL="0" indent="0" algn="l">
              <a:lnSpc>
                <a:spcPct val="100000"/>
              </a:lnSpc>
              <a:spcBef>
                <a:spcPts val="0"/>
              </a:spcBef>
              <a:spcAft>
                <a:spcPts val="0"/>
              </a:spcAft>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pporting details – delete if not required</a:t>
            </a:r>
          </a:p>
        </p:txBody>
      </p:sp>
      <p:sp>
        <p:nvSpPr>
          <p:cNvPr id="3" name="Footer Placeholder 4">
            <a:extLst>
              <a:ext uri="{FF2B5EF4-FFF2-40B4-BE49-F238E27FC236}">
                <a16:creationId xmlns:a16="http://schemas.microsoft.com/office/drawing/2014/main" id="{1B7393A2-96C5-C7B1-994C-693B4ADADD97}"/>
              </a:ext>
            </a:extLst>
          </p:cNvPr>
          <p:cNvSpPr txBox="1">
            <a:spLocks/>
          </p:cNvSpPr>
          <p:nvPr/>
        </p:nvSpPr>
        <p:spPr>
          <a:xfrm>
            <a:off x="9772073" y="6424023"/>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0" i="0" kern="1200">
                <a:solidFill>
                  <a:schemeClr val="bg1"/>
                </a:solidFill>
                <a:latin typeface="+mn-lt"/>
                <a:ea typeface="+mn-ea"/>
                <a:cs typeface="+mn-cs"/>
              </a:rPr>
              <a:t>HEALTH CARE COMPLIANCE</a:t>
            </a:r>
          </a:p>
        </p:txBody>
      </p:sp>
    </p:spTree>
    <p:extLst>
      <p:ext uri="{BB962C8B-B14F-4D97-AF65-F5344CB8AC3E}">
        <p14:creationId xmlns:p14="http://schemas.microsoft.com/office/powerpoint/2010/main" val="2052251912"/>
      </p:ext>
    </p:extLst>
  </p:cSld>
  <p:clrMapOvr>
    <a:masterClrMapping/>
  </p:clrMapOvr>
  <p:hf hdr="0" dt="0"/>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Title Slide 2 with Imag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F71E3-AC39-2207-0CC4-1E2486610795}"/>
              </a:ext>
            </a:extLst>
          </p:cNvPr>
          <p:cNvSpPr>
            <a:spLocks noGrp="1"/>
          </p:cNvSpPr>
          <p:nvPr>
            <p:ph type="ctrTitle"/>
          </p:nvPr>
        </p:nvSpPr>
        <p:spPr>
          <a:xfrm>
            <a:off x="285980" y="266955"/>
            <a:ext cx="5734050" cy="2585323"/>
          </a:xfrm>
        </p:spPr>
        <p:txBody>
          <a:bodyPr wrap="square" anchor="t">
            <a:spAutoFit/>
          </a:bodyPr>
          <a:lstStyle>
            <a:lvl1pPr algn="l">
              <a:lnSpc>
                <a:spcPct val="80000"/>
              </a:lnSpc>
              <a:defRPr sz="7000" b="0" i="0" spc="0" baseline="0">
                <a:solidFill>
                  <a:schemeClr val="bg1"/>
                </a:solidFill>
                <a:latin typeface="+mj-lt"/>
              </a:defRPr>
            </a:lvl1pPr>
          </a:lstStyle>
          <a:p>
            <a:r>
              <a:rPr lang="zh-CN" altLang="en-US"/>
              <a:t>单击此处编辑母版标题样式</a:t>
            </a:r>
            <a:endParaRPr lang="en-GB"/>
          </a:p>
        </p:txBody>
      </p:sp>
      <p:sp>
        <p:nvSpPr>
          <p:cNvPr id="4" name="Picture Placeholder 3">
            <a:extLst>
              <a:ext uri="{FF2B5EF4-FFF2-40B4-BE49-F238E27FC236}">
                <a16:creationId xmlns:a16="http://schemas.microsoft.com/office/drawing/2014/main" id="{9E083875-577D-C85F-0FB1-123AA06C12E5}"/>
              </a:ext>
            </a:extLst>
          </p:cNvPr>
          <p:cNvSpPr>
            <a:spLocks noGrp="1"/>
          </p:cNvSpPr>
          <p:nvPr>
            <p:ph type="pic" sz="quarter" idx="11" hasCustomPrompt="1"/>
          </p:nvPr>
        </p:nvSpPr>
        <p:spPr>
          <a:xfrm>
            <a:off x="6562381" y="0"/>
            <a:ext cx="5629619" cy="6858000"/>
          </a:xfrm>
          <a:solidFill>
            <a:srgbClr val="F6F3F2"/>
          </a:solidFill>
        </p:spPr>
        <p:txBody>
          <a:bodyPr/>
          <a:lstStyle>
            <a:lvl1pPr>
              <a:defRPr lang="en-US"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5" name="Graphic 2">
            <a:extLst>
              <a:ext uri="{FF2B5EF4-FFF2-40B4-BE49-F238E27FC236}">
                <a16:creationId xmlns:a16="http://schemas.microsoft.com/office/drawing/2014/main" id="{2F7807F1-53C0-9778-02CC-E8554C5CE97D}"/>
              </a:ext>
            </a:extLst>
          </p:cNvPr>
          <p:cNvSpPr>
            <a:spLocks noChangeAspect="1"/>
          </p:cNvSpPr>
          <p:nvPr/>
        </p:nvSpPr>
        <p:spPr>
          <a:xfrm>
            <a:off x="290513" y="6377853"/>
            <a:ext cx="2034000" cy="187309"/>
          </a:xfrm>
          <a:custGeom>
            <a:avLst/>
            <a:gdLst>
              <a:gd name="connsiteX0" fmla="*/ 542692 w 5487431"/>
              <a:gd name="connsiteY0" fmla="*/ 463149 h 505330"/>
              <a:gd name="connsiteX1" fmla="*/ 458967 w 5487431"/>
              <a:gd name="connsiteY1" fmla="*/ 321634 h 505330"/>
              <a:gd name="connsiteX2" fmla="*/ 542692 w 5487431"/>
              <a:gd name="connsiteY2" fmla="*/ 180119 h 505330"/>
              <a:gd name="connsiteX3" fmla="*/ 626417 w 5487431"/>
              <a:gd name="connsiteY3" fmla="*/ 321634 h 505330"/>
              <a:gd name="connsiteX4" fmla="*/ 542692 w 5487431"/>
              <a:gd name="connsiteY4" fmla="*/ 463149 h 505330"/>
              <a:gd name="connsiteX5" fmla="*/ 542692 w 5487431"/>
              <a:gd name="connsiteY5" fmla="*/ 142174 h 505330"/>
              <a:gd name="connsiteX6" fmla="*/ 372482 w 5487431"/>
              <a:gd name="connsiteY6" fmla="*/ 321634 h 505330"/>
              <a:gd name="connsiteX7" fmla="*/ 542692 w 5487431"/>
              <a:gd name="connsiteY7" fmla="*/ 501094 h 505330"/>
              <a:gd name="connsiteX8" fmla="*/ 712902 w 5487431"/>
              <a:gd name="connsiteY8" fmla="*/ 321634 h 505330"/>
              <a:gd name="connsiteX9" fmla="*/ 542692 w 5487431"/>
              <a:gd name="connsiteY9" fmla="*/ 142174 h 505330"/>
              <a:gd name="connsiteX10" fmla="*/ 1303641 w 5487431"/>
              <a:gd name="connsiteY10" fmla="*/ 142174 h 505330"/>
              <a:gd name="connsiteX11" fmla="*/ 1207357 w 5487431"/>
              <a:gd name="connsiteY11" fmla="*/ 192547 h 505330"/>
              <a:gd name="connsiteX12" fmla="*/ 1203170 w 5487431"/>
              <a:gd name="connsiteY12" fmla="*/ 192547 h 505330"/>
              <a:gd name="connsiteX13" fmla="*/ 1203170 w 5487431"/>
              <a:gd name="connsiteY13" fmla="*/ 149048 h 505330"/>
              <a:gd name="connsiteX14" fmla="*/ 1120872 w 5487431"/>
              <a:gd name="connsiteY14" fmla="*/ 149048 h 505330"/>
              <a:gd name="connsiteX15" fmla="*/ 1120872 w 5487431"/>
              <a:gd name="connsiteY15" fmla="*/ 494221 h 505330"/>
              <a:gd name="connsiteX16" fmla="*/ 1203170 w 5487431"/>
              <a:gd name="connsiteY16" fmla="*/ 494221 h 505330"/>
              <a:gd name="connsiteX17" fmla="*/ 1203170 w 5487431"/>
              <a:gd name="connsiteY17" fmla="*/ 271261 h 505330"/>
              <a:gd name="connsiteX18" fmla="*/ 1272244 w 5487431"/>
              <a:gd name="connsiteY18" fmla="*/ 190476 h 505330"/>
              <a:gd name="connsiteX19" fmla="*/ 1331518 w 5487431"/>
              <a:gd name="connsiteY19" fmla="*/ 258173 h 505330"/>
              <a:gd name="connsiteX20" fmla="*/ 1331518 w 5487431"/>
              <a:gd name="connsiteY20" fmla="*/ 494221 h 505330"/>
              <a:gd name="connsiteX21" fmla="*/ 1413816 w 5487431"/>
              <a:gd name="connsiteY21" fmla="*/ 494221 h 505330"/>
              <a:gd name="connsiteX22" fmla="*/ 1413816 w 5487431"/>
              <a:gd name="connsiteY22" fmla="*/ 257420 h 505330"/>
              <a:gd name="connsiteX23" fmla="*/ 1303641 w 5487431"/>
              <a:gd name="connsiteY23" fmla="*/ 142174 h 505330"/>
              <a:gd name="connsiteX24" fmla="*/ 1600771 w 5487431"/>
              <a:gd name="connsiteY24" fmla="*/ 142174 h 505330"/>
              <a:gd name="connsiteX25" fmla="*/ 1467571 w 5487431"/>
              <a:gd name="connsiteY25" fmla="*/ 241602 h 505330"/>
              <a:gd name="connsiteX26" fmla="*/ 1551962 w 5487431"/>
              <a:gd name="connsiteY26" fmla="*/ 341030 h 505330"/>
              <a:gd name="connsiteX27" fmla="*/ 1621702 w 5487431"/>
              <a:gd name="connsiteY27" fmla="*/ 358260 h 505330"/>
              <a:gd name="connsiteX28" fmla="*/ 1675457 w 5487431"/>
              <a:gd name="connsiteY28" fmla="*/ 409387 h 505330"/>
              <a:gd name="connsiteX29" fmla="*/ 1606384 w 5487431"/>
              <a:gd name="connsiteY29" fmla="*/ 464656 h 505330"/>
              <a:gd name="connsiteX30" fmla="*/ 1526845 w 5487431"/>
              <a:gd name="connsiteY30" fmla="*/ 384624 h 505330"/>
              <a:gd name="connsiteX31" fmla="*/ 1452919 w 5487431"/>
              <a:gd name="connsiteY31" fmla="*/ 405338 h 505330"/>
              <a:gd name="connsiteX32" fmla="*/ 1597345 w 5487431"/>
              <a:gd name="connsiteY32" fmla="*/ 501282 h 505330"/>
              <a:gd name="connsiteX33" fmla="*/ 1742438 w 5487431"/>
              <a:gd name="connsiteY33" fmla="*/ 388767 h 505330"/>
              <a:gd name="connsiteX34" fmla="*/ 1649674 w 5487431"/>
              <a:gd name="connsiteY34" fmla="*/ 285196 h 505330"/>
              <a:gd name="connsiteX35" fmla="*/ 1582693 w 5487431"/>
              <a:gd name="connsiteY35" fmla="*/ 268625 h 505330"/>
              <a:gd name="connsiteX36" fmla="*/ 1534551 w 5487431"/>
              <a:gd name="connsiteY36" fmla="*/ 223054 h 505330"/>
              <a:gd name="connsiteX37" fmla="*/ 1593825 w 5487431"/>
              <a:gd name="connsiteY37" fmla="*/ 178895 h 505330"/>
              <a:gd name="connsiteX38" fmla="*/ 1664992 w 5487431"/>
              <a:gd name="connsiteY38" fmla="*/ 245180 h 505330"/>
              <a:gd name="connsiteX39" fmla="*/ 1734731 w 5487431"/>
              <a:gd name="connsiteY39" fmla="*/ 224466 h 505330"/>
              <a:gd name="connsiteX40" fmla="*/ 1600771 w 5487431"/>
              <a:gd name="connsiteY40" fmla="*/ 142174 h 505330"/>
              <a:gd name="connsiteX41" fmla="*/ 1946803 w 5487431"/>
              <a:gd name="connsiteY41" fmla="*/ 463149 h 505330"/>
              <a:gd name="connsiteX42" fmla="*/ 1863078 w 5487431"/>
              <a:gd name="connsiteY42" fmla="*/ 321634 h 505330"/>
              <a:gd name="connsiteX43" fmla="*/ 1946803 w 5487431"/>
              <a:gd name="connsiteY43" fmla="*/ 180119 h 505330"/>
              <a:gd name="connsiteX44" fmla="*/ 2030529 w 5487431"/>
              <a:gd name="connsiteY44" fmla="*/ 321634 h 505330"/>
              <a:gd name="connsiteX45" fmla="*/ 1946803 w 5487431"/>
              <a:gd name="connsiteY45" fmla="*/ 463149 h 505330"/>
              <a:gd name="connsiteX46" fmla="*/ 1946803 w 5487431"/>
              <a:gd name="connsiteY46" fmla="*/ 142174 h 505330"/>
              <a:gd name="connsiteX47" fmla="*/ 1776594 w 5487431"/>
              <a:gd name="connsiteY47" fmla="*/ 321634 h 505330"/>
              <a:gd name="connsiteX48" fmla="*/ 1946803 w 5487431"/>
              <a:gd name="connsiteY48" fmla="*/ 501094 h 505330"/>
              <a:gd name="connsiteX49" fmla="*/ 2117013 w 5487431"/>
              <a:gd name="connsiteY49" fmla="*/ 321634 h 505330"/>
              <a:gd name="connsiteX50" fmla="*/ 1946803 w 5487431"/>
              <a:gd name="connsiteY50" fmla="*/ 142174 h 505330"/>
              <a:gd name="connsiteX51" fmla="*/ 2348590 w 5487431"/>
              <a:gd name="connsiteY51" fmla="*/ 142174 h 505330"/>
              <a:gd name="connsiteX52" fmla="*/ 2252306 w 5487431"/>
              <a:gd name="connsiteY52" fmla="*/ 192547 h 505330"/>
              <a:gd name="connsiteX53" fmla="*/ 2248119 w 5487431"/>
              <a:gd name="connsiteY53" fmla="*/ 192547 h 505330"/>
              <a:gd name="connsiteX54" fmla="*/ 2248119 w 5487431"/>
              <a:gd name="connsiteY54" fmla="*/ 149048 h 505330"/>
              <a:gd name="connsiteX55" fmla="*/ 2165821 w 5487431"/>
              <a:gd name="connsiteY55" fmla="*/ 149048 h 505330"/>
              <a:gd name="connsiteX56" fmla="*/ 2165821 w 5487431"/>
              <a:gd name="connsiteY56" fmla="*/ 494221 h 505330"/>
              <a:gd name="connsiteX57" fmla="*/ 2248119 w 5487431"/>
              <a:gd name="connsiteY57" fmla="*/ 494221 h 505330"/>
              <a:gd name="connsiteX58" fmla="*/ 2248119 w 5487431"/>
              <a:gd name="connsiteY58" fmla="*/ 271261 h 505330"/>
              <a:gd name="connsiteX59" fmla="*/ 2317193 w 5487431"/>
              <a:gd name="connsiteY59" fmla="*/ 190476 h 505330"/>
              <a:gd name="connsiteX60" fmla="*/ 2376466 w 5487431"/>
              <a:gd name="connsiteY60" fmla="*/ 258173 h 505330"/>
              <a:gd name="connsiteX61" fmla="*/ 2376466 w 5487431"/>
              <a:gd name="connsiteY61" fmla="*/ 494221 h 505330"/>
              <a:gd name="connsiteX62" fmla="*/ 2458764 w 5487431"/>
              <a:gd name="connsiteY62" fmla="*/ 494221 h 505330"/>
              <a:gd name="connsiteX63" fmla="*/ 2458764 w 5487431"/>
              <a:gd name="connsiteY63" fmla="*/ 257420 h 505330"/>
              <a:gd name="connsiteX64" fmla="*/ 2348590 w 5487431"/>
              <a:gd name="connsiteY64" fmla="*/ 142174 h 505330"/>
              <a:gd name="connsiteX65" fmla="*/ 3571359 w 5487431"/>
              <a:gd name="connsiteY65" fmla="*/ 463149 h 505330"/>
              <a:gd name="connsiteX66" fmla="*/ 3487634 w 5487431"/>
              <a:gd name="connsiteY66" fmla="*/ 321634 h 505330"/>
              <a:gd name="connsiteX67" fmla="*/ 3571359 w 5487431"/>
              <a:gd name="connsiteY67" fmla="*/ 180119 h 505330"/>
              <a:gd name="connsiteX68" fmla="*/ 3655085 w 5487431"/>
              <a:gd name="connsiteY68" fmla="*/ 321634 h 505330"/>
              <a:gd name="connsiteX69" fmla="*/ 3571359 w 5487431"/>
              <a:gd name="connsiteY69" fmla="*/ 463149 h 505330"/>
              <a:gd name="connsiteX70" fmla="*/ 3571359 w 5487431"/>
              <a:gd name="connsiteY70" fmla="*/ 142174 h 505330"/>
              <a:gd name="connsiteX71" fmla="*/ 3401150 w 5487431"/>
              <a:gd name="connsiteY71" fmla="*/ 321634 h 505330"/>
              <a:gd name="connsiteX72" fmla="*/ 3571359 w 5487431"/>
              <a:gd name="connsiteY72" fmla="*/ 501094 h 505330"/>
              <a:gd name="connsiteX73" fmla="*/ 3741569 w 5487431"/>
              <a:gd name="connsiteY73" fmla="*/ 321634 h 505330"/>
              <a:gd name="connsiteX74" fmla="*/ 3571359 w 5487431"/>
              <a:gd name="connsiteY74" fmla="*/ 142174 h 505330"/>
              <a:gd name="connsiteX75" fmla="*/ 4332308 w 5487431"/>
              <a:gd name="connsiteY75" fmla="*/ 142174 h 505330"/>
              <a:gd name="connsiteX76" fmla="*/ 4236024 w 5487431"/>
              <a:gd name="connsiteY76" fmla="*/ 192547 h 505330"/>
              <a:gd name="connsiteX77" fmla="*/ 4231838 w 5487431"/>
              <a:gd name="connsiteY77" fmla="*/ 192547 h 505330"/>
              <a:gd name="connsiteX78" fmla="*/ 4231838 w 5487431"/>
              <a:gd name="connsiteY78" fmla="*/ 149048 h 505330"/>
              <a:gd name="connsiteX79" fmla="*/ 4149539 w 5487431"/>
              <a:gd name="connsiteY79" fmla="*/ 149048 h 505330"/>
              <a:gd name="connsiteX80" fmla="*/ 4149539 w 5487431"/>
              <a:gd name="connsiteY80" fmla="*/ 494221 h 505330"/>
              <a:gd name="connsiteX81" fmla="*/ 4231838 w 5487431"/>
              <a:gd name="connsiteY81" fmla="*/ 494221 h 505330"/>
              <a:gd name="connsiteX82" fmla="*/ 4231838 w 5487431"/>
              <a:gd name="connsiteY82" fmla="*/ 271261 h 505330"/>
              <a:gd name="connsiteX83" fmla="*/ 4300911 w 5487431"/>
              <a:gd name="connsiteY83" fmla="*/ 190476 h 505330"/>
              <a:gd name="connsiteX84" fmla="*/ 4360185 w 5487431"/>
              <a:gd name="connsiteY84" fmla="*/ 258173 h 505330"/>
              <a:gd name="connsiteX85" fmla="*/ 4360185 w 5487431"/>
              <a:gd name="connsiteY85" fmla="*/ 494221 h 505330"/>
              <a:gd name="connsiteX86" fmla="*/ 4442483 w 5487431"/>
              <a:gd name="connsiteY86" fmla="*/ 494221 h 505330"/>
              <a:gd name="connsiteX87" fmla="*/ 4442483 w 5487431"/>
              <a:gd name="connsiteY87" fmla="*/ 257420 h 505330"/>
              <a:gd name="connsiteX88" fmla="*/ 4332308 w 5487431"/>
              <a:gd name="connsiteY88" fmla="*/ 142174 h 505330"/>
              <a:gd name="connsiteX89" fmla="*/ 4629533 w 5487431"/>
              <a:gd name="connsiteY89" fmla="*/ 142174 h 505330"/>
              <a:gd name="connsiteX90" fmla="*/ 4496334 w 5487431"/>
              <a:gd name="connsiteY90" fmla="*/ 241602 h 505330"/>
              <a:gd name="connsiteX91" fmla="*/ 4580725 w 5487431"/>
              <a:gd name="connsiteY91" fmla="*/ 341030 h 505330"/>
              <a:gd name="connsiteX92" fmla="*/ 4650464 w 5487431"/>
              <a:gd name="connsiteY92" fmla="*/ 358260 h 505330"/>
              <a:gd name="connsiteX93" fmla="*/ 4704220 w 5487431"/>
              <a:gd name="connsiteY93" fmla="*/ 409387 h 505330"/>
              <a:gd name="connsiteX94" fmla="*/ 4635146 w 5487431"/>
              <a:gd name="connsiteY94" fmla="*/ 464656 h 505330"/>
              <a:gd name="connsiteX95" fmla="*/ 4555607 w 5487431"/>
              <a:gd name="connsiteY95" fmla="*/ 384624 h 505330"/>
              <a:gd name="connsiteX96" fmla="*/ 4481682 w 5487431"/>
              <a:gd name="connsiteY96" fmla="*/ 405338 h 505330"/>
              <a:gd name="connsiteX97" fmla="*/ 4626108 w 5487431"/>
              <a:gd name="connsiteY97" fmla="*/ 501282 h 505330"/>
              <a:gd name="connsiteX98" fmla="*/ 4771200 w 5487431"/>
              <a:gd name="connsiteY98" fmla="*/ 388767 h 505330"/>
              <a:gd name="connsiteX99" fmla="*/ 4678436 w 5487431"/>
              <a:gd name="connsiteY99" fmla="*/ 285196 h 505330"/>
              <a:gd name="connsiteX100" fmla="*/ 4611456 w 5487431"/>
              <a:gd name="connsiteY100" fmla="*/ 268625 h 505330"/>
              <a:gd name="connsiteX101" fmla="*/ 4563314 w 5487431"/>
              <a:gd name="connsiteY101" fmla="*/ 223054 h 505330"/>
              <a:gd name="connsiteX102" fmla="*/ 4622588 w 5487431"/>
              <a:gd name="connsiteY102" fmla="*/ 178895 h 505330"/>
              <a:gd name="connsiteX103" fmla="*/ 4693754 w 5487431"/>
              <a:gd name="connsiteY103" fmla="*/ 245180 h 505330"/>
              <a:gd name="connsiteX104" fmla="*/ 4763493 w 5487431"/>
              <a:gd name="connsiteY104" fmla="*/ 224466 h 505330"/>
              <a:gd name="connsiteX105" fmla="*/ 4629533 w 5487431"/>
              <a:gd name="connsiteY105" fmla="*/ 142174 h 505330"/>
              <a:gd name="connsiteX106" fmla="*/ 4975471 w 5487431"/>
              <a:gd name="connsiteY106" fmla="*/ 463149 h 505330"/>
              <a:gd name="connsiteX107" fmla="*/ 4891745 w 5487431"/>
              <a:gd name="connsiteY107" fmla="*/ 321634 h 505330"/>
              <a:gd name="connsiteX108" fmla="*/ 4975471 w 5487431"/>
              <a:gd name="connsiteY108" fmla="*/ 180119 h 505330"/>
              <a:gd name="connsiteX109" fmla="*/ 5059196 w 5487431"/>
              <a:gd name="connsiteY109" fmla="*/ 321634 h 505330"/>
              <a:gd name="connsiteX110" fmla="*/ 4975471 w 5487431"/>
              <a:gd name="connsiteY110" fmla="*/ 463149 h 505330"/>
              <a:gd name="connsiteX111" fmla="*/ 4975471 w 5487431"/>
              <a:gd name="connsiteY111" fmla="*/ 142174 h 505330"/>
              <a:gd name="connsiteX112" fmla="*/ 4805261 w 5487431"/>
              <a:gd name="connsiteY112" fmla="*/ 321634 h 505330"/>
              <a:gd name="connsiteX113" fmla="*/ 4975471 w 5487431"/>
              <a:gd name="connsiteY113" fmla="*/ 501094 h 505330"/>
              <a:gd name="connsiteX114" fmla="*/ 5145680 w 5487431"/>
              <a:gd name="connsiteY114" fmla="*/ 321634 h 505330"/>
              <a:gd name="connsiteX115" fmla="*/ 4975471 w 5487431"/>
              <a:gd name="connsiteY115" fmla="*/ 142174 h 505330"/>
              <a:gd name="connsiteX116" fmla="*/ 5377257 w 5487431"/>
              <a:gd name="connsiteY116" fmla="*/ 142174 h 505330"/>
              <a:gd name="connsiteX117" fmla="*/ 5280973 w 5487431"/>
              <a:gd name="connsiteY117" fmla="*/ 192547 h 505330"/>
              <a:gd name="connsiteX118" fmla="*/ 5276787 w 5487431"/>
              <a:gd name="connsiteY118" fmla="*/ 192547 h 505330"/>
              <a:gd name="connsiteX119" fmla="*/ 5276787 w 5487431"/>
              <a:gd name="connsiteY119" fmla="*/ 149048 h 505330"/>
              <a:gd name="connsiteX120" fmla="*/ 5194488 w 5487431"/>
              <a:gd name="connsiteY120" fmla="*/ 149048 h 505330"/>
              <a:gd name="connsiteX121" fmla="*/ 5194488 w 5487431"/>
              <a:gd name="connsiteY121" fmla="*/ 494221 h 505330"/>
              <a:gd name="connsiteX122" fmla="*/ 5276787 w 5487431"/>
              <a:gd name="connsiteY122" fmla="*/ 494221 h 505330"/>
              <a:gd name="connsiteX123" fmla="*/ 5276787 w 5487431"/>
              <a:gd name="connsiteY123" fmla="*/ 271261 h 505330"/>
              <a:gd name="connsiteX124" fmla="*/ 5345860 w 5487431"/>
              <a:gd name="connsiteY124" fmla="*/ 190476 h 505330"/>
              <a:gd name="connsiteX125" fmla="*/ 5405134 w 5487431"/>
              <a:gd name="connsiteY125" fmla="*/ 258173 h 505330"/>
              <a:gd name="connsiteX126" fmla="*/ 5405134 w 5487431"/>
              <a:gd name="connsiteY126" fmla="*/ 494221 h 505330"/>
              <a:gd name="connsiteX127" fmla="*/ 5487432 w 5487431"/>
              <a:gd name="connsiteY127" fmla="*/ 494221 h 505330"/>
              <a:gd name="connsiteX128" fmla="*/ 5487432 w 5487431"/>
              <a:gd name="connsiteY128" fmla="*/ 257420 h 505330"/>
              <a:gd name="connsiteX129" fmla="*/ 5377257 w 5487431"/>
              <a:gd name="connsiteY129" fmla="*/ 142174 h 505330"/>
              <a:gd name="connsiteX130" fmla="*/ 323674 w 5487431"/>
              <a:gd name="connsiteY130" fmla="*/ 11016 h 505330"/>
              <a:gd name="connsiteX131" fmla="*/ 237190 w 5487431"/>
              <a:gd name="connsiteY131" fmla="*/ 11016 h 505330"/>
              <a:gd name="connsiteX132" fmla="*/ 237190 w 5487431"/>
              <a:gd name="connsiteY132" fmla="*/ 367864 h 505330"/>
              <a:gd name="connsiteX133" fmla="*/ 161837 w 5487431"/>
              <a:gd name="connsiteY133" fmla="*/ 460325 h 505330"/>
              <a:gd name="connsiteX134" fmla="*/ 86484 w 5487431"/>
              <a:gd name="connsiteY134" fmla="*/ 360897 h 505330"/>
              <a:gd name="connsiteX135" fmla="*/ 86484 w 5487431"/>
              <a:gd name="connsiteY135" fmla="*/ 294612 h 505330"/>
              <a:gd name="connsiteX136" fmla="*/ 0 w 5487431"/>
              <a:gd name="connsiteY136" fmla="*/ 315985 h 505330"/>
              <a:gd name="connsiteX137" fmla="*/ 0 w 5487431"/>
              <a:gd name="connsiteY137" fmla="*/ 345644 h 505330"/>
              <a:gd name="connsiteX138" fmla="*/ 161837 w 5487431"/>
              <a:gd name="connsiteY138" fmla="*/ 505143 h 505330"/>
              <a:gd name="connsiteX139" fmla="*/ 323674 w 5487431"/>
              <a:gd name="connsiteY139" fmla="*/ 345644 h 505330"/>
              <a:gd name="connsiteX140" fmla="*/ 323674 w 5487431"/>
              <a:gd name="connsiteY140" fmla="*/ 11016 h 505330"/>
              <a:gd name="connsiteX141" fmla="*/ 844008 w 5487431"/>
              <a:gd name="connsiteY141" fmla="*/ 11016 h 505330"/>
              <a:gd name="connsiteX142" fmla="*/ 761710 w 5487431"/>
              <a:gd name="connsiteY142" fmla="*/ 11016 h 505330"/>
              <a:gd name="connsiteX143" fmla="*/ 761710 w 5487431"/>
              <a:gd name="connsiteY143" fmla="*/ 494221 h 505330"/>
              <a:gd name="connsiteX144" fmla="*/ 844008 w 5487431"/>
              <a:gd name="connsiteY144" fmla="*/ 494221 h 505330"/>
              <a:gd name="connsiteX145" fmla="*/ 844008 w 5487431"/>
              <a:gd name="connsiteY145" fmla="*/ 271261 h 505330"/>
              <a:gd name="connsiteX146" fmla="*/ 913081 w 5487431"/>
              <a:gd name="connsiteY146" fmla="*/ 190476 h 505330"/>
              <a:gd name="connsiteX147" fmla="*/ 972355 w 5487431"/>
              <a:gd name="connsiteY147" fmla="*/ 258173 h 505330"/>
              <a:gd name="connsiteX148" fmla="*/ 972355 w 5487431"/>
              <a:gd name="connsiteY148" fmla="*/ 494221 h 505330"/>
              <a:gd name="connsiteX149" fmla="*/ 1054653 w 5487431"/>
              <a:gd name="connsiteY149" fmla="*/ 494221 h 505330"/>
              <a:gd name="connsiteX150" fmla="*/ 1054653 w 5487431"/>
              <a:gd name="connsiteY150" fmla="*/ 257420 h 505330"/>
              <a:gd name="connsiteX151" fmla="*/ 944478 w 5487431"/>
              <a:gd name="connsiteY151" fmla="*/ 142174 h 505330"/>
              <a:gd name="connsiteX152" fmla="*/ 848194 w 5487431"/>
              <a:gd name="connsiteY152" fmla="*/ 192547 h 505330"/>
              <a:gd name="connsiteX153" fmla="*/ 844008 w 5487431"/>
              <a:gd name="connsiteY153" fmla="*/ 192547 h 505330"/>
              <a:gd name="connsiteX154" fmla="*/ 844008 w 5487431"/>
              <a:gd name="connsiteY154" fmla="*/ 11016 h 505330"/>
              <a:gd name="connsiteX155" fmla="*/ 3352342 w 5487431"/>
              <a:gd name="connsiteY155" fmla="*/ 11016 h 505330"/>
              <a:gd name="connsiteX156" fmla="*/ 3265857 w 5487431"/>
              <a:gd name="connsiteY156" fmla="*/ 11016 h 505330"/>
              <a:gd name="connsiteX157" fmla="*/ 3265857 w 5487431"/>
              <a:gd name="connsiteY157" fmla="*/ 367864 h 505330"/>
              <a:gd name="connsiteX158" fmla="*/ 3190504 w 5487431"/>
              <a:gd name="connsiteY158" fmla="*/ 460325 h 505330"/>
              <a:gd name="connsiteX159" fmla="*/ 3115152 w 5487431"/>
              <a:gd name="connsiteY159" fmla="*/ 360897 h 505330"/>
              <a:gd name="connsiteX160" fmla="*/ 3115152 w 5487431"/>
              <a:gd name="connsiteY160" fmla="*/ 294612 h 505330"/>
              <a:gd name="connsiteX161" fmla="*/ 3028667 w 5487431"/>
              <a:gd name="connsiteY161" fmla="*/ 315985 h 505330"/>
              <a:gd name="connsiteX162" fmla="*/ 3028667 w 5487431"/>
              <a:gd name="connsiteY162" fmla="*/ 345644 h 505330"/>
              <a:gd name="connsiteX163" fmla="*/ 3190504 w 5487431"/>
              <a:gd name="connsiteY163" fmla="*/ 505143 h 505330"/>
              <a:gd name="connsiteX164" fmla="*/ 3352342 w 5487431"/>
              <a:gd name="connsiteY164" fmla="*/ 345644 h 505330"/>
              <a:gd name="connsiteX165" fmla="*/ 3352342 w 5487431"/>
              <a:gd name="connsiteY165" fmla="*/ 11016 h 505330"/>
              <a:gd name="connsiteX166" fmla="*/ 3872675 w 5487431"/>
              <a:gd name="connsiteY166" fmla="*/ 11016 h 505330"/>
              <a:gd name="connsiteX167" fmla="*/ 3790377 w 5487431"/>
              <a:gd name="connsiteY167" fmla="*/ 11016 h 505330"/>
              <a:gd name="connsiteX168" fmla="*/ 3790377 w 5487431"/>
              <a:gd name="connsiteY168" fmla="*/ 494221 h 505330"/>
              <a:gd name="connsiteX169" fmla="*/ 3872675 w 5487431"/>
              <a:gd name="connsiteY169" fmla="*/ 494221 h 505330"/>
              <a:gd name="connsiteX170" fmla="*/ 3872675 w 5487431"/>
              <a:gd name="connsiteY170" fmla="*/ 271261 h 505330"/>
              <a:gd name="connsiteX171" fmla="*/ 3941749 w 5487431"/>
              <a:gd name="connsiteY171" fmla="*/ 190476 h 505330"/>
              <a:gd name="connsiteX172" fmla="*/ 4001022 w 5487431"/>
              <a:gd name="connsiteY172" fmla="*/ 258173 h 505330"/>
              <a:gd name="connsiteX173" fmla="*/ 4001022 w 5487431"/>
              <a:gd name="connsiteY173" fmla="*/ 494221 h 505330"/>
              <a:gd name="connsiteX174" fmla="*/ 4083320 w 5487431"/>
              <a:gd name="connsiteY174" fmla="*/ 494221 h 505330"/>
              <a:gd name="connsiteX175" fmla="*/ 4083320 w 5487431"/>
              <a:gd name="connsiteY175" fmla="*/ 257420 h 505330"/>
              <a:gd name="connsiteX176" fmla="*/ 3973146 w 5487431"/>
              <a:gd name="connsiteY176" fmla="*/ 142174 h 505330"/>
              <a:gd name="connsiteX177" fmla="*/ 3876861 w 5487431"/>
              <a:gd name="connsiteY177" fmla="*/ 192547 h 505330"/>
              <a:gd name="connsiteX178" fmla="*/ 3872675 w 5487431"/>
              <a:gd name="connsiteY178" fmla="*/ 192547 h 505330"/>
              <a:gd name="connsiteX179" fmla="*/ 3872675 w 5487431"/>
              <a:gd name="connsiteY179" fmla="*/ 11016 h 505330"/>
              <a:gd name="connsiteX180" fmla="*/ 2730110 w 5487431"/>
              <a:gd name="connsiteY180" fmla="*/ 454864 h 505330"/>
              <a:gd name="connsiteX181" fmla="*/ 2622029 w 5487431"/>
              <a:gd name="connsiteY181" fmla="*/ 343761 h 505330"/>
              <a:gd name="connsiteX182" fmla="*/ 2664557 w 5487431"/>
              <a:gd name="connsiteY182" fmla="*/ 256102 h 505330"/>
              <a:gd name="connsiteX183" fmla="*/ 2822208 w 5487431"/>
              <a:gd name="connsiteY183" fmla="*/ 426617 h 505330"/>
              <a:gd name="connsiteX184" fmla="*/ 2730110 w 5487431"/>
              <a:gd name="connsiteY184" fmla="*/ 454864 h 505330"/>
              <a:gd name="connsiteX185" fmla="*/ 2883575 w 5487431"/>
              <a:gd name="connsiteY185" fmla="*/ 369936 h 505330"/>
              <a:gd name="connsiteX186" fmla="*/ 2746856 w 5487431"/>
              <a:gd name="connsiteY186" fmla="*/ 220794 h 505330"/>
              <a:gd name="connsiteX187" fmla="*/ 2814502 w 5487431"/>
              <a:gd name="connsiteY187" fmla="*/ 207706 h 505330"/>
              <a:gd name="connsiteX188" fmla="*/ 2905838 w 5487431"/>
              <a:gd name="connsiteY188" fmla="*/ 296118 h 505330"/>
              <a:gd name="connsiteX189" fmla="*/ 2883575 w 5487431"/>
              <a:gd name="connsiteY189" fmla="*/ 369936 h 505330"/>
              <a:gd name="connsiteX190" fmla="*/ 2728017 w 5487431"/>
              <a:gd name="connsiteY190" fmla="*/ 200833 h 505330"/>
              <a:gd name="connsiteX191" fmla="*/ 2698047 w 5487431"/>
              <a:gd name="connsiteY191" fmla="*/ 167690 h 505330"/>
              <a:gd name="connsiteX192" fmla="*/ 2663891 w 5487431"/>
              <a:gd name="connsiteY192" fmla="*/ 99334 h 505330"/>
              <a:gd name="connsiteX193" fmla="*/ 2730110 w 5487431"/>
              <a:gd name="connsiteY193" fmla="*/ 36532 h 505330"/>
              <a:gd name="connsiteX194" fmla="*/ 2795664 w 5487431"/>
              <a:gd name="connsiteY194" fmla="*/ 102817 h 505330"/>
              <a:gd name="connsiteX195" fmla="*/ 2728017 w 5487431"/>
              <a:gd name="connsiteY195" fmla="*/ 200833 h 505330"/>
              <a:gd name="connsiteX196" fmla="*/ 2732204 w 5487431"/>
              <a:gd name="connsiteY196" fmla="*/ 0 h 505330"/>
              <a:gd name="connsiteX197" fmla="*/ 2588539 w 5487431"/>
              <a:gd name="connsiteY197" fmla="*/ 119389 h 505330"/>
              <a:gd name="connsiteX198" fmla="*/ 2644387 w 5487431"/>
              <a:gd name="connsiteY198" fmla="*/ 234635 h 505330"/>
              <a:gd name="connsiteX199" fmla="*/ 2645053 w 5487431"/>
              <a:gd name="connsiteY199" fmla="*/ 236047 h 505330"/>
              <a:gd name="connsiteX200" fmla="*/ 2545344 w 5487431"/>
              <a:gd name="connsiteY200" fmla="*/ 374832 h 505330"/>
              <a:gd name="connsiteX201" fmla="*/ 2685584 w 5487431"/>
              <a:gd name="connsiteY201" fmla="*/ 505331 h 505330"/>
              <a:gd name="connsiteX202" fmla="*/ 2843235 w 5487431"/>
              <a:gd name="connsiteY202" fmla="*/ 449403 h 505330"/>
              <a:gd name="connsiteX203" fmla="*/ 2885097 w 5487431"/>
              <a:gd name="connsiteY203" fmla="*/ 494315 h 505330"/>
              <a:gd name="connsiteX204" fmla="*/ 2994606 w 5487431"/>
              <a:gd name="connsiteY204" fmla="*/ 494315 h 505330"/>
              <a:gd name="connsiteX205" fmla="*/ 2994606 w 5487431"/>
              <a:gd name="connsiteY205" fmla="*/ 490831 h 505330"/>
              <a:gd name="connsiteX206" fmla="*/ 2905363 w 5487431"/>
              <a:gd name="connsiteY206" fmla="*/ 393474 h 505330"/>
              <a:gd name="connsiteX207" fmla="*/ 2964637 w 5487431"/>
              <a:gd name="connsiteY207" fmla="*/ 258833 h 505330"/>
              <a:gd name="connsiteX208" fmla="*/ 2873300 w 5487431"/>
              <a:gd name="connsiteY208" fmla="*/ 171174 h 505330"/>
              <a:gd name="connsiteX209" fmla="*/ 2789574 w 5487431"/>
              <a:gd name="connsiteY209" fmla="*/ 187745 h 505330"/>
              <a:gd name="connsiteX210" fmla="*/ 2788147 w 5487431"/>
              <a:gd name="connsiteY210" fmla="*/ 185015 h 505330"/>
              <a:gd name="connsiteX211" fmla="*/ 2863500 w 5487431"/>
              <a:gd name="connsiteY211" fmla="*/ 93873 h 505330"/>
              <a:gd name="connsiteX212" fmla="*/ 2732204 w 5487431"/>
              <a:gd name="connsiteY212" fmla="*/ 0 h 50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5487431" h="505330">
                <a:moveTo>
                  <a:pt x="542692" y="463149"/>
                </a:moveTo>
                <a:cubicBezTo>
                  <a:pt x="488937" y="463149"/>
                  <a:pt x="458967" y="412776"/>
                  <a:pt x="458967" y="321634"/>
                </a:cubicBezTo>
                <a:cubicBezTo>
                  <a:pt x="458967" y="229080"/>
                  <a:pt x="488937" y="180119"/>
                  <a:pt x="542692" y="180119"/>
                </a:cubicBezTo>
                <a:cubicBezTo>
                  <a:pt x="596448" y="180119"/>
                  <a:pt x="626417" y="229833"/>
                  <a:pt x="626417" y="321634"/>
                </a:cubicBezTo>
                <a:cubicBezTo>
                  <a:pt x="626322" y="414189"/>
                  <a:pt x="596352" y="463149"/>
                  <a:pt x="542692" y="463149"/>
                </a:cubicBezTo>
                <a:moveTo>
                  <a:pt x="542692" y="142174"/>
                </a:moveTo>
                <a:cubicBezTo>
                  <a:pt x="433183" y="142174"/>
                  <a:pt x="372482" y="222959"/>
                  <a:pt x="372482" y="321634"/>
                </a:cubicBezTo>
                <a:cubicBezTo>
                  <a:pt x="372482" y="420309"/>
                  <a:pt x="433183" y="501094"/>
                  <a:pt x="542692" y="501094"/>
                </a:cubicBezTo>
                <a:cubicBezTo>
                  <a:pt x="652201" y="501094"/>
                  <a:pt x="712902" y="420309"/>
                  <a:pt x="712902" y="321634"/>
                </a:cubicBezTo>
                <a:cubicBezTo>
                  <a:pt x="712902" y="222959"/>
                  <a:pt x="652201" y="142174"/>
                  <a:pt x="542692" y="142174"/>
                </a:cubicBezTo>
                <a:moveTo>
                  <a:pt x="1303641" y="142174"/>
                </a:moveTo>
                <a:cubicBezTo>
                  <a:pt x="1251979" y="142174"/>
                  <a:pt x="1223436" y="164301"/>
                  <a:pt x="1207357" y="192547"/>
                </a:cubicBezTo>
                <a:lnTo>
                  <a:pt x="1203170" y="192547"/>
                </a:lnTo>
                <a:lnTo>
                  <a:pt x="1203170" y="149048"/>
                </a:lnTo>
                <a:lnTo>
                  <a:pt x="1120872" y="149048"/>
                </a:lnTo>
                <a:lnTo>
                  <a:pt x="1120872" y="494221"/>
                </a:lnTo>
                <a:lnTo>
                  <a:pt x="1203170" y="494221"/>
                </a:lnTo>
                <a:lnTo>
                  <a:pt x="1203170" y="271261"/>
                </a:lnTo>
                <a:cubicBezTo>
                  <a:pt x="1203170" y="220229"/>
                  <a:pt x="1229715" y="190476"/>
                  <a:pt x="1272244" y="190476"/>
                </a:cubicBezTo>
                <a:cubicBezTo>
                  <a:pt x="1313440" y="190476"/>
                  <a:pt x="1331518" y="217404"/>
                  <a:pt x="1331518" y="258173"/>
                </a:cubicBezTo>
                <a:lnTo>
                  <a:pt x="1331518" y="494221"/>
                </a:lnTo>
                <a:lnTo>
                  <a:pt x="1413816" y="494221"/>
                </a:lnTo>
                <a:lnTo>
                  <a:pt x="1413816" y="257420"/>
                </a:lnTo>
                <a:cubicBezTo>
                  <a:pt x="1413911" y="186333"/>
                  <a:pt x="1376234" y="142174"/>
                  <a:pt x="1303641" y="142174"/>
                </a:cubicBezTo>
                <a:moveTo>
                  <a:pt x="1600771" y="142174"/>
                </a:moveTo>
                <a:cubicBezTo>
                  <a:pt x="1524752" y="142174"/>
                  <a:pt x="1467571" y="173905"/>
                  <a:pt x="1467571" y="241602"/>
                </a:cubicBezTo>
                <a:cubicBezTo>
                  <a:pt x="1467571" y="298943"/>
                  <a:pt x="1507341" y="330014"/>
                  <a:pt x="1551962" y="341030"/>
                </a:cubicBezTo>
                <a:lnTo>
                  <a:pt x="1621702" y="358260"/>
                </a:lnTo>
                <a:cubicBezTo>
                  <a:pt x="1658712" y="367205"/>
                  <a:pt x="1675457" y="380387"/>
                  <a:pt x="1675457" y="409387"/>
                </a:cubicBezTo>
                <a:cubicBezTo>
                  <a:pt x="1675457" y="444601"/>
                  <a:pt x="1650340" y="464656"/>
                  <a:pt x="1606384" y="464656"/>
                </a:cubicBezTo>
                <a:cubicBezTo>
                  <a:pt x="1558908" y="464656"/>
                  <a:pt x="1534551" y="441870"/>
                  <a:pt x="1526845" y="384624"/>
                </a:cubicBezTo>
                <a:lnTo>
                  <a:pt x="1452919" y="405338"/>
                </a:lnTo>
                <a:cubicBezTo>
                  <a:pt x="1457106" y="464750"/>
                  <a:pt x="1512954" y="501282"/>
                  <a:pt x="1597345" y="501282"/>
                </a:cubicBezTo>
                <a:cubicBezTo>
                  <a:pt x="1691536" y="501282"/>
                  <a:pt x="1742438" y="457782"/>
                  <a:pt x="1742438" y="388767"/>
                </a:cubicBezTo>
                <a:cubicBezTo>
                  <a:pt x="1742438" y="323894"/>
                  <a:pt x="1697055" y="296965"/>
                  <a:pt x="1649674" y="285196"/>
                </a:cubicBezTo>
                <a:lnTo>
                  <a:pt x="1582693" y="268625"/>
                </a:lnTo>
                <a:cubicBezTo>
                  <a:pt x="1549203" y="260339"/>
                  <a:pt x="1534551" y="245180"/>
                  <a:pt x="1534551" y="223054"/>
                </a:cubicBezTo>
                <a:cubicBezTo>
                  <a:pt x="1534551" y="195466"/>
                  <a:pt x="1558242" y="178895"/>
                  <a:pt x="1593825" y="178895"/>
                </a:cubicBezTo>
                <a:cubicBezTo>
                  <a:pt x="1635688" y="178895"/>
                  <a:pt x="1661471" y="201680"/>
                  <a:pt x="1664992" y="245180"/>
                </a:cubicBezTo>
                <a:lnTo>
                  <a:pt x="1734731" y="224466"/>
                </a:lnTo>
                <a:cubicBezTo>
                  <a:pt x="1726358" y="175976"/>
                  <a:pt x="1678216" y="142174"/>
                  <a:pt x="1600771" y="142174"/>
                </a:cubicBezTo>
                <a:moveTo>
                  <a:pt x="1946803" y="463149"/>
                </a:moveTo>
                <a:cubicBezTo>
                  <a:pt x="1893048" y="463149"/>
                  <a:pt x="1863078" y="412776"/>
                  <a:pt x="1863078" y="321634"/>
                </a:cubicBezTo>
                <a:cubicBezTo>
                  <a:pt x="1863078" y="229080"/>
                  <a:pt x="1893048" y="180119"/>
                  <a:pt x="1946803" y="180119"/>
                </a:cubicBezTo>
                <a:cubicBezTo>
                  <a:pt x="2000559" y="180119"/>
                  <a:pt x="2030529" y="229833"/>
                  <a:pt x="2030529" y="321634"/>
                </a:cubicBezTo>
                <a:cubicBezTo>
                  <a:pt x="2030529" y="414189"/>
                  <a:pt x="2000464" y="463149"/>
                  <a:pt x="1946803" y="463149"/>
                </a:cubicBezTo>
                <a:moveTo>
                  <a:pt x="1946803" y="142174"/>
                </a:moveTo>
                <a:cubicBezTo>
                  <a:pt x="1837294" y="142174"/>
                  <a:pt x="1776594" y="222959"/>
                  <a:pt x="1776594" y="321634"/>
                </a:cubicBezTo>
                <a:cubicBezTo>
                  <a:pt x="1776594" y="420309"/>
                  <a:pt x="1837294" y="501094"/>
                  <a:pt x="1946803" y="501094"/>
                </a:cubicBezTo>
                <a:cubicBezTo>
                  <a:pt x="2056312" y="501094"/>
                  <a:pt x="2117013" y="420309"/>
                  <a:pt x="2117013" y="321634"/>
                </a:cubicBezTo>
                <a:cubicBezTo>
                  <a:pt x="2117013" y="222959"/>
                  <a:pt x="2056312" y="142174"/>
                  <a:pt x="1946803" y="142174"/>
                </a:cubicBezTo>
                <a:moveTo>
                  <a:pt x="2348590" y="142174"/>
                </a:moveTo>
                <a:cubicBezTo>
                  <a:pt x="2296927" y="142174"/>
                  <a:pt x="2268385" y="164301"/>
                  <a:pt x="2252306" y="192547"/>
                </a:cubicBezTo>
                <a:lnTo>
                  <a:pt x="2248119" y="192547"/>
                </a:lnTo>
                <a:lnTo>
                  <a:pt x="2248119" y="149048"/>
                </a:lnTo>
                <a:lnTo>
                  <a:pt x="2165821" y="149048"/>
                </a:lnTo>
                <a:lnTo>
                  <a:pt x="2165821" y="494221"/>
                </a:lnTo>
                <a:lnTo>
                  <a:pt x="2248119" y="494221"/>
                </a:lnTo>
                <a:lnTo>
                  <a:pt x="2248119" y="271261"/>
                </a:lnTo>
                <a:cubicBezTo>
                  <a:pt x="2248119" y="220229"/>
                  <a:pt x="2274664" y="190476"/>
                  <a:pt x="2317193" y="190476"/>
                </a:cubicBezTo>
                <a:cubicBezTo>
                  <a:pt x="2358389" y="190476"/>
                  <a:pt x="2376466" y="217404"/>
                  <a:pt x="2376466" y="258173"/>
                </a:cubicBezTo>
                <a:lnTo>
                  <a:pt x="2376466" y="494221"/>
                </a:lnTo>
                <a:lnTo>
                  <a:pt x="2458764" y="494221"/>
                </a:lnTo>
                <a:lnTo>
                  <a:pt x="2458764" y="257420"/>
                </a:lnTo>
                <a:cubicBezTo>
                  <a:pt x="2458764" y="186333"/>
                  <a:pt x="2421088" y="142174"/>
                  <a:pt x="2348590" y="142174"/>
                </a:cubicBezTo>
                <a:moveTo>
                  <a:pt x="3571359" y="463149"/>
                </a:moveTo>
                <a:cubicBezTo>
                  <a:pt x="3517604" y="463149"/>
                  <a:pt x="3487634" y="412776"/>
                  <a:pt x="3487634" y="321634"/>
                </a:cubicBezTo>
                <a:cubicBezTo>
                  <a:pt x="3487634" y="229080"/>
                  <a:pt x="3517604" y="180119"/>
                  <a:pt x="3571359" y="180119"/>
                </a:cubicBezTo>
                <a:cubicBezTo>
                  <a:pt x="3625115" y="180119"/>
                  <a:pt x="3655085" y="229833"/>
                  <a:pt x="3655085" y="321634"/>
                </a:cubicBezTo>
                <a:cubicBezTo>
                  <a:pt x="3655085" y="414189"/>
                  <a:pt x="3625020" y="463149"/>
                  <a:pt x="3571359" y="463149"/>
                </a:cubicBezTo>
                <a:moveTo>
                  <a:pt x="3571359" y="142174"/>
                </a:moveTo>
                <a:cubicBezTo>
                  <a:pt x="3461850" y="142174"/>
                  <a:pt x="3401150" y="222959"/>
                  <a:pt x="3401150" y="321634"/>
                </a:cubicBezTo>
                <a:cubicBezTo>
                  <a:pt x="3401150" y="420309"/>
                  <a:pt x="3461850" y="501094"/>
                  <a:pt x="3571359" y="501094"/>
                </a:cubicBezTo>
                <a:cubicBezTo>
                  <a:pt x="3680868" y="501094"/>
                  <a:pt x="3741569" y="420309"/>
                  <a:pt x="3741569" y="321634"/>
                </a:cubicBezTo>
                <a:cubicBezTo>
                  <a:pt x="3741569" y="222959"/>
                  <a:pt x="3680868" y="142174"/>
                  <a:pt x="3571359" y="142174"/>
                </a:cubicBezTo>
                <a:moveTo>
                  <a:pt x="4332308" y="142174"/>
                </a:moveTo>
                <a:cubicBezTo>
                  <a:pt x="4280646" y="142174"/>
                  <a:pt x="4252103" y="164301"/>
                  <a:pt x="4236024" y="192547"/>
                </a:cubicBezTo>
                <a:lnTo>
                  <a:pt x="4231838" y="192547"/>
                </a:lnTo>
                <a:lnTo>
                  <a:pt x="4231838" y="149048"/>
                </a:lnTo>
                <a:lnTo>
                  <a:pt x="4149539" y="149048"/>
                </a:lnTo>
                <a:lnTo>
                  <a:pt x="4149539" y="494221"/>
                </a:lnTo>
                <a:lnTo>
                  <a:pt x="4231838" y="494221"/>
                </a:lnTo>
                <a:lnTo>
                  <a:pt x="4231838" y="271261"/>
                </a:lnTo>
                <a:cubicBezTo>
                  <a:pt x="4231838" y="220229"/>
                  <a:pt x="4258383" y="190476"/>
                  <a:pt x="4300911" y="190476"/>
                </a:cubicBezTo>
                <a:cubicBezTo>
                  <a:pt x="4342108" y="190476"/>
                  <a:pt x="4360185" y="217404"/>
                  <a:pt x="4360185" y="258173"/>
                </a:cubicBezTo>
                <a:lnTo>
                  <a:pt x="4360185" y="494221"/>
                </a:lnTo>
                <a:lnTo>
                  <a:pt x="4442483" y="494221"/>
                </a:lnTo>
                <a:lnTo>
                  <a:pt x="4442483" y="257420"/>
                </a:lnTo>
                <a:cubicBezTo>
                  <a:pt x="4442578" y="186333"/>
                  <a:pt x="4404902" y="142174"/>
                  <a:pt x="4332308" y="142174"/>
                </a:cubicBezTo>
                <a:moveTo>
                  <a:pt x="4629533" y="142174"/>
                </a:moveTo>
                <a:cubicBezTo>
                  <a:pt x="4553514" y="142174"/>
                  <a:pt x="4496334" y="173905"/>
                  <a:pt x="4496334" y="241602"/>
                </a:cubicBezTo>
                <a:cubicBezTo>
                  <a:pt x="4496334" y="298943"/>
                  <a:pt x="4536103" y="330014"/>
                  <a:pt x="4580725" y="341030"/>
                </a:cubicBezTo>
                <a:lnTo>
                  <a:pt x="4650464" y="358260"/>
                </a:lnTo>
                <a:cubicBezTo>
                  <a:pt x="4687475" y="367205"/>
                  <a:pt x="4704220" y="380387"/>
                  <a:pt x="4704220" y="409387"/>
                </a:cubicBezTo>
                <a:cubicBezTo>
                  <a:pt x="4704220" y="444601"/>
                  <a:pt x="4679102" y="464656"/>
                  <a:pt x="4635146" y="464656"/>
                </a:cubicBezTo>
                <a:cubicBezTo>
                  <a:pt x="4587670" y="464656"/>
                  <a:pt x="4563314" y="441870"/>
                  <a:pt x="4555607" y="384624"/>
                </a:cubicBezTo>
                <a:lnTo>
                  <a:pt x="4481682" y="405338"/>
                </a:lnTo>
                <a:cubicBezTo>
                  <a:pt x="4485868" y="464750"/>
                  <a:pt x="4541716" y="501282"/>
                  <a:pt x="4626108" y="501282"/>
                </a:cubicBezTo>
                <a:cubicBezTo>
                  <a:pt x="4720299" y="501282"/>
                  <a:pt x="4771200" y="457782"/>
                  <a:pt x="4771200" y="388767"/>
                </a:cubicBezTo>
                <a:cubicBezTo>
                  <a:pt x="4771200" y="323894"/>
                  <a:pt x="4725817" y="296965"/>
                  <a:pt x="4678436" y="285196"/>
                </a:cubicBezTo>
                <a:lnTo>
                  <a:pt x="4611456" y="268625"/>
                </a:lnTo>
                <a:cubicBezTo>
                  <a:pt x="4577966" y="260339"/>
                  <a:pt x="4563314" y="245180"/>
                  <a:pt x="4563314" y="223054"/>
                </a:cubicBezTo>
                <a:cubicBezTo>
                  <a:pt x="4563314" y="195466"/>
                  <a:pt x="4587004" y="178895"/>
                  <a:pt x="4622588" y="178895"/>
                </a:cubicBezTo>
                <a:cubicBezTo>
                  <a:pt x="4664450" y="178895"/>
                  <a:pt x="4690234" y="201680"/>
                  <a:pt x="4693754" y="245180"/>
                </a:cubicBezTo>
                <a:lnTo>
                  <a:pt x="4763493" y="224466"/>
                </a:lnTo>
                <a:cubicBezTo>
                  <a:pt x="4755026" y="175976"/>
                  <a:pt x="4706884" y="142174"/>
                  <a:pt x="4629533" y="142174"/>
                </a:cubicBezTo>
                <a:moveTo>
                  <a:pt x="4975471" y="463149"/>
                </a:moveTo>
                <a:cubicBezTo>
                  <a:pt x="4921715" y="463149"/>
                  <a:pt x="4891745" y="412776"/>
                  <a:pt x="4891745" y="321634"/>
                </a:cubicBezTo>
                <a:cubicBezTo>
                  <a:pt x="4891745" y="229080"/>
                  <a:pt x="4921715" y="180119"/>
                  <a:pt x="4975471" y="180119"/>
                </a:cubicBezTo>
                <a:cubicBezTo>
                  <a:pt x="5029226" y="180119"/>
                  <a:pt x="5059196" y="229833"/>
                  <a:pt x="5059196" y="321634"/>
                </a:cubicBezTo>
                <a:cubicBezTo>
                  <a:pt x="5059196" y="414189"/>
                  <a:pt x="5029131" y="463149"/>
                  <a:pt x="4975471" y="463149"/>
                </a:cubicBezTo>
                <a:moveTo>
                  <a:pt x="4975471" y="142174"/>
                </a:moveTo>
                <a:cubicBezTo>
                  <a:pt x="4865962" y="142174"/>
                  <a:pt x="4805261" y="222959"/>
                  <a:pt x="4805261" y="321634"/>
                </a:cubicBezTo>
                <a:cubicBezTo>
                  <a:pt x="4805261" y="420309"/>
                  <a:pt x="4865962" y="501094"/>
                  <a:pt x="4975471" y="501094"/>
                </a:cubicBezTo>
                <a:cubicBezTo>
                  <a:pt x="5084980" y="501094"/>
                  <a:pt x="5145680" y="420309"/>
                  <a:pt x="5145680" y="321634"/>
                </a:cubicBezTo>
                <a:cubicBezTo>
                  <a:pt x="5145680" y="222959"/>
                  <a:pt x="5084980" y="142174"/>
                  <a:pt x="4975471" y="142174"/>
                </a:cubicBezTo>
                <a:moveTo>
                  <a:pt x="5377257" y="142174"/>
                </a:moveTo>
                <a:cubicBezTo>
                  <a:pt x="5325595" y="142174"/>
                  <a:pt x="5297052" y="164301"/>
                  <a:pt x="5280973" y="192547"/>
                </a:cubicBezTo>
                <a:lnTo>
                  <a:pt x="5276787" y="192547"/>
                </a:lnTo>
                <a:lnTo>
                  <a:pt x="5276787" y="149048"/>
                </a:lnTo>
                <a:lnTo>
                  <a:pt x="5194488" y="149048"/>
                </a:lnTo>
                <a:lnTo>
                  <a:pt x="5194488" y="494221"/>
                </a:lnTo>
                <a:lnTo>
                  <a:pt x="5276787" y="494221"/>
                </a:lnTo>
                <a:lnTo>
                  <a:pt x="5276787" y="271261"/>
                </a:lnTo>
                <a:cubicBezTo>
                  <a:pt x="5276787" y="220229"/>
                  <a:pt x="5303331" y="190476"/>
                  <a:pt x="5345860" y="190476"/>
                </a:cubicBezTo>
                <a:cubicBezTo>
                  <a:pt x="5387057" y="190476"/>
                  <a:pt x="5405134" y="217404"/>
                  <a:pt x="5405134" y="258173"/>
                </a:cubicBezTo>
                <a:lnTo>
                  <a:pt x="5405134" y="494221"/>
                </a:lnTo>
                <a:lnTo>
                  <a:pt x="5487432" y="494221"/>
                </a:lnTo>
                <a:lnTo>
                  <a:pt x="5487432" y="257420"/>
                </a:lnTo>
                <a:cubicBezTo>
                  <a:pt x="5487432" y="186333"/>
                  <a:pt x="5449755" y="142174"/>
                  <a:pt x="5377257" y="142174"/>
                </a:cubicBezTo>
                <a:moveTo>
                  <a:pt x="323674" y="11016"/>
                </a:moveTo>
                <a:lnTo>
                  <a:pt x="237190" y="11016"/>
                </a:lnTo>
                <a:lnTo>
                  <a:pt x="237190" y="367864"/>
                </a:lnTo>
                <a:cubicBezTo>
                  <a:pt x="237190" y="425864"/>
                  <a:pt x="214831" y="460325"/>
                  <a:pt x="161837" y="460325"/>
                </a:cubicBezTo>
                <a:cubicBezTo>
                  <a:pt x="109509" y="460325"/>
                  <a:pt x="86484" y="423698"/>
                  <a:pt x="86484" y="360897"/>
                </a:cubicBezTo>
                <a:lnTo>
                  <a:pt x="86484" y="294612"/>
                </a:lnTo>
                <a:lnTo>
                  <a:pt x="0" y="315985"/>
                </a:lnTo>
                <a:lnTo>
                  <a:pt x="0" y="345644"/>
                </a:lnTo>
                <a:cubicBezTo>
                  <a:pt x="0" y="436033"/>
                  <a:pt x="45383" y="505143"/>
                  <a:pt x="161837" y="505143"/>
                </a:cubicBezTo>
                <a:cubicBezTo>
                  <a:pt x="278291" y="505143"/>
                  <a:pt x="323674" y="436127"/>
                  <a:pt x="323674" y="345644"/>
                </a:cubicBezTo>
                <a:lnTo>
                  <a:pt x="323674" y="11016"/>
                </a:lnTo>
                <a:moveTo>
                  <a:pt x="844008" y="11016"/>
                </a:moveTo>
                <a:lnTo>
                  <a:pt x="761710" y="11016"/>
                </a:lnTo>
                <a:lnTo>
                  <a:pt x="761710" y="494221"/>
                </a:lnTo>
                <a:lnTo>
                  <a:pt x="844008" y="494221"/>
                </a:lnTo>
                <a:lnTo>
                  <a:pt x="844008" y="271261"/>
                </a:lnTo>
                <a:cubicBezTo>
                  <a:pt x="844008" y="220229"/>
                  <a:pt x="870553" y="190476"/>
                  <a:pt x="913081" y="190476"/>
                </a:cubicBezTo>
                <a:cubicBezTo>
                  <a:pt x="954278" y="190476"/>
                  <a:pt x="972355" y="217404"/>
                  <a:pt x="972355" y="258173"/>
                </a:cubicBezTo>
                <a:lnTo>
                  <a:pt x="972355" y="494221"/>
                </a:lnTo>
                <a:lnTo>
                  <a:pt x="1054653" y="494221"/>
                </a:lnTo>
                <a:lnTo>
                  <a:pt x="1054653" y="257420"/>
                </a:lnTo>
                <a:cubicBezTo>
                  <a:pt x="1054653" y="186333"/>
                  <a:pt x="1016977" y="142174"/>
                  <a:pt x="944478" y="142174"/>
                </a:cubicBezTo>
                <a:cubicBezTo>
                  <a:pt x="892816" y="142174"/>
                  <a:pt x="864273" y="164301"/>
                  <a:pt x="848194" y="192547"/>
                </a:cubicBezTo>
                <a:lnTo>
                  <a:pt x="844008" y="192547"/>
                </a:lnTo>
                <a:lnTo>
                  <a:pt x="844008" y="11016"/>
                </a:lnTo>
                <a:moveTo>
                  <a:pt x="3352342" y="11016"/>
                </a:moveTo>
                <a:lnTo>
                  <a:pt x="3265857" y="11016"/>
                </a:lnTo>
                <a:lnTo>
                  <a:pt x="3265857" y="367864"/>
                </a:lnTo>
                <a:cubicBezTo>
                  <a:pt x="3265857" y="425864"/>
                  <a:pt x="3243499" y="460325"/>
                  <a:pt x="3190504" y="460325"/>
                </a:cubicBezTo>
                <a:cubicBezTo>
                  <a:pt x="3138176" y="460325"/>
                  <a:pt x="3115152" y="423698"/>
                  <a:pt x="3115152" y="360897"/>
                </a:cubicBezTo>
                <a:lnTo>
                  <a:pt x="3115152" y="294612"/>
                </a:lnTo>
                <a:lnTo>
                  <a:pt x="3028667" y="315985"/>
                </a:lnTo>
                <a:lnTo>
                  <a:pt x="3028667" y="345644"/>
                </a:lnTo>
                <a:cubicBezTo>
                  <a:pt x="3028667" y="436033"/>
                  <a:pt x="3074050" y="505143"/>
                  <a:pt x="3190504" y="505143"/>
                </a:cubicBezTo>
                <a:cubicBezTo>
                  <a:pt x="3306959" y="505143"/>
                  <a:pt x="3352342" y="436127"/>
                  <a:pt x="3352342" y="345644"/>
                </a:cubicBezTo>
                <a:lnTo>
                  <a:pt x="3352342" y="11016"/>
                </a:lnTo>
                <a:moveTo>
                  <a:pt x="3872675" y="11016"/>
                </a:moveTo>
                <a:lnTo>
                  <a:pt x="3790377" y="11016"/>
                </a:lnTo>
                <a:lnTo>
                  <a:pt x="3790377" y="494221"/>
                </a:lnTo>
                <a:lnTo>
                  <a:pt x="3872675" y="494221"/>
                </a:lnTo>
                <a:lnTo>
                  <a:pt x="3872675" y="271261"/>
                </a:lnTo>
                <a:cubicBezTo>
                  <a:pt x="3872675" y="220229"/>
                  <a:pt x="3899220" y="190476"/>
                  <a:pt x="3941749" y="190476"/>
                </a:cubicBezTo>
                <a:cubicBezTo>
                  <a:pt x="3982945" y="190476"/>
                  <a:pt x="4001022" y="217404"/>
                  <a:pt x="4001022" y="258173"/>
                </a:cubicBezTo>
                <a:lnTo>
                  <a:pt x="4001022" y="494221"/>
                </a:lnTo>
                <a:lnTo>
                  <a:pt x="4083320" y="494221"/>
                </a:lnTo>
                <a:lnTo>
                  <a:pt x="4083320" y="257420"/>
                </a:lnTo>
                <a:cubicBezTo>
                  <a:pt x="4083320" y="186333"/>
                  <a:pt x="4045644" y="142174"/>
                  <a:pt x="3973146" y="142174"/>
                </a:cubicBezTo>
                <a:cubicBezTo>
                  <a:pt x="3921483" y="142174"/>
                  <a:pt x="3892941" y="164301"/>
                  <a:pt x="3876861" y="192547"/>
                </a:cubicBezTo>
                <a:lnTo>
                  <a:pt x="3872675" y="192547"/>
                </a:lnTo>
                <a:lnTo>
                  <a:pt x="3872675" y="11016"/>
                </a:lnTo>
                <a:moveTo>
                  <a:pt x="2730110" y="454864"/>
                </a:moveTo>
                <a:cubicBezTo>
                  <a:pt x="2663130" y="454864"/>
                  <a:pt x="2622029" y="401007"/>
                  <a:pt x="2622029" y="343761"/>
                </a:cubicBezTo>
                <a:cubicBezTo>
                  <a:pt x="2622029" y="307887"/>
                  <a:pt x="2638108" y="274745"/>
                  <a:pt x="2664557" y="256102"/>
                </a:cubicBezTo>
                <a:lnTo>
                  <a:pt x="2822208" y="426617"/>
                </a:lnTo>
                <a:cubicBezTo>
                  <a:pt x="2792904" y="443848"/>
                  <a:pt x="2760080" y="454864"/>
                  <a:pt x="2730110" y="454864"/>
                </a:cubicBezTo>
                <a:moveTo>
                  <a:pt x="2883575" y="369936"/>
                </a:moveTo>
                <a:lnTo>
                  <a:pt x="2746856" y="220794"/>
                </a:lnTo>
                <a:cubicBezTo>
                  <a:pt x="2771307" y="211096"/>
                  <a:pt x="2794998" y="207706"/>
                  <a:pt x="2814502" y="207706"/>
                </a:cubicBezTo>
                <a:cubicBezTo>
                  <a:pt x="2871016" y="207706"/>
                  <a:pt x="2905838" y="240190"/>
                  <a:pt x="2905838" y="296118"/>
                </a:cubicBezTo>
                <a:cubicBezTo>
                  <a:pt x="2905934" y="320975"/>
                  <a:pt x="2898893" y="346491"/>
                  <a:pt x="2883575" y="369936"/>
                </a:cubicBezTo>
                <a:moveTo>
                  <a:pt x="2728017" y="200833"/>
                </a:moveTo>
                <a:lnTo>
                  <a:pt x="2698047" y="167690"/>
                </a:lnTo>
                <a:cubicBezTo>
                  <a:pt x="2671503" y="138691"/>
                  <a:pt x="2663891" y="120707"/>
                  <a:pt x="2663891" y="99334"/>
                </a:cubicBezTo>
                <a:cubicBezTo>
                  <a:pt x="2663891" y="59318"/>
                  <a:pt x="2689675" y="36532"/>
                  <a:pt x="2730110" y="36532"/>
                </a:cubicBezTo>
                <a:cubicBezTo>
                  <a:pt x="2771307" y="36532"/>
                  <a:pt x="2795664" y="59977"/>
                  <a:pt x="2795664" y="102817"/>
                </a:cubicBezTo>
                <a:cubicBezTo>
                  <a:pt x="2795664" y="142174"/>
                  <a:pt x="2776159" y="179460"/>
                  <a:pt x="2728017" y="200833"/>
                </a:cubicBezTo>
                <a:moveTo>
                  <a:pt x="2732204" y="0"/>
                </a:moveTo>
                <a:cubicBezTo>
                  <a:pt x="2635920" y="0"/>
                  <a:pt x="2588539" y="53198"/>
                  <a:pt x="2588539" y="119389"/>
                </a:cubicBezTo>
                <a:cubicBezTo>
                  <a:pt x="2588539" y="155262"/>
                  <a:pt x="2603857" y="191229"/>
                  <a:pt x="2644387" y="234635"/>
                </a:cubicBezTo>
                <a:lnTo>
                  <a:pt x="2645053" y="236047"/>
                </a:lnTo>
                <a:cubicBezTo>
                  <a:pt x="2576741" y="268531"/>
                  <a:pt x="2545344" y="320975"/>
                  <a:pt x="2545344" y="374832"/>
                </a:cubicBezTo>
                <a:cubicBezTo>
                  <a:pt x="2545344" y="445919"/>
                  <a:pt x="2600432" y="505331"/>
                  <a:pt x="2685584" y="505331"/>
                </a:cubicBezTo>
                <a:cubicBezTo>
                  <a:pt x="2734392" y="505331"/>
                  <a:pt x="2791573" y="485276"/>
                  <a:pt x="2843235" y="449403"/>
                </a:cubicBezTo>
                <a:lnTo>
                  <a:pt x="2885097" y="494315"/>
                </a:lnTo>
                <a:lnTo>
                  <a:pt x="2994606" y="494315"/>
                </a:lnTo>
                <a:lnTo>
                  <a:pt x="2994606" y="490831"/>
                </a:lnTo>
                <a:lnTo>
                  <a:pt x="2905363" y="393474"/>
                </a:lnTo>
                <a:cubicBezTo>
                  <a:pt x="2943039" y="349316"/>
                  <a:pt x="2964637" y="301014"/>
                  <a:pt x="2964637" y="258833"/>
                </a:cubicBezTo>
                <a:cubicBezTo>
                  <a:pt x="2964637" y="206388"/>
                  <a:pt x="2929053" y="171174"/>
                  <a:pt x="2873300" y="171174"/>
                </a:cubicBezTo>
                <a:cubicBezTo>
                  <a:pt x="2843996" y="171174"/>
                  <a:pt x="2811172" y="179460"/>
                  <a:pt x="2789574" y="187745"/>
                </a:cubicBezTo>
                <a:lnTo>
                  <a:pt x="2788147" y="185015"/>
                </a:lnTo>
                <a:cubicBezTo>
                  <a:pt x="2841142" y="156674"/>
                  <a:pt x="2863500" y="130499"/>
                  <a:pt x="2863500" y="93873"/>
                </a:cubicBezTo>
                <a:cubicBezTo>
                  <a:pt x="2863310" y="41428"/>
                  <a:pt x="2815929" y="0"/>
                  <a:pt x="2732204" y="0"/>
                </a:cubicBezTo>
              </a:path>
            </a:pathLst>
          </a:custGeom>
          <a:solidFill>
            <a:schemeClr val="bg1"/>
          </a:solidFill>
          <a:ln w="9509" cap="flat">
            <a:noFill/>
            <a:prstDash val="solid"/>
            <a:miter/>
          </a:ln>
        </p:spPr>
        <p:txBody>
          <a:bodyPr rtlCol="0" anchor="ctr"/>
          <a:lstStyle/>
          <a:p>
            <a:endParaRPr lang="en-GB"/>
          </a:p>
        </p:txBody>
      </p:sp>
      <p:sp>
        <p:nvSpPr>
          <p:cNvPr id="3" name="Footer Placeholder 4">
            <a:extLst>
              <a:ext uri="{FF2B5EF4-FFF2-40B4-BE49-F238E27FC236}">
                <a16:creationId xmlns:a16="http://schemas.microsoft.com/office/drawing/2014/main" id="{4D466A10-B393-D326-ACF8-1D66A2B3A01F}"/>
              </a:ext>
            </a:extLst>
          </p:cNvPr>
          <p:cNvSpPr txBox="1">
            <a:spLocks/>
          </p:cNvSpPr>
          <p:nvPr/>
        </p:nvSpPr>
        <p:spPr>
          <a:xfrm>
            <a:off x="4645892" y="6405624"/>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0" i="0" kern="1200">
                <a:solidFill>
                  <a:schemeClr val="bg1"/>
                </a:solidFill>
                <a:latin typeface="+mn-lt"/>
                <a:ea typeface="+mn-ea"/>
                <a:cs typeface="+mn-cs"/>
              </a:rPr>
              <a:t>HEALTH CARE COMPLIANCE</a:t>
            </a:r>
          </a:p>
        </p:txBody>
      </p:sp>
    </p:spTree>
    <p:extLst>
      <p:ext uri="{BB962C8B-B14F-4D97-AF65-F5344CB8AC3E}">
        <p14:creationId xmlns:p14="http://schemas.microsoft.com/office/powerpoint/2010/main" val="1311091293"/>
      </p:ext>
    </p:extLst>
  </p:cSld>
  <p:clrMapOvr>
    <a:masterClrMapping/>
  </p:clrMapOvr>
  <p:hf hdr="0" dt="0"/>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Title Slide 3">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06B22-1DE8-7C36-14AE-7260C97F6705}"/>
              </a:ext>
            </a:extLst>
          </p:cNvPr>
          <p:cNvSpPr>
            <a:spLocks noGrp="1"/>
          </p:cNvSpPr>
          <p:nvPr>
            <p:ph type="title"/>
          </p:nvPr>
        </p:nvSpPr>
        <p:spPr>
          <a:xfrm>
            <a:off x="291479" y="264244"/>
            <a:ext cx="4667383" cy="327013"/>
          </a:xfrm>
        </p:spPr>
        <p:txBody>
          <a:bodyPr>
            <a:spAutoFit/>
          </a:bodyPr>
          <a:lstStyle>
            <a:lvl1pPr>
              <a:defRPr sz="2500" b="0" i="0">
                <a:solidFill>
                  <a:schemeClr val="bg1"/>
                </a:solidFill>
                <a:latin typeface="+mj-lt"/>
              </a:defRPr>
            </a:lvl1pPr>
          </a:lstStyle>
          <a:p>
            <a:r>
              <a:rPr lang="zh-CN" altLang="en-US"/>
              <a:t>单击此处编辑母版标题样式</a:t>
            </a:r>
            <a:endParaRPr lang="en-US"/>
          </a:p>
        </p:txBody>
      </p:sp>
      <p:sp>
        <p:nvSpPr>
          <p:cNvPr id="30" name="Subtitle 2">
            <a:extLst>
              <a:ext uri="{FF2B5EF4-FFF2-40B4-BE49-F238E27FC236}">
                <a16:creationId xmlns:a16="http://schemas.microsoft.com/office/drawing/2014/main" id="{AFC7E9F7-1405-E6D8-9042-37C2DC045BD5}"/>
              </a:ext>
            </a:extLst>
          </p:cNvPr>
          <p:cNvSpPr>
            <a:spLocks noGrp="1"/>
          </p:cNvSpPr>
          <p:nvPr>
            <p:ph type="subTitle" idx="1" hasCustomPrompt="1"/>
          </p:nvPr>
        </p:nvSpPr>
        <p:spPr>
          <a:xfrm>
            <a:off x="6165850" y="240207"/>
            <a:ext cx="2795587" cy="717180"/>
          </a:xfrm>
        </p:spPr>
        <p:txBody>
          <a:bodyPr anchor="t"/>
          <a:lstStyle>
            <a:lvl1pPr marL="0" indent="0" algn="l">
              <a:spcBef>
                <a:spcPts val="0"/>
              </a:spcBef>
              <a:spcAft>
                <a:spcPts val="0"/>
              </a:spcAft>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pporting details – delete if not required</a:t>
            </a:r>
          </a:p>
        </p:txBody>
      </p:sp>
      <p:sp>
        <p:nvSpPr>
          <p:cNvPr id="5" name="Graphic 3">
            <a:extLst>
              <a:ext uri="{FF2B5EF4-FFF2-40B4-BE49-F238E27FC236}">
                <a16:creationId xmlns:a16="http://schemas.microsoft.com/office/drawing/2014/main" id="{A2702702-3E11-9FDF-5B64-822892AA8E70}"/>
              </a:ext>
            </a:extLst>
          </p:cNvPr>
          <p:cNvSpPr/>
          <p:nvPr/>
        </p:nvSpPr>
        <p:spPr>
          <a:xfrm>
            <a:off x="284298" y="5510092"/>
            <a:ext cx="11615602" cy="1069665"/>
          </a:xfrm>
          <a:custGeom>
            <a:avLst/>
            <a:gdLst>
              <a:gd name="connsiteX0" fmla="*/ 1169268 w 11823056"/>
              <a:gd name="connsiteY0" fmla="*/ 997887 h 1088769"/>
              <a:gd name="connsiteX1" fmla="*/ 988876 w 11823056"/>
              <a:gd name="connsiteY1" fmla="*/ 692983 h 1088769"/>
              <a:gd name="connsiteX2" fmla="*/ 1169268 w 11823056"/>
              <a:gd name="connsiteY2" fmla="*/ 388078 h 1088769"/>
              <a:gd name="connsiteX3" fmla="*/ 1349660 w 11823056"/>
              <a:gd name="connsiteY3" fmla="*/ 692983 h 1088769"/>
              <a:gd name="connsiteX4" fmla="*/ 1169268 w 11823056"/>
              <a:gd name="connsiteY4" fmla="*/ 997887 h 1088769"/>
              <a:gd name="connsiteX5" fmla="*/ 1169268 w 11823056"/>
              <a:gd name="connsiteY5" fmla="*/ 306324 h 1088769"/>
              <a:gd name="connsiteX6" fmla="*/ 802539 w 11823056"/>
              <a:gd name="connsiteY6" fmla="*/ 692983 h 1088769"/>
              <a:gd name="connsiteX7" fmla="*/ 1169268 w 11823056"/>
              <a:gd name="connsiteY7" fmla="*/ 1079641 h 1088769"/>
              <a:gd name="connsiteX8" fmla="*/ 1535997 w 11823056"/>
              <a:gd name="connsiteY8" fmla="*/ 692983 h 1088769"/>
              <a:gd name="connsiteX9" fmla="*/ 1169268 w 11823056"/>
              <a:gd name="connsiteY9" fmla="*/ 306324 h 1088769"/>
              <a:gd name="connsiteX10" fmla="*/ 2808786 w 11823056"/>
              <a:gd name="connsiteY10" fmla="*/ 306324 h 1088769"/>
              <a:gd name="connsiteX11" fmla="*/ 2601335 w 11823056"/>
              <a:gd name="connsiteY11" fmla="*/ 414856 h 1088769"/>
              <a:gd name="connsiteX12" fmla="*/ 2592315 w 11823056"/>
              <a:gd name="connsiteY12" fmla="*/ 414856 h 1088769"/>
              <a:gd name="connsiteX13" fmla="*/ 2592315 w 11823056"/>
              <a:gd name="connsiteY13" fmla="*/ 321133 h 1088769"/>
              <a:gd name="connsiteX14" fmla="*/ 2414998 w 11823056"/>
              <a:gd name="connsiteY14" fmla="*/ 321133 h 1088769"/>
              <a:gd name="connsiteX15" fmla="*/ 2414998 w 11823056"/>
              <a:gd name="connsiteY15" fmla="*/ 1064832 h 1088769"/>
              <a:gd name="connsiteX16" fmla="*/ 2592315 w 11823056"/>
              <a:gd name="connsiteY16" fmla="*/ 1064832 h 1088769"/>
              <a:gd name="connsiteX17" fmla="*/ 2592315 w 11823056"/>
              <a:gd name="connsiteY17" fmla="*/ 584451 h 1088769"/>
              <a:gd name="connsiteX18" fmla="*/ 2741139 w 11823056"/>
              <a:gd name="connsiteY18" fmla="*/ 410393 h 1088769"/>
              <a:gd name="connsiteX19" fmla="*/ 2868848 w 11823056"/>
              <a:gd name="connsiteY19" fmla="*/ 556253 h 1088769"/>
              <a:gd name="connsiteX20" fmla="*/ 2868848 w 11823056"/>
              <a:gd name="connsiteY20" fmla="*/ 1064832 h 1088769"/>
              <a:gd name="connsiteX21" fmla="*/ 3046165 w 11823056"/>
              <a:gd name="connsiteY21" fmla="*/ 1064832 h 1088769"/>
              <a:gd name="connsiteX22" fmla="*/ 3046165 w 11823056"/>
              <a:gd name="connsiteY22" fmla="*/ 554630 h 1088769"/>
              <a:gd name="connsiteX23" fmla="*/ 2808786 w 11823056"/>
              <a:gd name="connsiteY23" fmla="*/ 306324 h 1088769"/>
              <a:gd name="connsiteX24" fmla="*/ 3448972 w 11823056"/>
              <a:gd name="connsiteY24" fmla="*/ 306324 h 1088769"/>
              <a:gd name="connsiteX25" fmla="*/ 3161985 w 11823056"/>
              <a:gd name="connsiteY25" fmla="*/ 520548 h 1088769"/>
              <a:gd name="connsiteX26" fmla="*/ 3343812 w 11823056"/>
              <a:gd name="connsiteY26" fmla="*/ 734773 h 1088769"/>
              <a:gd name="connsiteX27" fmla="*/ 3494070 w 11823056"/>
              <a:gd name="connsiteY27" fmla="*/ 771897 h 1088769"/>
              <a:gd name="connsiteX28" fmla="*/ 3609890 w 11823056"/>
              <a:gd name="connsiteY28" fmla="*/ 882052 h 1088769"/>
              <a:gd name="connsiteX29" fmla="*/ 3461067 w 11823056"/>
              <a:gd name="connsiteY29" fmla="*/ 1001133 h 1088769"/>
              <a:gd name="connsiteX30" fmla="*/ 3289694 w 11823056"/>
              <a:gd name="connsiteY30" fmla="*/ 828699 h 1088769"/>
              <a:gd name="connsiteX31" fmla="*/ 3130416 w 11823056"/>
              <a:gd name="connsiteY31" fmla="*/ 873329 h 1088769"/>
              <a:gd name="connsiteX32" fmla="*/ 3441593 w 11823056"/>
              <a:gd name="connsiteY32" fmla="*/ 1080047 h 1088769"/>
              <a:gd name="connsiteX33" fmla="*/ 3754204 w 11823056"/>
              <a:gd name="connsiteY33" fmla="*/ 837625 h 1088769"/>
              <a:gd name="connsiteX34" fmla="*/ 3554338 w 11823056"/>
              <a:gd name="connsiteY34" fmla="*/ 614474 h 1088769"/>
              <a:gd name="connsiteX35" fmla="*/ 3410024 w 11823056"/>
              <a:gd name="connsiteY35" fmla="*/ 578770 h 1088769"/>
              <a:gd name="connsiteX36" fmla="*/ 3306299 w 11823056"/>
              <a:gd name="connsiteY36" fmla="*/ 480584 h 1088769"/>
              <a:gd name="connsiteX37" fmla="*/ 3434008 w 11823056"/>
              <a:gd name="connsiteY37" fmla="*/ 385441 h 1088769"/>
              <a:gd name="connsiteX38" fmla="*/ 3587341 w 11823056"/>
              <a:gd name="connsiteY38" fmla="*/ 528257 h 1088769"/>
              <a:gd name="connsiteX39" fmla="*/ 3737599 w 11823056"/>
              <a:gd name="connsiteY39" fmla="*/ 483627 h 1088769"/>
              <a:gd name="connsiteX40" fmla="*/ 3448972 w 11823056"/>
              <a:gd name="connsiteY40" fmla="*/ 306324 h 1088769"/>
              <a:gd name="connsiteX41" fmla="*/ 4194524 w 11823056"/>
              <a:gd name="connsiteY41" fmla="*/ 997887 h 1088769"/>
              <a:gd name="connsiteX42" fmla="*/ 4014132 w 11823056"/>
              <a:gd name="connsiteY42" fmla="*/ 692983 h 1088769"/>
              <a:gd name="connsiteX43" fmla="*/ 4194524 w 11823056"/>
              <a:gd name="connsiteY43" fmla="*/ 388078 h 1088769"/>
              <a:gd name="connsiteX44" fmla="*/ 4374916 w 11823056"/>
              <a:gd name="connsiteY44" fmla="*/ 692983 h 1088769"/>
              <a:gd name="connsiteX45" fmla="*/ 4194524 w 11823056"/>
              <a:gd name="connsiteY45" fmla="*/ 997887 h 1088769"/>
              <a:gd name="connsiteX46" fmla="*/ 4194524 w 11823056"/>
              <a:gd name="connsiteY46" fmla="*/ 306324 h 1088769"/>
              <a:gd name="connsiteX47" fmla="*/ 3827796 w 11823056"/>
              <a:gd name="connsiteY47" fmla="*/ 692983 h 1088769"/>
              <a:gd name="connsiteX48" fmla="*/ 4194524 w 11823056"/>
              <a:gd name="connsiteY48" fmla="*/ 1079641 h 1088769"/>
              <a:gd name="connsiteX49" fmla="*/ 4561253 w 11823056"/>
              <a:gd name="connsiteY49" fmla="*/ 692983 h 1088769"/>
              <a:gd name="connsiteX50" fmla="*/ 4194524 w 11823056"/>
              <a:gd name="connsiteY50" fmla="*/ 306324 h 1088769"/>
              <a:gd name="connsiteX51" fmla="*/ 5060201 w 11823056"/>
              <a:gd name="connsiteY51" fmla="*/ 306324 h 1088769"/>
              <a:gd name="connsiteX52" fmla="*/ 4852750 w 11823056"/>
              <a:gd name="connsiteY52" fmla="*/ 414856 h 1088769"/>
              <a:gd name="connsiteX53" fmla="*/ 4843731 w 11823056"/>
              <a:gd name="connsiteY53" fmla="*/ 414856 h 1088769"/>
              <a:gd name="connsiteX54" fmla="*/ 4843731 w 11823056"/>
              <a:gd name="connsiteY54" fmla="*/ 321133 h 1088769"/>
              <a:gd name="connsiteX55" fmla="*/ 4666414 w 11823056"/>
              <a:gd name="connsiteY55" fmla="*/ 321133 h 1088769"/>
              <a:gd name="connsiteX56" fmla="*/ 4666414 w 11823056"/>
              <a:gd name="connsiteY56" fmla="*/ 1064832 h 1088769"/>
              <a:gd name="connsiteX57" fmla="*/ 4843731 w 11823056"/>
              <a:gd name="connsiteY57" fmla="*/ 1064832 h 1088769"/>
              <a:gd name="connsiteX58" fmla="*/ 4843731 w 11823056"/>
              <a:gd name="connsiteY58" fmla="*/ 584451 h 1088769"/>
              <a:gd name="connsiteX59" fmla="*/ 4992554 w 11823056"/>
              <a:gd name="connsiteY59" fmla="*/ 410393 h 1088769"/>
              <a:gd name="connsiteX60" fmla="*/ 5120263 w 11823056"/>
              <a:gd name="connsiteY60" fmla="*/ 556253 h 1088769"/>
              <a:gd name="connsiteX61" fmla="*/ 5120263 w 11823056"/>
              <a:gd name="connsiteY61" fmla="*/ 1064832 h 1088769"/>
              <a:gd name="connsiteX62" fmla="*/ 5297580 w 11823056"/>
              <a:gd name="connsiteY62" fmla="*/ 1064832 h 1088769"/>
              <a:gd name="connsiteX63" fmla="*/ 5297580 w 11823056"/>
              <a:gd name="connsiteY63" fmla="*/ 554630 h 1088769"/>
              <a:gd name="connsiteX64" fmla="*/ 5060201 w 11823056"/>
              <a:gd name="connsiteY64" fmla="*/ 306324 h 1088769"/>
              <a:gd name="connsiteX65" fmla="*/ 7694744 w 11823056"/>
              <a:gd name="connsiteY65" fmla="*/ 997887 h 1088769"/>
              <a:gd name="connsiteX66" fmla="*/ 7514353 w 11823056"/>
              <a:gd name="connsiteY66" fmla="*/ 692983 h 1088769"/>
              <a:gd name="connsiteX67" fmla="*/ 7694744 w 11823056"/>
              <a:gd name="connsiteY67" fmla="*/ 388078 h 1088769"/>
              <a:gd name="connsiteX68" fmla="*/ 7875136 w 11823056"/>
              <a:gd name="connsiteY68" fmla="*/ 692983 h 1088769"/>
              <a:gd name="connsiteX69" fmla="*/ 7694744 w 11823056"/>
              <a:gd name="connsiteY69" fmla="*/ 997887 h 1088769"/>
              <a:gd name="connsiteX70" fmla="*/ 7694744 w 11823056"/>
              <a:gd name="connsiteY70" fmla="*/ 306324 h 1088769"/>
              <a:gd name="connsiteX71" fmla="*/ 7328015 w 11823056"/>
              <a:gd name="connsiteY71" fmla="*/ 692983 h 1088769"/>
              <a:gd name="connsiteX72" fmla="*/ 7694744 w 11823056"/>
              <a:gd name="connsiteY72" fmla="*/ 1079641 h 1088769"/>
              <a:gd name="connsiteX73" fmla="*/ 8061473 w 11823056"/>
              <a:gd name="connsiteY73" fmla="*/ 692983 h 1088769"/>
              <a:gd name="connsiteX74" fmla="*/ 7694744 w 11823056"/>
              <a:gd name="connsiteY74" fmla="*/ 306324 h 1088769"/>
              <a:gd name="connsiteX75" fmla="*/ 9334262 w 11823056"/>
              <a:gd name="connsiteY75" fmla="*/ 306324 h 1088769"/>
              <a:gd name="connsiteX76" fmla="*/ 9126810 w 11823056"/>
              <a:gd name="connsiteY76" fmla="*/ 414856 h 1088769"/>
              <a:gd name="connsiteX77" fmla="*/ 9117791 w 11823056"/>
              <a:gd name="connsiteY77" fmla="*/ 414856 h 1088769"/>
              <a:gd name="connsiteX78" fmla="*/ 9117791 w 11823056"/>
              <a:gd name="connsiteY78" fmla="*/ 321133 h 1088769"/>
              <a:gd name="connsiteX79" fmla="*/ 8940474 w 11823056"/>
              <a:gd name="connsiteY79" fmla="*/ 321133 h 1088769"/>
              <a:gd name="connsiteX80" fmla="*/ 8940474 w 11823056"/>
              <a:gd name="connsiteY80" fmla="*/ 1064832 h 1088769"/>
              <a:gd name="connsiteX81" fmla="*/ 9117791 w 11823056"/>
              <a:gd name="connsiteY81" fmla="*/ 1064832 h 1088769"/>
              <a:gd name="connsiteX82" fmla="*/ 9117791 w 11823056"/>
              <a:gd name="connsiteY82" fmla="*/ 584451 h 1088769"/>
              <a:gd name="connsiteX83" fmla="*/ 9266614 w 11823056"/>
              <a:gd name="connsiteY83" fmla="*/ 410393 h 1088769"/>
              <a:gd name="connsiteX84" fmla="*/ 9394324 w 11823056"/>
              <a:gd name="connsiteY84" fmla="*/ 556253 h 1088769"/>
              <a:gd name="connsiteX85" fmla="*/ 9394324 w 11823056"/>
              <a:gd name="connsiteY85" fmla="*/ 1064832 h 1088769"/>
              <a:gd name="connsiteX86" fmla="*/ 9571641 w 11823056"/>
              <a:gd name="connsiteY86" fmla="*/ 1064832 h 1088769"/>
              <a:gd name="connsiteX87" fmla="*/ 9571641 w 11823056"/>
              <a:gd name="connsiteY87" fmla="*/ 554630 h 1088769"/>
              <a:gd name="connsiteX88" fmla="*/ 9334262 w 11823056"/>
              <a:gd name="connsiteY88" fmla="*/ 306324 h 1088769"/>
              <a:gd name="connsiteX89" fmla="*/ 9974653 w 11823056"/>
              <a:gd name="connsiteY89" fmla="*/ 306324 h 1088769"/>
              <a:gd name="connsiteX90" fmla="*/ 9687666 w 11823056"/>
              <a:gd name="connsiteY90" fmla="*/ 520548 h 1088769"/>
              <a:gd name="connsiteX91" fmla="*/ 9869493 w 11823056"/>
              <a:gd name="connsiteY91" fmla="*/ 734773 h 1088769"/>
              <a:gd name="connsiteX92" fmla="*/ 10019751 w 11823056"/>
              <a:gd name="connsiteY92" fmla="*/ 771897 h 1088769"/>
              <a:gd name="connsiteX93" fmla="*/ 10135571 w 11823056"/>
              <a:gd name="connsiteY93" fmla="*/ 882052 h 1088769"/>
              <a:gd name="connsiteX94" fmla="*/ 9986747 w 11823056"/>
              <a:gd name="connsiteY94" fmla="*/ 1001133 h 1088769"/>
              <a:gd name="connsiteX95" fmla="*/ 9815375 w 11823056"/>
              <a:gd name="connsiteY95" fmla="*/ 828699 h 1088769"/>
              <a:gd name="connsiteX96" fmla="*/ 9656097 w 11823056"/>
              <a:gd name="connsiteY96" fmla="*/ 873329 h 1088769"/>
              <a:gd name="connsiteX97" fmla="*/ 9967273 w 11823056"/>
              <a:gd name="connsiteY97" fmla="*/ 1080047 h 1088769"/>
              <a:gd name="connsiteX98" fmla="*/ 10279884 w 11823056"/>
              <a:gd name="connsiteY98" fmla="*/ 837625 h 1088769"/>
              <a:gd name="connsiteX99" fmla="*/ 10080018 w 11823056"/>
              <a:gd name="connsiteY99" fmla="*/ 614474 h 1088769"/>
              <a:gd name="connsiteX100" fmla="*/ 9935705 w 11823056"/>
              <a:gd name="connsiteY100" fmla="*/ 578770 h 1088769"/>
              <a:gd name="connsiteX101" fmla="*/ 9831980 w 11823056"/>
              <a:gd name="connsiteY101" fmla="*/ 480584 h 1088769"/>
              <a:gd name="connsiteX102" fmla="*/ 9959688 w 11823056"/>
              <a:gd name="connsiteY102" fmla="*/ 385441 h 1088769"/>
              <a:gd name="connsiteX103" fmla="*/ 10113022 w 11823056"/>
              <a:gd name="connsiteY103" fmla="*/ 528257 h 1088769"/>
              <a:gd name="connsiteX104" fmla="*/ 10263280 w 11823056"/>
              <a:gd name="connsiteY104" fmla="*/ 483627 h 1088769"/>
              <a:gd name="connsiteX105" fmla="*/ 9974653 w 11823056"/>
              <a:gd name="connsiteY105" fmla="*/ 306324 h 1088769"/>
              <a:gd name="connsiteX106" fmla="*/ 10720000 w 11823056"/>
              <a:gd name="connsiteY106" fmla="*/ 997887 h 1088769"/>
              <a:gd name="connsiteX107" fmla="*/ 10539607 w 11823056"/>
              <a:gd name="connsiteY107" fmla="*/ 692983 h 1088769"/>
              <a:gd name="connsiteX108" fmla="*/ 10720000 w 11823056"/>
              <a:gd name="connsiteY108" fmla="*/ 388078 h 1088769"/>
              <a:gd name="connsiteX109" fmla="*/ 10900392 w 11823056"/>
              <a:gd name="connsiteY109" fmla="*/ 692983 h 1088769"/>
              <a:gd name="connsiteX110" fmla="*/ 10720000 w 11823056"/>
              <a:gd name="connsiteY110" fmla="*/ 997887 h 1088769"/>
              <a:gd name="connsiteX111" fmla="*/ 10720000 w 11823056"/>
              <a:gd name="connsiteY111" fmla="*/ 306324 h 1088769"/>
              <a:gd name="connsiteX112" fmla="*/ 10353271 w 11823056"/>
              <a:gd name="connsiteY112" fmla="*/ 692983 h 1088769"/>
              <a:gd name="connsiteX113" fmla="*/ 10720000 w 11823056"/>
              <a:gd name="connsiteY113" fmla="*/ 1079641 h 1088769"/>
              <a:gd name="connsiteX114" fmla="*/ 11086728 w 11823056"/>
              <a:gd name="connsiteY114" fmla="*/ 692983 h 1088769"/>
              <a:gd name="connsiteX115" fmla="*/ 10720000 w 11823056"/>
              <a:gd name="connsiteY115" fmla="*/ 306324 h 1088769"/>
              <a:gd name="connsiteX116" fmla="*/ 11585677 w 11823056"/>
              <a:gd name="connsiteY116" fmla="*/ 306324 h 1088769"/>
              <a:gd name="connsiteX117" fmla="*/ 11378226 w 11823056"/>
              <a:gd name="connsiteY117" fmla="*/ 414856 h 1088769"/>
              <a:gd name="connsiteX118" fmla="*/ 11369206 w 11823056"/>
              <a:gd name="connsiteY118" fmla="*/ 414856 h 1088769"/>
              <a:gd name="connsiteX119" fmla="*/ 11369206 w 11823056"/>
              <a:gd name="connsiteY119" fmla="*/ 321133 h 1088769"/>
              <a:gd name="connsiteX120" fmla="*/ 11191889 w 11823056"/>
              <a:gd name="connsiteY120" fmla="*/ 321133 h 1088769"/>
              <a:gd name="connsiteX121" fmla="*/ 11191889 w 11823056"/>
              <a:gd name="connsiteY121" fmla="*/ 1064832 h 1088769"/>
              <a:gd name="connsiteX122" fmla="*/ 11369206 w 11823056"/>
              <a:gd name="connsiteY122" fmla="*/ 1064832 h 1088769"/>
              <a:gd name="connsiteX123" fmla="*/ 11369206 w 11823056"/>
              <a:gd name="connsiteY123" fmla="*/ 584451 h 1088769"/>
              <a:gd name="connsiteX124" fmla="*/ 11518030 w 11823056"/>
              <a:gd name="connsiteY124" fmla="*/ 410393 h 1088769"/>
              <a:gd name="connsiteX125" fmla="*/ 11645739 w 11823056"/>
              <a:gd name="connsiteY125" fmla="*/ 556253 h 1088769"/>
              <a:gd name="connsiteX126" fmla="*/ 11645739 w 11823056"/>
              <a:gd name="connsiteY126" fmla="*/ 1064832 h 1088769"/>
              <a:gd name="connsiteX127" fmla="*/ 11823056 w 11823056"/>
              <a:gd name="connsiteY127" fmla="*/ 1064832 h 1088769"/>
              <a:gd name="connsiteX128" fmla="*/ 11823056 w 11823056"/>
              <a:gd name="connsiteY128" fmla="*/ 554630 h 1088769"/>
              <a:gd name="connsiteX129" fmla="*/ 11585677 w 11823056"/>
              <a:gd name="connsiteY129" fmla="*/ 306324 h 1088769"/>
              <a:gd name="connsiteX130" fmla="*/ 697379 w 11823056"/>
              <a:gd name="connsiteY130" fmla="*/ 23735 h 1088769"/>
              <a:gd name="connsiteX131" fmla="*/ 511042 w 11823056"/>
              <a:gd name="connsiteY131" fmla="*/ 23735 h 1088769"/>
              <a:gd name="connsiteX132" fmla="*/ 511042 w 11823056"/>
              <a:gd name="connsiteY132" fmla="*/ 792589 h 1088769"/>
              <a:gd name="connsiteX133" fmla="*/ 348690 w 11823056"/>
              <a:gd name="connsiteY133" fmla="*/ 991801 h 1088769"/>
              <a:gd name="connsiteX134" fmla="*/ 186337 w 11823056"/>
              <a:gd name="connsiteY134" fmla="*/ 777577 h 1088769"/>
              <a:gd name="connsiteX135" fmla="*/ 186337 w 11823056"/>
              <a:gd name="connsiteY135" fmla="*/ 634761 h 1088769"/>
              <a:gd name="connsiteX136" fmla="*/ 0 w 11823056"/>
              <a:gd name="connsiteY136" fmla="*/ 680811 h 1088769"/>
              <a:gd name="connsiteX137" fmla="*/ 0 w 11823056"/>
              <a:gd name="connsiteY137" fmla="*/ 744713 h 1088769"/>
              <a:gd name="connsiteX138" fmla="*/ 348690 w 11823056"/>
              <a:gd name="connsiteY138" fmla="*/ 1088364 h 1088769"/>
              <a:gd name="connsiteX139" fmla="*/ 697379 w 11823056"/>
              <a:gd name="connsiteY139" fmla="*/ 744713 h 1088769"/>
              <a:gd name="connsiteX140" fmla="*/ 697379 w 11823056"/>
              <a:gd name="connsiteY140" fmla="*/ 23735 h 1088769"/>
              <a:gd name="connsiteX141" fmla="*/ 1818474 w 11823056"/>
              <a:gd name="connsiteY141" fmla="*/ 23735 h 1088769"/>
              <a:gd name="connsiteX142" fmla="*/ 1641157 w 11823056"/>
              <a:gd name="connsiteY142" fmla="*/ 23735 h 1088769"/>
              <a:gd name="connsiteX143" fmla="*/ 1641157 w 11823056"/>
              <a:gd name="connsiteY143" fmla="*/ 1064832 h 1088769"/>
              <a:gd name="connsiteX144" fmla="*/ 1818474 w 11823056"/>
              <a:gd name="connsiteY144" fmla="*/ 1064832 h 1088769"/>
              <a:gd name="connsiteX145" fmla="*/ 1818474 w 11823056"/>
              <a:gd name="connsiteY145" fmla="*/ 584451 h 1088769"/>
              <a:gd name="connsiteX146" fmla="*/ 1967298 w 11823056"/>
              <a:gd name="connsiteY146" fmla="*/ 410393 h 1088769"/>
              <a:gd name="connsiteX147" fmla="*/ 2095007 w 11823056"/>
              <a:gd name="connsiteY147" fmla="*/ 556253 h 1088769"/>
              <a:gd name="connsiteX148" fmla="*/ 2095007 w 11823056"/>
              <a:gd name="connsiteY148" fmla="*/ 1064832 h 1088769"/>
              <a:gd name="connsiteX149" fmla="*/ 2272324 w 11823056"/>
              <a:gd name="connsiteY149" fmla="*/ 1064832 h 1088769"/>
              <a:gd name="connsiteX150" fmla="*/ 2272324 w 11823056"/>
              <a:gd name="connsiteY150" fmla="*/ 554630 h 1088769"/>
              <a:gd name="connsiteX151" fmla="*/ 2034945 w 11823056"/>
              <a:gd name="connsiteY151" fmla="*/ 306324 h 1088769"/>
              <a:gd name="connsiteX152" fmla="*/ 1827494 w 11823056"/>
              <a:gd name="connsiteY152" fmla="*/ 414856 h 1088769"/>
              <a:gd name="connsiteX153" fmla="*/ 1818474 w 11823056"/>
              <a:gd name="connsiteY153" fmla="*/ 414856 h 1088769"/>
              <a:gd name="connsiteX154" fmla="*/ 1818474 w 11823056"/>
              <a:gd name="connsiteY154" fmla="*/ 23735 h 1088769"/>
              <a:gd name="connsiteX155" fmla="*/ 7222855 w 11823056"/>
              <a:gd name="connsiteY155" fmla="*/ 23735 h 1088769"/>
              <a:gd name="connsiteX156" fmla="*/ 7036518 w 11823056"/>
              <a:gd name="connsiteY156" fmla="*/ 23735 h 1088769"/>
              <a:gd name="connsiteX157" fmla="*/ 7036518 w 11823056"/>
              <a:gd name="connsiteY157" fmla="*/ 792589 h 1088769"/>
              <a:gd name="connsiteX158" fmla="*/ 6874166 w 11823056"/>
              <a:gd name="connsiteY158" fmla="*/ 991801 h 1088769"/>
              <a:gd name="connsiteX159" fmla="*/ 6711813 w 11823056"/>
              <a:gd name="connsiteY159" fmla="*/ 777577 h 1088769"/>
              <a:gd name="connsiteX160" fmla="*/ 6711813 w 11823056"/>
              <a:gd name="connsiteY160" fmla="*/ 634761 h 1088769"/>
              <a:gd name="connsiteX161" fmla="*/ 6525476 w 11823056"/>
              <a:gd name="connsiteY161" fmla="*/ 680811 h 1088769"/>
              <a:gd name="connsiteX162" fmla="*/ 6525476 w 11823056"/>
              <a:gd name="connsiteY162" fmla="*/ 744713 h 1088769"/>
              <a:gd name="connsiteX163" fmla="*/ 6874166 w 11823056"/>
              <a:gd name="connsiteY163" fmla="*/ 1088364 h 1088769"/>
              <a:gd name="connsiteX164" fmla="*/ 7222855 w 11823056"/>
              <a:gd name="connsiteY164" fmla="*/ 744713 h 1088769"/>
              <a:gd name="connsiteX165" fmla="*/ 7222855 w 11823056"/>
              <a:gd name="connsiteY165" fmla="*/ 23735 h 1088769"/>
              <a:gd name="connsiteX166" fmla="*/ 8343950 w 11823056"/>
              <a:gd name="connsiteY166" fmla="*/ 23735 h 1088769"/>
              <a:gd name="connsiteX167" fmla="*/ 8166633 w 11823056"/>
              <a:gd name="connsiteY167" fmla="*/ 23735 h 1088769"/>
              <a:gd name="connsiteX168" fmla="*/ 8166633 w 11823056"/>
              <a:gd name="connsiteY168" fmla="*/ 1064832 h 1088769"/>
              <a:gd name="connsiteX169" fmla="*/ 8343950 w 11823056"/>
              <a:gd name="connsiteY169" fmla="*/ 1064832 h 1088769"/>
              <a:gd name="connsiteX170" fmla="*/ 8343950 w 11823056"/>
              <a:gd name="connsiteY170" fmla="*/ 584451 h 1088769"/>
              <a:gd name="connsiteX171" fmla="*/ 8492774 w 11823056"/>
              <a:gd name="connsiteY171" fmla="*/ 410393 h 1088769"/>
              <a:gd name="connsiteX172" fmla="*/ 8620483 w 11823056"/>
              <a:gd name="connsiteY172" fmla="*/ 556253 h 1088769"/>
              <a:gd name="connsiteX173" fmla="*/ 8620483 w 11823056"/>
              <a:gd name="connsiteY173" fmla="*/ 1064832 h 1088769"/>
              <a:gd name="connsiteX174" fmla="*/ 8797800 w 11823056"/>
              <a:gd name="connsiteY174" fmla="*/ 1064832 h 1088769"/>
              <a:gd name="connsiteX175" fmla="*/ 8797800 w 11823056"/>
              <a:gd name="connsiteY175" fmla="*/ 554630 h 1088769"/>
              <a:gd name="connsiteX176" fmla="*/ 8560421 w 11823056"/>
              <a:gd name="connsiteY176" fmla="*/ 306324 h 1088769"/>
              <a:gd name="connsiteX177" fmla="*/ 8352970 w 11823056"/>
              <a:gd name="connsiteY177" fmla="*/ 414856 h 1088769"/>
              <a:gd name="connsiteX178" fmla="*/ 8343950 w 11823056"/>
              <a:gd name="connsiteY178" fmla="*/ 414856 h 1088769"/>
              <a:gd name="connsiteX179" fmla="*/ 8343950 w 11823056"/>
              <a:gd name="connsiteY179" fmla="*/ 23735 h 1088769"/>
              <a:gd name="connsiteX180" fmla="*/ 5882214 w 11823056"/>
              <a:gd name="connsiteY180" fmla="*/ 980035 h 1088769"/>
              <a:gd name="connsiteX181" fmla="*/ 5649345 w 11823056"/>
              <a:gd name="connsiteY181" fmla="*/ 740656 h 1088769"/>
              <a:gd name="connsiteX182" fmla="*/ 5740976 w 11823056"/>
              <a:gd name="connsiteY182" fmla="*/ 551790 h 1088769"/>
              <a:gd name="connsiteX183" fmla="*/ 6080646 w 11823056"/>
              <a:gd name="connsiteY183" fmla="*/ 919176 h 1088769"/>
              <a:gd name="connsiteX184" fmla="*/ 5882214 w 11823056"/>
              <a:gd name="connsiteY184" fmla="*/ 980035 h 1088769"/>
              <a:gd name="connsiteX185" fmla="*/ 6212865 w 11823056"/>
              <a:gd name="connsiteY185" fmla="*/ 797052 h 1088769"/>
              <a:gd name="connsiteX186" fmla="*/ 5918293 w 11823056"/>
              <a:gd name="connsiteY186" fmla="*/ 475716 h 1088769"/>
              <a:gd name="connsiteX187" fmla="*/ 6064042 w 11823056"/>
              <a:gd name="connsiteY187" fmla="*/ 447518 h 1088769"/>
              <a:gd name="connsiteX188" fmla="*/ 6260833 w 11823056"/>
              <a:gd name="connsiteY188" fmla="*/ 638007 h 1088769"/>
              <a:gd name="connsiteX189" fmla="*/ 6212865 w 11823056"/>
              <a:gd name="connsiteY189" fmla="*/ 797052 h 1088769"/>
              <a:gd name="connsiteX190" fmla="*/ 5877705 w 11823056"/>
              <a:gd name="connsiteY190" fmla="*/ 432708 h 1088769"/>
              <a:gd name="connsiteX191" fmla="*/ 5813132 w 11823056"/>
              <a:gd name="connsiteY191" fmla="*/ 361300 h 1088769"/>
              <a:gd name="connsiteX192" fmla="*/ 5739541 w 11823056"/>
              <a:gd name="connsiteY192" fmla="*/ 214021 h 1088769"/>
              <a:gd name="connsiteX193" fmla="*/ 5882214 w 11823056"/>
              <a:gd name="connsiteY193" fmla="*/ 78711 h 1088769"/>
              <a:gd name="connsiteX194" fmla="*/ 6023453 w 11823056"/>
              <a:gd name="connsiteY194" fmla="*/ 221527 h 1088769"/>
              <a:gd name="connsiteX195" fmla="*/ 5877705 w 11823056"/>
              <a:gd name="connsiteY195" fmla="*/ 432708 h 1088769"/>
              <a:gd name="connsiteX196" fmla="*/ 5886724 w 11823056"/>
              <a:gd name="connsiteY196" fmla="*/ 0 h 1088769"/>
              <a:gd name="connsiteX197" fmla="*/ 5577188 w 11823056"/>
              <a:gd name="connsiteY197" fmla="*/ 257231 h 1088769"/>
              <a:gd name="connsiteX198" fmla="*/ 5697518 w 11823056"/>
              <a:gd name="connsiteY198" fmla="*/ 505537 h 1088769"/>
              <a:gd name="connsiteX199" fmla="*/ 5698952 w 11823056"/>
              <a:gd name="connsiteY199" fmla="*/ 508580 h 1088769"/>
              <a:gd name="connsiteX200" fmla="*/ 5484122 w 11823056"/>
              <a:gd name="connsiteY200" fmla="*/ 807601 h 1088769"/>
              <a:gd name="connsiteX201" fmla="*/ 5786279 w 11823056"/>
              <a:gd name="connsiteY201" fmla="*/ 1088770 h 1088769"/>
              <a:gd name="connsiteX202" fmla="*/ 6125949 w 11823056"/>
              <a:gd name="connsiteY202" fmla="*/ 968269 h 1088769"/>
              <a:gd name="connsiteX203" fmla="*/ 6216145 w 11823056"/>
              <a:gd name="connsiteY203" fmla="*/ 1065035 h 1088769"/>
              <a:gd name="connsiteX204" fmla="*/ 6452089 w 11823056"/>
              <a:gd name="connsiteY204" fmla="*/ 1065035 h 1088769"/>
              <a:gd name="connsiteX205" fmla="*/ 6452089 w 11823056"/>
              <a:gd name="connsiteY205" fmla="*/ 1057529 h 1088769"/>
              <a:gd name="connsiteX206" fmla="*/ 6259808 w 11823056"/>
              <a:gd name="connsiteY206" fmla="*/ 847768 h 1088769"/>
              <a:gd name="connsiteX207" fmla="*/ 6387517 w 11823056"/>
              <a:gd name="connsiteY207" fmla="*/ 557673 h 1088769"/>
              <a:gd name="connsiteX208" fmla="*/ 6190726 w 11823056"/>
              <a:gd name="connsiteY208" fmla="*/ 368806 h 1088769"/>
              <a:gd name="connsiteX209" fmla="*/ 6010334 w 11823056"/>
              <a:gd name="connsiteY209" fmla="*/ 404510 h 1088769"/>
              <a:gd name="connsiteX210" fmla="*/ 6007259 w 11823056"/>
              <a:gd name="connsiteY210" fmla="*/ 398627 h 1088769"/>
              <a:gd name="connsiteX211" fmla="*/ 6169612 w 11823056"/>
              <a:gd name="connsiteY211" fmla="*/ 202255 h 1088769"/>
              <a:gd name="connsiteX212" fmla="*/ 5886724 w 11823056"/>
              <a:gd name="connsiteY212" fmla="*/ 0 h 1088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11823056" h="1088769">
                <a:moveTo>
                  <a:pt x="1169268" y="997887"/>
                </a:moveTo>
                <a:cubicBezTo>
                  <a:pt x="1053448" y="997887"/>
                  <a:pt x="988876" y="889355"/>
                  <a:pt x="988876" y="692983"/>
                </a:cubicBezTo>
                <a:cubicBezTo>
                  <a:pt x="988876" y="493568"/>
                  <a:pt x="1053448" y="388078"/>
                  <a:pt x="1169268" y="388078"/>
                </a:cubicBezTo>
                <a:cubicBezTo>
                  <a:pt x="1285088" y="388078"/>
                  <a:pt x="1349660" y="495191"/>
                  <a:pt x="1349660" y="692983"/>
                </a:cubicBezTo>
                <a:cubicBezTo>
                  <a:pt x="1349455" y="892398"/>
                  <a:pt x="1284883" y="997887"/>
                  <a:pt x="1169268" y="997887"/>
                </a:cubicBezTo>
                <a:moveTo>
                  <a:pt x="1169268" y="306324"/>
                </a:moveTo>
                <a:cubicBezTo>
                  <a:pt x="933324" y="306324"/>
                  <a:pt x="802539" y="480381"/>
                  <a:pt x="802539" y="692983"/>
                </a:cubicBezTo>
                <a:cubicBezTo>
                  <a:pt x="802539" y="905584"/>
                  <a:pt x="933324" y="1079641"/>
                  <a:pt x="1169268" y="1079641"/>
                </a:cubicBezTo>
                <a:cubicBezTo>
                  <a:pt x="1405213" y="1079641"/>
                  <a:pt x="1535997" y="905584"/>
                  <a:pt x="1535997" y="692983"/>
                </a:cubicBezTo>
                <a:cubicBezTo>
                  <a:pt x="1535997" y="480381"/>
                  <a:pt x="1405213" y="306324"/>
                  <a:pt x="1169268" y="306324"/>
                </a:cubicBezTo>
                <a:moveTo>
                  <a:pt x="2808786" y="306324"/>
                </a:moveTo>
                <a:cubicBezTo>
                  <a:pt x="2697476" y="306324"/>
                  <a:pt x="2635978" y="353997"/>
                  <a:pt x="2601335" y="414856"/>
                </a:cubicBezTo>
                <a:lnTo>
                  <a:pt x="2592315" y="414856"/>
                </a:lnTo>
                <a:lnTo>
                  <a:pt x="2592315" y="321133"/>
                </a:lnTo>
                <a:lnTo>
                  <a:pt x="2414998" y="321133"/>
                </a:lnTo>
                <a:lnTo>
                  <a:pt x="2414998" y="1064832"/>
                </a:lnTo>
                <a:lnTo>
                  <a:pt x="2592315" y="1064832"/>
                </a:lnTo>
                <a:lnTo>
                  <a:pt x="2592315" y="584451"/>
                </a:lnTo>
                <a:cubicBezTo>
                  <a:pt x="2592315" y="474498"/>
                  <a:pt x="2649508" y="410393"/>
                  <a:pt x="2741139" y="410393"/>
                </a:cubicBezTo>
                <a:cubicBezTo>
                  <a:pt x="2829900" y="410393"/>
                  <a:pt x="2868848" y="468413"/>
                  <a:pt x="2868848" y="556253"/>
                </a:cubicBezTo>
                <a:lnTo>
                  <a:pt x="2868848" y="1064832"/>
                </a:lnTo>
                <a:lnTo>
                  <a:pt x="3046165" y="1064832"/>
                </a:lnTo>
                <a:lnTo>
                  <a:pt x="3046165" y="554630"/>
                </a:lnTo>
                <a:cubicBezTo>
                  <a:pt x="3046370" y="401467"/>
                  <a:pt x="2965194" y="306324"/>
                  <a:pt x="2808786" y="306324"/>
                </a:cubicBezTo>
                <a:moveTo>
                  <a:pt x="3448972" y="306324"/>
                </a:moveTo>
                <a:cubicBezTo>
                  <a:pt x="3285185" y="306324"/>
                  <a:pt x="3161985" y="374689"/>
                  <a:pt x="3161985" y="520548"/>
                </a:cubicBezTo>
                <a:cubicBezTo>
                  <a:pt x="3161985" y="644093"/>
                  <a:pt x="3247671" y="711038"/>
                  <a:pt x="3343812" y="734773"/>
                </a:cubicBezTo>
                <a:lnTo>
                  <a:pt x="3494070" y="771897"/>
                </a:lnTo>
                <a:cubicBezTo>
                  <a:pt x="3573812" y="791169"/>
                  <a:pt x="3609890" y="819570"/>
                  <a:pt x="3609890" y="882052"/>
                </a:cubicBezTo>
                <a:cubicBezTo>
                  <a:pt x="3609890" y="957923"/>
                  <a:pt x="3555773" y="1001133"/>
                  <a:pt x="3461067" y="1001133"/>
                </a:cubicBezTo>
                <a:cubicBezTo>
                  <a:pt x="3358776" y="1001133"/>
                  <a:pt x="3306299" y="952040"/>
                  <a:pt x="3289694" y="828699"/>
                </a:cubicBezTo>
                <a:lnTo>
                  <a:pt x="3130416" y="873329"/>
                </a:lnTo>
                <a:cubicBezTo>
                  <a:pt x="3139436" y="1001336"/>
                  <a:pt x="3259766" y="1080047"/>
                  <a:pt x="3441593" y="1080047"/>
                </a:cubicBezTo>
                <a:cubicBezTo>
                  <a:pt x="3644534" y="1080047"/>
                  <a:pt x="3754204" y="986324"/>
                  <a:pt x="3754204" y="837625"/>
                </a:cubicBezTo>
                <a:cubicBezTo>
                  <a:pt x="3754204" y="697851"/>
                  <a:pt x="3656423" y="639832"/>
                  <a:pt x="3554338" y="614474"/>
                </a:cubicBezTo>
                <a:lnTo>
                  <a:pt x="3410024" y="578770"/>
                </a:lnTo>
                <a:cubicBezTo>
                  <a:pt x="3337867" y="560918"/>
                  <a:pt x="3306299" y="528257"/>
                  <a:pt x="3306299" y="480584"/>
                </a:cubicBezTo>
                <a:cubicBezTo>
                  <a:pt x="3306299" y="421145"/>
                  <a:pt x="3357341" y="385441"/>
                  <a:pt x="3434008" y="385441"/>
                </a:cubicBezTo>
                <a:cubicBezTo>
                  <a:pt x="3524204" y="385441"/>
                  <a:pt x="3579756" y="434534"/>
                  <a:pt x="3587341" y="528257"/>
                </a:cubicBezTo>
                <a:lnTo>
                  <a:pt x="3737599" y="483627"/>
                </a:lnTo>
                <a:cubicBezTo>
                  <a:pt x="3719560" y="379152"/>
                  <a:pt x="3615835" y="306324"/>
                  <a:pt x="3448972" y="306324"/>
                </a:cubicBezTo>
                <a:moveTo>
                  <a:pt x="4194524" y="997887"/>
                </a:moveTo>
                <a:cubicBezTo>
                  <a:pt x="4078704" y="997887"/>
                  <a:pt x="4014132" y="889355"/>
                  <a:pt x="4014132" y="692983"/>
                </a:cubicBezTo>
                <a:cubicBezTo>
                  <a:pt x="4014132" y="493568"/>
                  <a:pt x="4078704" y="388078"/>
                  <a:pt x="4194524" y="388078"/>
                </a:cubicBezTo>
                <a:cubicBezTo>
                  <a:pt x="4310344" y="388078"/>
                  <a:pt x="4374916" y="495191"/>
                  <a:pt x="4374916" y="692983"/>
                </a:cubicBezTo>
                <a:cubicBezTo>
                  <a:pt x="4374916" y="892398"/>
                  <a:pt x="4310139" y="997887"/>
                  <a:pt x="4194524" y="997887"/>
                </a:cubicBezTo>
                <a:moveTo>
                  <a:pt x="4194524" y="306324"/>
                </a:moveTo>
                <a:cubicBezTo>
                  <a:pt x="3958580" y="306324"/>
                  <a:pt x="3827796" y="480381"/>
                  <a:pt x="3827796" y="692983"/>
                </a:cubicBezTo>
                <a:cubicBezTo>
                  <a:pt x="3827796" y="905584"/>
                  <a:pt x="3958580" y="1079641"/>
                  <a:pt x="4194524" y="1079641"/>
                </a:cubicBezTo>
                <a:cubicBezTo>
                  <a:pt x="4430469" y="1079641"/>
                  <a:pt x="4561253" y="905584"/>
                  <a:pt x="4561253" y="692983"/>
                </a:cubicBezTo>
                <a:cubicBezTo>
                  <a:pt x="4561253" y="480381"/>
                  <a:pt x="4430469" y="306324"/>
                  <a:pt x="4194524" y="306324"/>
                </a:cubicBezTo>
                <a:moveTo>
                  <a:pt x="5060201" y="306324"/>
                </a:moveTo>
                <a:cubicBezTo>
                  <a:pt x="4948891" y="306324"/>
                  <a:pt x="4887394" y="353997"/>
                  <a:pt x="4852750" y="414856"/>
                </a:cubicBezTo>
                <a:lnTo>
                  <a:pt x="4843731" y="414856"/>
                </a:lnTo>
                <a:lnTo>
                  <a:pt x="4843731" y="321133"/>
                </a:lnTo>
                <a:lnTo>
                  <a:pt x="4666414" y="321133"/>
                </a:lnTo>
                <a:lnTo>
                  <a:pt x="4666414" y="1064832"/>
                </a:lnTo>
                <a:lnTo>
                  <a:pt x="4843731" y="1064832"/>
                </a:lnTo>
                <a:lnTo>
                  <a:pt x="4843731" y="584451"/>
                </a:lnTo>
                <a:cubicBezTo>
                  <a:pt x="4843731" y="474498"/>
                  <a:pt x="4900923" y="410393"/>
                  <a:pt x="4992554" y="410393"/>
                </a:cubicBezTo>
                <a:cubicBezTo>
                  <a:pt x="5081315" y="410393"/>
                  <a:pt x="5120263" y="468413"/>
                  <a:pt x="5120263" y="556253"/>
                </a:cubicBezTo>
                <a:lnTo>
                  <a:pt x="5120263" y="1064832"/>
                </a:lnTo>
                <a:lnTo>
                  <a:pt x="5297580" y="1064832"/>
                </a:lnTo>
                <a:lnTo>
                  <a:pt x="5297580" y="554630"/>
                </a:lnTo>
                <a:cubicBezTo>
                  <a:pt x="5297580" y="401467"/>
                  <a:pt x="5216404" y="306324"/>
                  <a:pt x="5060201" y="306324"/>
                </a:cubicBezTo>
                <a:moveTo>
                  <a:pt x="7694744" y="997887"/>
                </a:moveTo>
                <a:cubicBezTo>
                  <a:pt x="7578925" y="997887"/>
                  <a:pt x="7514353" y="889355"/>
                  <a:pt x="7514353" y="692983"/>
                </a:cubicBezTo>
                <a:cubicBezTo>
                  <a:pt x="7514353" y="493568"/>
                  <a:pt x="7578925" y="388078"/>
                  <a:pt x="7694744" y="388078"/>
                </a:cubicBezTo>
                <a:cubicBezTo>
                  <a:pt x="7810564" y="388078"/>
                  <a:pt x="7875136" y="495191"/>
                  <a:pt x="7875136" y="692983"/>
                </a:cubicBezTo>
                <a:cubicBezTo>
                  <a:pt x="7875136" y="892398"/>
                  <a:pt x="7810359" y="997887"/>
                  <a:pt x="7694744" y="997887"/>
                </a:cubicBezTo>
                <a:moveTo>
                  <a:pt x="7694744" y="306324"/>
                </a:moveTo>
                <a:cubicBezTo>
                  <a:pt x="7458800" y="306324"/>
                  <a:pt x="7328015" y="480381"/>
                  <a:pt x="7328015" y="692983"/>
                </a:cubicBezTo>
                <a:cubicBezTo>
                  <a:pt x="7328015" y="905584"/>
                  <a:pt x="7458800" y="1079641"/>
                  <a:pt x="7694744" y="1079641"/>
                </a:cubicBezTo>
                <a:cubicBezTo>
                  <a:pt x="7930689" y="1079641"/>
                  <a:pt x="8061473" y="905584"/>
                  <a:pt x="8061473" y="692983"/>
                </a:cubicBezTo>
                <a:cubicBezTo>
                  <a:pt x="8061473" y="480381"/>
                  <a:pt x="7930689" y="306324"/>
                  <a:pt x="7694744" y="306324"/>
                </a:cubicBezTo>
                <a:moveTo>
                  <a:pt x="9334262" y="306324"/>
                </a:moveTo>
                <a:cubicBezTo>
                  <a:pt x="9222951" y="306324"/>
                  <a:pt x="9161454" y="353997"/>
                  <a:pt x="9126810" y="414856"/>
                </a:cubicBezTo>
                <a:lnTo>
                  <a:pt x="9117791" y="414856"/>
                </a:lnTo>
                <a:lnTo>
                  <a:pt x="9117791" y="321133"/>
                </a:lnTo>
                <a:lnTo>
                  <a:pt x="8940474" y="321133"/>
                </a:lnTo>
                <a:lnTo>
                  <a:pt x="8940474" y="1064832"/>
                </a:lnTo>
                <a:lnTo>
                  <a:pt x="9117791" y="1064832"/>
                </a:lnTo>
                <a:lnTo>
                  <a:pt x="9117791" y="584451"/>
                </a:lnTo>
                <a:cubicBezTo>
                  <a:pt x="9117791" y="474498"/>
                  <a:pt x="9174983" y="410393"/>
                  <a:pt x="9266614" y="410393"/>
                </a:cubicBezTo>
                <a:cubicBezTo>
                  <a:pt x="9355376" y="410393"/>
                  <a:pt x="9394324" y="468413"/>
                  <a:pt x="9394324" y="556253"/>
                </a:cubicBezTo>
                <a:lnTo>
                  <a:pt x="9394324" y="1064832"/>
                </a:lnTo>
                <a:lnTo>
                  <a:pt x="9571641" y="1064832"/>
                </a:lnTo>
                <a:lnTo>
                  <a:pt x="9571641" y="554630"/>
                </a:lnTo>
                <a:cubicBezTo>
                  <a:pt x="9571846" y="401467"/>
                  <a:pt x="9490669" y="306324"/>
                  <a:pt x="9334262" y="306324"/>
                </a:cubicBezTo>
                <a:moveTo>
                  <a:pt x="9974653" y="306324"/>
                </a:moveTo>
                <a:cubicBezTo>
                  <a:pt x="9810865" y="306324"/>
                  <a:pt x="9687666" y="374689"/>
                  <a:pt x="9687666" y="520548"/>
                </a:cubicBezTo>
                <a:cubicBezTo>
                  <a:pt x="9687666" y="644093"/>
                  <a:pt x="9773352" y="711038"/>
                  <a:pt x="9869493" y="734773"/>
                </a:cubicBezTo>
                <a:lnTo>
                  <a:pt x="10019751" y="771897"/>
                </a:lnTo>
                <a:cubicBezTo>
                  <a:pt x="10099492" y="791169"/>
                  <a:pt x="10135571" y="819570"/>
                  <a:pt x="10135571" y="882052"/>
                </a:cubicBezTo>
                <a:cubicBezTo>
                  <a:pt x="10135571" y="957923"/>
                  <a:pt x="10081453" y="1001133"/>
                  <a:pt x="9986747" y="1001133"/>
                </a:cubicBezTo>
                <a:cubicBezTo>
                  <a:pt x="9884457" y="1001133"/>
                  <a:pt x="9831980" y="952040"/>
                  <a:pt x="9815375" y="828699"/>
                </a:cubicBezTo>
                <a:lnTo>
                  <a:pt x="9656097" y="873329"/>
                </a:lnTo>
                <a:cubicBezTo>
                  <a:pt x="9665117" y="1001336"/>
                  <a:pt x="9785446" y="1080047"/>
                  <a:pt x="9967273" y="1080047"/>
                </a:cubicBezTo>
                <a:cubicBezTo>
                  <a:pt x="10170215" y="1080047"/>
                  <a:pt x="10279884" y="986324"/>
                  <a:pt x="10279884" y="837625"/>
                </a:cubicBezTo>
                <a:cubicBezTo>
                  <a:pt x="10279884" y="697851"/>
                  <a:pt x="10182104" y="639832"/>
                  <a:pt x="10080018" y="614474"/>
                </a:cubicBezTo>
                <a:lnTo>
                  <a:pt x="9935705" y="578770"/>
                </a:lnTo>
                <a:cubicBezTo>
                  <a:pt x="9863548" y="560918"/>
                  <a:pt x="9831980" y="528257"/>
                  <a:pt x="9831980" y="480584"/>
                </a:cubicBezTo>
                <a:cubicBezTo>
                  <a:pt x="9831980" y="421145"/>
                  <a:pt x="9883022" y="385441"/>
                  <a:pt x="9959688" y="385441"/>
                </a:cubicBezTo>
                <a:cubicBezTo>
                  <a:pt x="10049884" y="385441"/>
                  <a:pt x="10105437" y="434534"/>
                  <a:pt x="10113022" y="528257"/>
                </a:cubicBezTo>
                <a:lnTo>
                  <a:pt x="10263280" y="483627"/>
                </a:lnTo>
                <a:cubicBezTo>
                  <a:pt x="10245036" y="379152"/>
                  <a:pt x="10141311" y="306324"/>
                  <a:pt x="9974653" y="306324"/>
                </a:cubicBezTo>
                <a:moveTo>
                  <a:pt x="10720000" y="997887"/>
                </a:moveTo>
                <a:cubicBezTo>
                  <a:pt x="10604180" y="997887"/>
                  <a:pt x="10539607" y="889355"/>
                  <a:pt x="10539607" y="692983"/>
                </a:cubicBezTo>
                <a:cubicBezTo>
                  <a:pt x="10539607" y="493568"/>
                  <a:pt x="10604180" y="388078"/>
                  <a:pt x="10720000" y="388078"/>
                </a:cubicBezTo>
                <a:cubicBezTo>
                  <a:pt x="10835819" y="388078"/>
                  <a:pt x="10900392" y="495191"/>
                  <a:pt x="10900392" y="692983"/>
                </a:cubicBezTo>
                <a:cubicBezTo>
                  <a:pt x="10900392" y="892398"/>
                  <a:pt x="10835614" y="997887"/>
                  <a:pt x="10720000" y="997887"/>
                </a:cubicBezTo>
                <a:moveTo>
                  <a:pt x="10720000" y="306324"/>
                </a:moveTo>
                <a:cubicBezTo>
                  <a:pt x="10484056" y="306324"/>
                  <a:pt x="10353271" y="480381"/>
                  <a:pt x="10353271" y="692983"/>
                </a:cubicBezTo>
                <a:cubicBezTo>
                  <a:pt x="10353271" y="905584"/>
                  <a:pt x="10484056" y="1079641"/>
                  <a:pt x="10720000" y="1079641"/>
                </a:cubicBezTo>
                <a:cubicBezTo>
                  <a:pt x="10955945" y="1079641"/>
                  <a:pt x="11086728" y="905584"/>
                  <a:pt x="11086728" y="692983"/>
                </a:cubicBezTo>
                <a:cubicBezTo>
                  <a:pt x="11086728" y="480381"/>
                  <a:pt x="10955945" y="306324"/>
                  <a:pt x="10720000" y="306324"/>
                </a:cubicBezTo>
                <a:moveTo>
                  <a:pt x="11585677" y="306324"/>
                </a:moveTo>
                <a:cubicBezTo>
                  <a:pt x="11474367" y="306324"/>
                  <a:pt x="11412869" y="353997"/>
                  <a:pt x="11378226" y="414856"/>
                </a:cubicBezTo>
                <a:lnTo>
                  <a:pt x="11369206" y="414856"/>
                </a:lnTo>
                <a:lnTo>
                  <a:pt x="11369206" y="321133"/>
                </a:lnTo>
                <a:lnTo>
                  <a:pt x="11191889" y="321133"/>
                </a:lnTo>
                <a:lnTo>
                  <a:pt x="11191889" y="1064832"/>
                </a:lnTo>
                <a:lnTo>
                  <a:pt x="11369206" y="1064832"/>
                </a:lnTo>
                <a:lnTo>
                  <a:pt x="11369206" y="584451"/>
                </a:lnTo>
                <a:cubicBezTo>
                  <a:pt x="11369206" y="474498"/>
                  <a:pt x="11426398" y="410393"/>
                  <a:pt x="11518030" y="410393"/>
                </a:cubicBezTo>
                <a:cubicBezTo>
                  <a:pt x="11606791" y="410393"/>
                  <a:pt x="11645739" y="468413"/>
                  <a:pt x="11645739" y="556253"/>
                </a:cubicBezTo>
                <a:lnTo>
                  <a:pt x="11645739" y="1064832"/>
                </a:lnTo>
                <a:lnTo>
                  <a:pt x="11823056" y="1064832"/>
                </a:lnTo>
                <a:lnTo>
                  <a:pt x="11823056" y="554630"/>
                </a:lnTo>
                <a:cubicBezTo>
                  <a:pt x="11823056" y="401467"/>
                  <a:pt x="11741880" y="306324"/>
                  <a:pt x="11585677" y="306324"/>
                </a:cubicBezTo>
                <a:moveTo>
                  <a:pt x="697379" y="23735"/>
                </a:moveTo>
                <a:lnTo>
                  <a:pt x="511042" y="23735"/>
                </a:lnTo>
                <a:lnTo>
                  <a:pt x="511042" y="792589"/>
                </a:lnTo>
                <a:cubicBezTo>
                  <a:pt x="511042" y="917553"/>
                  <a:pt x="462869" y="991801"/>
                  <a:pt x="348690" y="991801"/>
                </a:cubicBezTo>
                <a:cubicBezTo>
                  <a:pt x="235945" y="991801"/>
                  <a:pt x="186337" y="912887"/>
                  <a:pt x="186337" y="777577"/>
                </a:cubicBezTo>
                <a:lnTo>
                  <a:pt x="186337" y="634761"/>
                </a:lnTo>
                <a:lnTo>
                  <a:pt x="0" y="680811"/>
                </a:lnTo>
                <a:lnTo>
                  <a:pt x="0" y="744713"/>
                </a:lnTo>
                <a:cubicBezTo>
                  <a:pt x="0" y="939462"/>
                  <a:pt x="97781" y="1088364"/>
                  <a:pt x="348690" y="1088364"/>
                </a:cubicBezTo>
                <a:cubicBezTo>
                  <a:pt x="599598" y="1088364"/>
                  <a:pt x="697379" y="939665"/>
                  <a:pt x="697379" y="744713"/>
                </a:cubicBezTo>
                <a:lnTo>
                  <a:pt x="697379" y="23735"/>
                </a:lnTo>
                <a:moveTo>
                  <a:pt x="1818474" y="23735"/>
                </a:moveTo>
                <a:lnTo>
                  <a:pt x="1641157" y="23735"/>
                </a:lnTo>
                <a:lnTo>
                  <a:pt x="1641157" y="1064832"/>
                </a:lnTo>
                <a:lnTo>
                  <a:pt x="1818474" y="1064832"/>
                </a:lnTo>
                <a:lnTo>
                  <a:pt x="1818474" y="584451"/>
                </a:lnTo>
                <a:cubicBezTo>
                  <a:pt x="1818474" y="474498"/>
                  <a:pt x="1875667" y="410393"/>
                  <a:pt x="1967298" y="410393"/>
                </a:cubicBezTo>
                <a:cubicBezTo>
                  <a:pt x="2056059" y="410393"/>
                  <a:pt x="2095007" y="468413"/>
                  <a:pt x="2095007" y="556253"/>
                </a:cubicBezTo>
                <a:lnTo>
                  <a:pt x="2095007" y="1064832"/>
                </a:lnTo>
                <a:lnTo>
                  <a:pt x="2272324" y="1064832"/>
                </a:lnTo>
                <a:lnTo>
                  <a:pt x="2272324" y="554630"/>
                </a:lnTo>
                <a:cubicBezTo>
                  <a:pt x="2272324" y="401467"/>
                  <a:pt x="2191148" y="306324"/>
                  <a:pt x="2034945" y="306324"/>
                </a:cubicBezTo>
                <a:cubicBezTo>
                  <a:pt x="1923635" y="306324"/>
                  <a:pt x="1862138" y="353997"/>
                  <a:pt x="1827494" y="414856"/>
                </a:cubicBezTo>
                <a:lnTo>
                  <a:pt x="1818474" y="414856"/>
                </a:lnTo>
                <a:lnTo>
                  <a:pt x="1818474" y="23735"/>
                </a:lnTo>
                <a:moveTo>
                  <a:pt x="7222855" y="23735"/>
                </a:moveTo>
                <a:lnTo>
                  <a:pt x="7036518" y="23735"/>
                </a:lnTo>
                <a:lnTo>
                  <a:pt x="7036518" y="792589"/>
                </a:lnTo>
                <a:cubicBezTo>
                  <a:pt x="7036518" y="917553"/>
                  <a:pt x="6988346" y="991801"/>
                  <a:pt x="6874166" y="991801"/>
                </a:cubicBezTo>
                <a:cubicBezTo>
                  <a:pt x="6761421" y="991801"/>
                  <a:pt x="6711813" y="912887"/>
                  <a:pt x="6711813" y="777577"/>
                </a:cubicBezTo>
                <a:lnTo>
                  <a:pt x="6711813" y="634761"/>
                </a:lnTo>
                <a:lnTo>
                  <a:pt x="6525476" y="680811"/>
                </a:lnTo>
                <a:lnTo>
                  <a:pt x="6525476" y="744713"/>
                </a:lnTo>
                <a:cubicBezTo>
                  <a:pt x="6525476" y="939462"/>
                  <a:pt x="6623257" y="1088364"/>
                  <a:pt x="6874166" y="1088364"/>
                </a:cubicBezTo>
                <a:cubicBezTo>
                  <a:pt x="7125074" y="1088364"/>
                  <a:pt x="7222855" y="939665"/>
                  <a:pt x="7222855" y="744713"/>
                </a:cubicBezTo>
                <a:lnTo>
                  <a:pt x="7222855" y="23735"/>
                </a:lnTo>
                <a:moveTo>
                  <a:pt x="8343950" y="23735"/>
                </a:moveTo>
                <a:lnTo>
                  <a:pt x="8166633" y="23735"/>
                </a:lnTo>
                <a:lnTo>
                  <a:pt x="8166633" y="1064832"/>
                </a:lnTo>
                <a:lnTo>
                  <a:pt x="8343950" y="1064832"/>
                </a:lnTo>
                <a:lnTo>
                  <a:pt x="8343950" y="584451"/>
                </a:lnTo>
                <a:cubicBezTo>
                  <a:pt x="8343950" y="474498"/>
                  <a:pt x="8401143" y="410393"/>
                  <a:pt x="8492774" y="410393"/>
                </a:cubicBezTo>
                <a:cubicBezTo>
                  <a:pt x="8581535" y="410393"/>
                  <a:pt x="8620483" y="468413"/>
                  <a:pt x="8620483" y="556253"/>
                </a:cubicBezTo>
                <a:lnTo>
                  <a:pt x="8620483" y="1064832"/>
                </a:lnTo>
                <a:lnTo>
                  <a:pt x="8797800" y="1064832"/>
                </a:lnTo>
                <a:lnTo>
                  <a:pt x="8797800" y="554630"/>
                </a:lnTo>
                <a:cubicBezTo>
                  <a:pt x="8797800" y="401467"/>
                  <a:pt x="8716624" y="306324"/>
                  <a:pt x="8560421" y="306324"/>
                </a:cubicBezTo>
                <a:cubicBezTo>
                  <a:pt x="8449110" y="306324"/>
                  <a:pt x="8387613" y="353997"/>
                  <a:pt x="8352970" y="414856"/>
                </a:cubicBezTo>
                <a:lnTo>
                  <a:pt x="8343950" y="414856"/>
                </a:lnTo>
                <a:lnTo>
                  <a:pt x="8343950" y="23735"/>
                </a:lnTo>
                <a:moveTo>
                  <a:pt x="5882214" y="980035"/>
                </a:moveTo>
                <a:cubicBezTo>
                  <a:pt x="5737901" y="980035"/>
                  <a:pt x="5649345" y="863997"/>
                  <a:pt x="5649345" y="740656"/>
                </a:cubicBezTo>
                <a:cubicBezTo>
                  <a:pt x="5649345" y="663365"/>
                  <a:pt x="5683988" y="591957"/>
                  <a:pt x="5740976" y="551790"/>
                </a:cubicBezTo>
                <a:lnTo>
                  <a:pt x="6080646" y="919176"/>
                </a:lnTo>
                <a:cubicBezTo>
                  <a:pt x="6017508" y="956300"/>
                  <a:pt x="5946787" y="980035"/>
                  <a:pt x="5882214" y="980035"/>
                </a:cubicBezTo>
                <a:moveTo>
                  <a:pt x="6212865" y="797052"/>
                </a:moveTo>
                <a:lnTo>
                  <a:pt x="5918293" y="475716"/>
                </a:lnTo>
                <a:cubicBezTo>
                  <a:pt x="5970976" y="454821"/>
                  <a:pt x="6022018" y="447518"/>
                  <a:pt x="6064042" y="447518"/>
                </a:cubicBezTo>
                <a:cubicBezTo>
                  <a:pt x="6185806" y="447518"/>
                  <a:pt x="6260833" y="517506"/>
                  <a:pt x="6260833" y="638007"/>
                </a:cubicBezTo>
                <a:cubicBezTo>
                  <a:pt x="6261038" y="691563"/>
                  <a:pt x="6245869" y="746539"/>
                  <a:pt x="6212865" y="797052"/>
                </a:cubicBezTo>
                <a:moveTo>
                  <a:pt x="5877705" y="432708"/>
                </a:moveTo>
                <a:lnTo>
                  <a:pt x="5813132" y="361300"/>
                </a:lnTo>
                <a:cubicBezTo>
                  <a:pt x="5755940" y="298818"/>
                  <a:pt x="5739541" y="260071"/>
                  <a:pt x="5739541" y="214021"/>
                </a:cubicBezTo>
                <a:cubicBezTo>
                  <a:pt x="5739541" y="127804"/>
                  <a:pt x="5795093" y="78711"/>
                  <a:pt x="5882214" y="78711"/>
                </a:cubicBezTo>
                <a:cubicBezTo>
                  <a:pt x="5970976" y="78711"/>
                  <a:pt x="6023453" y="129224"/>
                  <a:pt x="6023453" y="221527"/>
                </a:cubicBezTo>
                <a:cubicBezTo>
                  <a:pt x="6023453" y="306324"/>
                  <a:pt x="5981430" y="386658"/>
                  <a:pt x="5877705" y="432708"/>
                </a:cubicBezTo>
                <a:moveTo>
                  <a:pt x="5886724" y="0"/>
                </a:moveTo>
                <a:cubicBezTo>
                  <a:pt x="5679273" y="0"/>
                  <a:pt x="5577188" y="114618"/>
                  <a:pt x="5577188" y="257231"/>
                </a:cubicBezTo>
                <a:cubicBezTo>
                  <a:pt x="5577188" y="334522"/>
                  <a:pt x="5610192" y="412016"/>
                  <a:pt x="5697518" y="505537"/>
                </a:cubicBezTo>
                <a:lnTo>
                  <a:pt x="5698952" y="508580"/>
                </a:lnTo>
                <a:cubicBezTo>
                  <a:pt x="5551769" y="578568"/>
                  <a:pt x="5484122" y="691563"/>
                  <a:pt x="5484122" y="807601"/>
                </a:cubicBezTo>
                <a:cubicBezTo>
                  <a:pt x="5484122" y="960763"/>
                  <a:pt x="5602812" y="1088770"/>
                  <a:pt x="5786279" y="1088770"/>
                </a:cubicBezTo>
                <a:cubicBezTo>
                  <a:pt x="5891439" y="1088770"/>
                  <a:pt x="6014639" y="1045560"/>
                  <a:pt x="6125949" y="968269"/>
                </a:cubicBezTo>
                <a:lnTo>
                  <a:pt x="6216145" y="1065035"/>
                </a:lnTo>
                <a:lnTo>
                  <a:pt x="6452089" y="1065035"/>
                </a:lnTo>
                <a:lnTo>
                  <a:pt x="6452089" y="1057529"/>
                </a:lnTo>
                <a:lnTo>
                  <a:pt x="6259808" y="847768"/>
                </a:lnTo>
                <a:cubicBezTo>
                  <a:pt x="6340984" y="752625"/>
                  <a:pt x="6387517" y="648556"/>
                  <a:pt x="6387517" y="557673"/>
                </a:cubicBezTo>
                <a:cubicBezTo>
                  <a:pt x="6387517" y="444677"/>
                  <a:pt x="6310850" y="368806"/>
                  <a:pt x="6190726" y="368806"/>
                </a:cubicBezTo>
                <a:cubicBezTo>
                  <a:pt x="6127588" y="368806"/>
                  <a:pt x="6056867" y="386658"/>
                  <a:pt x="6010334" y="404510"/>
                </a:cubicBezTo>
                <a:lnTo>
                  <a:pt x="6007259" y="398627"/>
                </a:lnTo>
                <a:cubicBezTo>
                  <a:pt x="6121439" y="337565"/>
                  <a:pt x="6169612" y="281169"/>
                  <a:pt x="6169612" y="202255"/>
                </a:cubicBezTo>
                <a:cubicBezTo>
                  <a:pt x="6169202" y="89260"/>
                  <a:pt x="6067117" y="0"/>
                  <a:pt x="5886724" y="0"/>
                </a:cubicBezTo>
              </a:path>
            </a:pathLst>
          </a:custGeom>
          <a:solidFill>
            <a:schemeClr val="bg1"/>
          </a:solidFill>
          <a:ln w="20487" cap="flat">
            <a:noFill/>
            <a:prstDash val="solid"/>
            <a:miter/>
          </a:ln>
        </p:spPr>
        <p:txBody>
          <a:bodyPr rtlCol="0" anchor="ctr"/>
          <a:lstStyle/>
          <a:p>
            <a:endParaRPr lang="en-GB"/>
          </a:p>
        </p:txBody>
      </p:sp>
      <p:sp>
        <p:nvSpPr>
          <p:cNvPr id="3" name="Footer Placeholder 4">
            <a:extLst>
              <a:ext uri="{FF2B5EF4-FFF2-40B4-BE49-F238E27FC236}">
                <a16:creationId xmlns:a16="http://schemas.microsoft.com/office/drawing/2014/main" id="{8FADA551-21B1-AE3E-98DC-FF79ED537168}"/>
              </a:ext>
            </a:extLst>
          </p:cNvPr>
          <p:cNvSpPr txBox="1">
            <a:spLocks/>
          </p:cNvSpPr>
          <p:nvPr/>
        </p:nvSpPr>
        <p:spPr>
          <a:xfrm>
            <a:off x="10168425" y="427750"/>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0" i="0" kern="1200">
                <a:solidFill>
                  <a:schemeClr val="bg1"/>
                </a:solidFill>
                <a:latin typeface="+mn-lt"/>
                <a:ea typeface="+mn-ea"/>
                <a:cs typeface="+mn-cs"/>
              </a:rPr>
              <a:t>HEALTH CARE COMPLIANCE</a:t>
            </a:r>
          </a:p>
        </p:txBody>
      </p:sp>
    </p:spTree>
    <p:extLst>
      <p:ext uri="{BB962C8B-B14F-4D97-AF65-F5344CB8AC3E}">
        <p14:creationId xmlns:p14="http://schemas.microsoft.com/office/powerpoint/2010/main" val="921208077"/>
      </p:ext>
    </p:extLst>
  </p:cSld>
  <p:clrMapOvr>
    <a:masterClrMapping/>
  </p:clrMapOvr>
  <p:hf hdr="0" dt="0"/>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Title Slide 4">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06B22-1DE8-7C36-14AE-7260C97F6705}"/>
              </a:ext>
            </a:extLst>
          </p:cNvPr>
          <p:cNvSpPr>
            <a:spLocks noGrp="1"/>
          </p:cNvSpPr>
          <p:nvPr>
            <p:ph type="title"/>
          </p:nvPr>
        </p:nvSpPr>
        <p:spPr>
          <a:xfrm>
            <a:off x="291479" y="262800"/>
            <a:ext cx="4667383" cy="327013"/>
          </a:xfrm>
        </p:spPr>
        <p:txBody>
          <a:bodyPr>
            <a:spAutoFit/>
          </a:bodyPr>
          <a:lstStyle>
            <a:lvl1pPr>
              <a:defRPr sz="2500" b="0" i="0">
                <a:solidFill>
                  <a:schemeClr val="bg1"/>
                </a:solidFill>
                <a:latin typeface="+mj-lt"/>
              </a:defRPr>
            </a:lvl1pPr>
          </a:lstStyle>
          <a:p>
            <a:r>
              <a:rPr lang="zh-CN" altLang="en-US"/>
              <a:t>单击此处编辑母版标题样式</a:t>
            </a:r>
            <a:endParaRPr lang="en-US"/>
          </a:p>
        </p:txBody>
      </p:sp>
      <p:sp>
        <p:nvSpPr>
          <p:cNvPr id="30" name="Subtitle 2">
            <a:extLst>
              <a:ext uri="{FF2B5EF4-FFF2-40B4-BE49-F238E27FC236}">
                <a16:creationId xmlns:a16="http://schemas.microsoft.com/office/drawing/2014/main" id="{AFC7E9F7-1405-E6D8-9042-37C2DC045BD5}"/>
              </a:ext>
            </a:extLst>
          </p:cNvPr>
          <p:cNvSpPr>
            <a:spLocks noGrp="1"/>
          </p:cNvSpPr>
          <p:nvPr>
            <p:ph type="subTitle" idx="1" hasCustomPrompt="1"/>
          </p:nvPr>
        </p:nvSpPr>
        <p:spPr>
          <a:xfrm>
            <a:off x="6165850" y="240207"/>
            <a:ext cx="2795587" cy="717180"/>
          </a:xfrm>
        </p:spPr>
        <p:txBody>
          <a:bodyPr anchor="t"/>
          <a:lstStyle>
            <a:lvl1pPr marL="0" indent="0" algn="l">
              <a:spcBef>
                <a:spcPts val="0"/>
              </a:spcBef>
              <a:spcAft>
                <a:spcPts val="0"/>
              </a:spcAft>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pporting details – delete if not required</a:t>
            </a:r>
          </a:p>
        </p:txBody>
      </p:sp>
      <p:sp>
        <p:nvSpPr>
          <p:cNvPr id="8" name="Graphic 6">
            <a:extLst>
              <a:ext uri="{FF2B5EF4-FFF2-40B4-BE49-F238E27FC236}">
                <a16:creationId xmlns:a16="http://schemas.microsoft.com/office/drawing/2014/main" id="{ACC64B1C-0B76-B49C-E8DA-EBD2AFAFA613}"/>
              </a:ext>
            </a:extLst>
          </p:cNvPr>
          <p:cNvSpPr>
            <a:spLocks noChangeAspect="1"/>
          </p:cNvSpPr>
          <p:nvPr/>
        </p:nvSpPr>
        <p:spPr>
          <a:xfrm>
            <a:off x="287338" y="2269434"/>
            <a:ext cx="11608421" cy="4331774"/>
          </a:xfrm>
          <a:custGeom>
            <a:avLst/>
            <a:gdLst>
              <a:gd name="connsiteX0" fmla="*/ 9940695 w 12886034"/>
              <a:gd name="connsiteY0" fmla="*/ 2142364 h 4808525"/>
              <a:gd name="connsiteX1" fmla="*/ 9940695 w 12886034"/>
              <a:gd name="connsiteY1" fmla="*/ 1153823 h 4808525"/>
              <a:gd name="connsiteX2" fmla="*/ 10243112 w 12886034"/>
              <a:gd name="connsiteY2" fmla="*/ 795655 h 4808525"/>
              <a:gd name="connsiteX3" fmla="*/ 10502975 w 12886034"/>
              <a:gd name="connsiteY3" fmla="*/ 1095467 h 4808525"/>
              <a:gd name="connsiteX4" fmla="*/ 10502975 w 12886034"/>
              <a:gd name="connsiteY4" fmla="*/ 2142364 h 4808525"/>
              <a:gd name="connsiteX5" fmla="*/ 10863643 w 12886034"/>
              <a:gd name="connsiteY5" fmla="*/ 2142364 h 4808525"/>
              <a:gd name="connsiteX6" fmla="*/ 10863643 w 12886034"/>
              <a:gd name="connsiteY6" fmla="*/ 1092672 h 4808525"/>
              <a:gd name="connsiteX7" fmla="*/ 10380892 w 12886034"/>
              <a:gd name="connsiteY7" fmla="*/ 581454 h 4808525"/>
              <a:gd name="connsiteX8" fmla="*/ 9959182 w 12886034"/>
              <a:gd name="connsiteY8" fmla="*/ 804741 h 4808525"/>
              <a:gd name="connsiteX9" fmla="*/ 9940695 w 12886034"/>
              <a:gd name="connsiteY9" fmla="*/ 804741 h 4808525"/>
              <a:gd name="connsiteX10" fmla="*/ 9940695 w 12886034"/>
              <a:gd name="connsiteY10" fmla="*/ 611854 h 4808525"/>
              <a:gd name="connsiteX11" fmla="*/ 9580028 w 12886034"/>
              <a:gd name="connsiteY11" fmla="*/ 611854 h 4808525"/>
              <a:gd name="connsiteX12" fmla="*/ 9580028 w 12886034"/>
              <a:gd name="connsiteY12" fmla="*/ 2142015 h 4808525"/>
              <a:gd name="connsiteX13" fmla="*/ 9940695 w 12886034"/>
              <a:gd name="connsiteY13" fmla="*/ 2142015 h 4808525"/>
              <a:gd name="connsiteX14" fmla="*/ 8620803 w 12886034"/>
              <a:gd name="connsiteY14" fmla="*/ 2004688 h 4808525"/>
              <a:gd name="connsiteX15" fmla="*/ 8254206 w 12886034"/>
              <a:gd name="connsiteY15" fmla="*/ 1377109 h 4808525"/>
              <a:gd name="connsiteX16" fmla="*/ 8620803 w 12886034"/>
              <a:gd name="connsiteY16" fmla="*/ 749530 h 4808525"/>
              <a:gd name="connsiteX17" fmla="*/ 8987401 w 12886034"/>
              <a:gd name="connsiteY17" fmla="*/ 1377109 h 4808525"/>
              <a:gd name="connsiteX18" fmla="*/ 8620803 w 12886034"/>
              <a:gd name="connsiteY18" fmla="*/ 2004688 h 4808525"/>
              <a:gd name="connsiteX19" fmla="*/ 8620803 w 12886034"/>
              <a:gd name="connsiteY19" fmla="*/ 2173114 h 4808525"/>
              <a:gd name="connsiteX20" fmla="*/ 9366208 w 12886034"/>
              <a:gd name="connsiteY20" fmla="*/ 1377459 h 4808525"/>
              <a:gd name="connsiteX21" fmla="*/ 8620803 w 12886034"/>
              <a:gd name="connsiteY21" fmla="*/ 581803 h 4808525"/>
              <a:gd name="connsiteX22" fmla="*/ 7875400 w 12886034"/>
              <a:gd name="connsiteY22" fmla="*/ 1377459 h 4808525"/>
              <a:gd name="connsiteX23" fmla="*/ 8620803 w 12886034"/>
              <a:gd name="connsiteY23" fmla="*/ 2173114 h 4808525"/>
              <a:gd name="connsiteX24" fmla="*/ 7090232 w 12886034"/>
              <a:gd name="connsiteY24" fmla="*/ 2173114 h 4808525"/>
              <a:gd name="connsiteX25" fmla="*/ 7725761 w 12886034"/>
              <a:gd name="connsiteY25" fmla="*/ 1674126 h 4808525"/>
              <a:gd name="connsiteX26" fmla="*/ 7319399 w 12886034"/>
              <a:gd name="connsiteY26" fmla="*/ 1214973 h 4808525"/>
              <a:gd name="connsiteX27" fmla="*/ 7026051 w 12886034"/>
              <a:gd name="connsiteY27" fmla="*/ 1141592 h 4808525"/>
              <a:gd name="connsiteX28" fmla="*/ 6815371 w 12886034"/>
              <a:gd name="connsiteY28" fmla="*/ 939621 h 4808525"/>
              <a:gd name="connsiteX29" fmla="*/ 7074884 w 12886034"/>
              <a:gd name="connsiteY29" fmla="*/ 743590 h 4808525"/>
              <a:gd name="connsiteX30" fmla="*/ 7386370 w 12886034"/>
              <a:gd name="connsiteY30" fmla="*/ 1037462 h 4808525"/>
              <a:gd name="connsiteX31" fmla="*/ 7691926 w 12886034"/>
              <a:gd name="connsiteY31" fmla="*/ 945561 h 4808525"/>
              <a:gd name="connsiteX32" fmla="*/ 7105231 w 12886034"/>
              <a:gd name="connsiteY32" fmla="*/ 581454 h 4808525"/>
              <a:gd name="connsiteX33" fmla="*/ 6521674 w 12886034"/>
              <a:gd name="connsiteY33" fmla="*/ 1022087 h 4808525"/>
              <a:gd name="connsiteX34" fmla="*/ 6891411 w 12886034"/>
              <a:gd name="connsiteY34" fmla="*/ 1462720 h 4808525"/>
              <a:gd name="connsiteX35" fmla="*/ 7196967 w 12886034"/>
              <a:gd name="connsiteY35" fmla="*/ 1539245 h 4808525"/>
              <a:gd name="connsiteX36" fmla="*/ 7432064 w 12886034"/>
              <a:gd name="connsiteY36" fmla="*/ 1765677 h 4808525"/>
              <a:gd name="connsiteX37" fmla="*/ 7129647 w 12886034"/>
              <a:gd name="connsiteY37" fmla="*/ 2010628 h 4808525"/>
              <a:gd name="connsiteX38" fmla="*/ 6781536 w 12886034"/>
              <a:gd name="connsiteY38" fmla="*/ 1655606 h 4808525"/>
              <a:gd name="connsiteX39" fmla="*/ 6457842 w 12886034"/>
              <a:gd name="connsiteY39" fmla="*/ 1747506 h 4808525"/>
              <a:gd name="connsiteX40" fmla="*/ 7090232 w 12886034"/>
              <a:gd name="connsiteY40" fmla="*/ 2173114 h 4808525"/>
              <a:gd name="connsiteX41" fmla="*/ 5363978 w 12886034"/>
              <a:gd name="connsiteY41" fmla="*/ 2142364 h 4808525"/>
              <a:gd name="connsiteX42" fmla="*/ 5363978 w 12886034"/>
              <a:gd name="connsiteY42" fmla="*/ 1153823 h 4808525"/>
              <a:gd name="connsiteX43" fmla="*/ 5666395 w 12886034"/>
              <a:gd name="connsiteY43" fmla="*/ 795655 h 4808525"/>
              <a:gd name="connsiteX44" fmla="*/ 5926258 w 12886034"/>
              <a:gd name="connsiteY44" fmla="*/ 1095467 h 4808525"/>
              <a:gd name="connsiteX45" fmla="*/ 5926258 w 12886034"/>
              <a:gd name="connsiteY45" fmla="*/ 2142364 h 4808525"/>
              <a:gd name="connsiteX46" fmla="*/ 6286926 w 12886034"/>
              <a:gd name="connsiteY46" fmla="*/ 2142364 h 4808525"/>
              <a:gd name="connsiteX47" fmla="*/ 6286926 w 12886034"/>
              <a:gd name="connsiteY47" fmla="*/ 1092672 h 4808525"/>
              <a:gd name="connsiteX48" fmla="*/ 5804175 w 12886034"/>
              <a:gd name="connsiteY48" fmla="*/ 581454 h 4808525"/>
              <a:gd name="connsiteX49" fmla="*/ 5382465 w 12886034"/>
              <a:gd name="connsiteY49" fmla="*/ 804741 h 4808525"/>
              <a:gd name="connsiteX50" fmla="*/ 5363978 w 12886034"/>
              <a:gd name="connsiteY50" fmla="*/ 804741 h 4808525"/>
              <a:gd name="connsiteX51" fmla="*/ 5363978 w 12886034"/>
              <a:gd name="connsiteY51" fmla="*/ 611854 h 4808525"/>
              <a:gd name="connsiteX52" fmla="*/ 5003310 w 12886034"/>
              <a:gd name="connsiteY52" fmla="*/ 611854 h 4808525"/>
              <a:gd name="connsiteX53" fmla="*/ 5003310 w 12886034"/>
              <a:gd name="connsiteY53" fmla="*/ 2142015 h 4808525"/>
              <a:gd name="connsiteX54" fmla="*/ 5363978 w 12886034"/>
              <a:gd name="connsiteY54" fmla="*/ 2142015 h 4808525"/>
              <a:gd name="connsiteX55" fmla="*/ 3790851 w 12886034"/>
              <a:gd name="connsiteY55" fmla="*/ 2142364 h 4808525"/>
              <a:gd name="connsiteX56" fmla="*/ 3790851 w 12886034"/>
              <a:gd name="connsiteY56" fmla="*/ 1153823 h 4808525"/>
              <a:gd name="connsiteX57" fmla="*/ 4093268 w 12886034"/>
              <a:gd name="connsiteY57" fmla="*/ 795655 h 4808525"/>
              <a:gd name="connsiteX58" fmla="*/ 4352782 w 12886034"/>
              <a:gd name="connsiteY58" fmla="*/ 1095467 h 4808525"/>
              <a:gd name="connsiteX59" fmla="*/ 4352782 w 12886034"/>
              <a:gd name="connsiteY59" fmla="*/ 2142364 h 4808525"/>
              <a:gd name="connsiteX60" fmla="*/ 4713450 w 12886034"/>
              <a:gd name="connsiteY60" fmla="*/ 2142364 h 4808525"/>
              <a:gd name="connsiteX61" fmla="*/ 4713450 w 12886034"/>
              <a:gd name="connsiteY61" fmla="*/ 1092672 h 4808525"/>
              <a:gd name="connsiteX62" fmla="*/ 4230699 w 12886034"/>
              <a:gd name="connsiteY62" fmla="*/ 581454 h 4808525"/>
              <a:gd name="connsiteX63" fmla="*/ 3808990 w 12886034"/>
              <a:gd name="connsiteY63" fmla="*/ 804741 h 4808525"/>
              <a:gd name="connsiteX64" fmla="*/ 3790503 w 12886034"/>
              <a:gd name="connsiteY64" fmla="*/ 804741 h 4808525"/>
              <a:gd name="connsiteX65" fmla="*/ 3790503 w 12886034"/>
              <a:gd name="connsiteY65" fmla="*/ 0 h 4808525"/>
              <a:gd name="connsiteX66" fmla="*/ 3429835 w 12886034"/>
              <a:gd name="connsiteY66" fmla="*/ 0 h 4808525"/>
              <a:gd name="connsiteX67" fmla="*/ 3429835 w 12886034"/>
              <a:gd name="connsiteY67" fmla="*/ 2142364 h 4808525"/>
              <a:gd name="connsiteX68" fmla="*/ 3790851 w 12886034"/>
              <a:gd name="connsiteY68" fmla="*/ 2142364 h 4808525"/>
              <a:gd name="connsiteX69" fmla="*/ 2470960 w 12886034"/>
              <a:gd name="connsiteY69" fmla="*/ 2004688 h 4808525"/>
              <a:gd name="connsiteX70" fmla="*/ 2104362 w 12886034"/>
              <a:gd name="connsiteY70" fmla="*/ 1377109 h 4808525"/>
              <a:gd name="connsiteX71" fmla="*/ 2470960 w 12886034"/>
              <a:gd name="connsiteY71" fmla="*/ 749530 h 4808525"/>
              <a:gd name="connsiteX72" fmla="*/ 2837558 w 12886034"/>
              <a:gd name="connsiteY72" fmla="*/ 1377109 h 4808525"/>
              <a:gd name="connsiteX73" fmla="*/ 2470960 w 12886034"/>
              <a:gd name="connsiteY73" fmla="*/ 2004688 h 4808525"/>
              <a:gd name="connsiteX74" fmla="*/ 2470960 w 12886034"/>
              <a:gd name="connsiteY74" fmla="*/ 2173114 h 4808525"/>
              <a:gd name="connsiteX75" fmla="*/ 3216364 w 12886034"/>
              <a:gd name="connsiteY75" fmla="*/ 1377459 h 4808525"/>
              <a:gd name="connsiteX76" fmla="*/ 2470960 w 12886034"/>
              <a:gd name="connsiteY76" fmla="*/ 581803 h 4808525"/>
              <a:gd name="connsiteX77" fmla="*/ 1725556 w 12886034"/>
              <a:gd name="connsiteY77" fmla="*/ 1377459 h 4808525"/>
              <a:gd name="connsiteX78" fmla="*/ 2470960 w 12886034"/>
              <a:gd name="connsiteY78" fmla="*/ 2173114 h 4808525"/>
              <a:gd name="connsiteX79" fmla="*/ 802957 w 12886034"/>
              <a:gd name="connsiteY79" fmla="*/ 2191284 h 4808525"/>
              <a:gd name="connsiteX80" fmla="*/ 1511736 w 12886034"/>
              <a:gd name="connsiteY80" fmla="*/ 1484385 h 4808525"/>
              <a:gd name="connsiteX81" fmla="*/ 1511736 w 12886034"/>
              <a:gd name="connsiteY81" fmla="*/ 0 h 4808525"/>
              <a:gd name="connsiteX82" fmla="*/ 1132930 w 12886034"/>
              <a:gd name="connsiteY82" fmla="*/ 0 h 4808525"/>
              <a:gd name="connsiteX83" fmla="*/ 1132930 w 12886034"/>
              <a:gd name="connsiteY83" fmla="*/ 1582225 h 4808525"/>
              <a:gd name="connsiteX84" fmla="*/ 802957 w 12886034"/>
              <a:gd name="connsiteY84" fmla="*/ 1992458 h 4808525"/>
              <a:gd name="connsiteX85" fmla="*/ 472984 w 12886034"/>
              <a:gd name="connsiteY85" fmla="*/ 1551825 h 4808525"/>
              <a:gd name="connsiteX86" fmla="*/ 472984 w 12886034"/>
              <a:gd name="connsiteY86" fmla="*/ 1257953 h 4808525"/>
              <a:gd name="connsiteX87" fmla="*/ 94178 w 12886034"/>
              <a:gd name="connsiteY87" fmla="*/ 1352649 h 4808525"/>
              <a:gd name="connsiteX88" fmla="*/ 94178 w 12886034"/>
              <a:gd name="connsiteY88" fmla="*/ 1484385 h 4808525"/>
              <a:gd name="connsiteX89" fmla="*/ 802957 w 12886034"/>
              <a:gd name="connsiteY89" fmla="*/ 2191284 h 4808525"/>
              <a:gd name="connsiteX90" fmla="*/ 11963087 w 12886034"/>
              <a:gd name="connsiteY90" fmla="*/ 4759256 h 4808525"/>
              <a:gd name="connsiteX91" fmla="*/ 11963087 w 12886034"/>
              <a:gd name="connsiteY91" fmla="*/ 3770714 h 4808525"/>
              <a:gd name="connsiteX92" fmla="*/ 12265504 w 12886034"/>
              <a:gd name="connsiteY92" fmla="*/ 3412547 h 4808525"/>
              <a:gd name="connsiteX93" fmla="*/ 12525366 w 12886034"/>
              <a:gd name="connsiteY93" fmla="*/ 3712359 h 4808525"/>
              <a:gd name="connsiteX94" fmla="*/ 12525366 w 12886034"/>
              <a:gd name="connsiteY94" fmla="*/ 4759256 h 4808525"/>
              <a:gd name="connsiteX95" fmla="*/ 12886035 w 12886034"/>
              <a:gd name="connsiteY95" fmla="*/ 4759256 h 4808525"/>
              <a:gd name="connsiteX96" fmla="*/ 12886035 w 12886034"/>
              <a:gd name="connsiteY96" fmla="*/ 3709564 h 4808525"/>
              <a:gd name="connsiteX97" fmla="*/ 12403283 w 12886034"/>
              <a:gd name="connsiteY97" fmla="*/ 3198346 h 4808525"/>
              <a:gd name="connsiteX98" fmla="*/ 11981574 w 12886034"/>
              <a:gd name="connsiteY98" fmla="*/ 3421632 h 4808525"/>
              <a:gd name="connsiteX99" fmla="*/ 11963436 w 12886034"/>
              <a:gd name="connsiteY99" fmla="*/ 3421632 h 4808525"/>
              <a:gd name="connsiteX100" fmla="*/ 11963436 w 12886034"/>
              <a:gd name="connsiteY100" fmla="*/ 3228746 h 4808525"/>
              <a:gd name="connsiteX101" fmla="*/ 11602768 w 12886034"/>
              <a:gd name="connsiteY101" fmla="*/ 3228746 h 4808525"/>
              <a:gd name="connsiteX102" fmla="*/ 11602768 w 12886034"/>
              <a:gd name="connsiteY102" fmla="*/ 4758906 h 4808525"/>
              <a:gd name="connsiteX103" fmla="*/ 11963087 w 12886034"/>
              <a:gd name="connsiteY103" fmla="*/ 4758906 h 4808525"/>
              <a:gd name="connsiteX104" fmla="*/ 10643544 w 12886034"/>
              <a:gd name="connsiteY104" fmla="*/ 4621580 h 4808525"/>
              <a:gd name="connsiteX105" fmla="*/ 10276946 w 12886034"/>
              <a:gd name="connsiteY105" fmla="*/ 3994001 h 4808525"/>
              <a:gd name="connsiteX106" fmla="*/ 10643544 w 12886034"/>
              <a:gd name="connsiteY106" fmla="*/ 3366422 h 4808525"/>
              <a:gd name="connsiteX107" fmla="*/ 11010143 w 12886034"/>
              <a:gd name="connsiteY107" fmla="*/ 3994001 h 4808525"/>
              <a:gd name="connsiteX108" fmla="*/ 10643544 w 12886034"/>
              <a:gd name="connsiteY108" fmla="*/ 4621580 h 4808525"/>
              <a:gd name="connsiteX109" fmla="*/ 10643544 w 12886034"/>
              <a:gd name="connsiteY109" fmla="*/ 4790006 h 4808525"/>
              <a:gd name="connsiteX110" fmla="*/ 11388948 w 12886034"/>
              <a:gd name="connsiteY110" fmla="*/ 3994350 h 4808525"/>
              <a:gd name="connsiteX111" fmla="*/ 10643544 w 12886034"/>
              <a:gd name="connsiteY111" fmla="*/ 3198695 h 4808525"/>
              <a:gd name="connsiteX112" fmla="*/ 9898141 w 12886034"/>
              <a:gd name="connsiteY112" fmla="*/ 3994350 h 4808525"/>
              <a:gd name="connsiteX113" fmla="*/ 10643544 w 12886034"/>
              <a:gd name="connsiteY113" fmla="*/ 4790006 h 4808525"/>
              <a:gd name="connsiteX114" fmla="*/ 9112972 w 12886034"/>
              <a:gd name="connsiteY114" fmla="*/ 4790006 h 4808525"/>
              <a:gd name="connsiteX115" fmla="*/ 9748502 w 12886034"/>
              <a:gd name="connsiteY115" fmla="*/ 4291018 h 4808525"/>
              <a:gd name="connsiteX116" fmla="*/ 9342140 w 12886034"/>
              <a:gd name="connsiteY116" fmla="*/ 3831865 h 4808525"/>
              <a:gd name="connsiteX117" fmla="*/ 9048792 w 12886034"/>
              <a:gd name="connsiteY117" fmla="*/ 3758484 h 4808525"/>
              <a:gd name="connsiteX118" fmla="*/ 8838111 w 12886034"/>
              <a:gd name="connsiteY118" fmla="*/ 3556513 h 4808525"/>
              <a:gd name="connsiteX119" fmla="*/ 9097974 w 12886034"/>
              <a:gd name="connsiteY119" fmla="*/ 3360482 h 4808525"/>
              <a:gd name="connsiteX120" fmla="*/ 9409460 w 12886034"/>
              <a:gd name="connsiteY120" fmla="*/ 3654354 h 4808525"/>
              <a:gd name="connsiteX121" fmla="*/ 9715016 w 12886034"/>
              <a:gd name="connsiteY121" fmla="*/ 3562453 h 4808525"/>
              <a:gd name="connsiteX122" fmla="*/ 9128320 w 12886034"/>
              <a:gd name="connsiteY122" fmla="*/ 3198346 h 4808525"/>
              <a:gd name="connsiteX123" fmla="*/ 8544763 w 12886034"/>
              <a:gd name="connsiteY123" fmla="*/ 3638978 h 4808525"/>
              <a:gd name="connsiteX124" fmla="*/ 8914500 w 12886034"/>
              <a:gd name="connsiteY124" fmla="*/ 4079611 h 4808525"/>
              <a:gd name="connsiteX125" fmla="*/ 9220057 w 12886034"/>
              <a:gd name="connsiteY125" fmla="*/ 4156137 h 4808525"/>
              <a:gd name="connsiteX126" fmla="*/ 9455153 w 12886034"/>
              <a:gd name="connsiteY126" fmla="*/ 4382569 h 4808525"/>
              <a:gd name="connsiteX127" fmla="*/ 9152737 w 12886034"/>
              <a:gd name="connsiteY127" fmla="*/ 4627520 h 4808525"/>
              <a:gd name="connsiteX128" fmla="*/ 8804626 w 12886034"/>
              <a:gd name="connsiteY128" fmla="*/ 4272498 h 4808525"/>
              <a:gd name="connsiteX129" fmla="*/ 8480931 w 12886034"/>
              <a:gd name="connsiteY129" fmla="*/ 4364399 h 4808525"/>
              <a:gd name="connsiteX130" fmla="*/ 9112972 w 12886034"/>
              <a:gd name="connsiteY130" fmla="*/ 4790006 h 4808525"/>
              <a:gd name="connsiteX131" fmla="*/ 7386719 w 12886034"/>
              <a:gd name="connsiteY131" fmla="*/ 4759256 h 4808525"/>
              <a:gd name="connsiteX132" fmla="*/ 7386719 w 12886034"/>
              <a:gd name="connsiteY132" fmla="*/ 3770714 h 4808525"/>
              <a:gd name="connsiteX133" fmla="*/ 7689136 w 12886034"/>
              <a:gd name="connsiteY133" fmla="*/ 3412547 h 4808525"/>
              <a:gd name="connsiteX134" fmla="*/ 7948649 w 12886034"/>
              <a:gd name="connsiteY134" fmla="*/ 3712359 h 4808525"/>
              <a:gd name="connsiteX135" fmla="*/ 7948649 w 12886034"/>
              <a:gd name="connsiteY135" fmla="*/ 4759256 h 4808525"/>
              <a:gd name="connsiteX136" fmla="*/ 8309318 w 12886034"/>
              <a:gd name="connsiteY136" fmla="*/ 4759256 h 4808525"/>
              <a:gd name="connsiteX137" fmla="*/ 8309318 w 12886034"/>
              <a:gd name="connsiteY137" fmla="*/ 3709564 h 4808525"/>
              <a:gd name="connsiteX138" fmla="*/ 7826566 w 12886034"/>
              <a:gd name="connsiteY138" fmla="*/ 3198346 h 4808525"/>
              <a:gd name="connsiteX139" fmla="*/ 7404857 w 12886034"/>
              <a:gd name="connsiteY139" fmla="*/ 3421632 h 4808525"/>
              <a:gd name="connsiteX140" fmla="*/ 7386370 w 12886034"/>
              <a:gd name="connsiteY140" fmla="*/ 3421632 h 4808525"/>
              <a:gd name="connsiteX141" fmla="*/ 7386370 w 12886034"/>
              <a:gd name="connsiteY141" fmla="*/ 3228746 h 4808525"/>
              <a:gd name="connsiteX142" fmla="*/ 7025702 w 12886034"/>
              <a:gd name="connsiteY142" fmla="*/ 3228746 h 4808525"/>
              <a:gd name="connsiteX143" fmla="*/ 7025702 w 12886034"/>
              <a:gd name="connsiteY143" fmla="*/ 4758906 h 4808525"/>
              <a:gd name="connsiteX144" fmla="*/ 7386719 w 12886034"/>
              <a:gd name="connsiteY144" fmla="*/ 4758906 h 4808525"/>
              <a:gd name="connsiteX145" fmla="*/ 5813593 w 12886034"/>
              <a:gd name="connsiteY145" fmla="*/ 4759256 h 4808525"/>
              <a:gd name="connsiteX146" fmla="*/ 5813593 w 12886034"/>
              <a:gd name="connsiteY146" fmla="*/ 3770714 h 4808525"/>
              <a:gd name="connsiteX147" fmla="*/ 6116010 w 12886034"/>
              <a:gd name="connsiteY147" fmla="*/ 3412547 h 4808525"/>
              <a:gd name="connsiteX148" fmla="*/ 6375523 w 12886034"/>
              <a:gd name="connsiteY148" fmla="*/ 3712359 h 4808525"/>
              <a:gd name="connsiteX149" fmla="*/ 6375523 w 12886034"/>
              <a:gd name="connsiteY149" fmla="*/ 4759256 h 4808525"/>
              <a:gd name="connsiteX150" fmla="*/ 6736191 w 12886034"/>
              <a:gd name="connsiteY150" fmla="*/ 4759256 h 4808525"/>
              <a:gd name="connsiteX151" fmla="*/ 6736191 w 12886034"/>
              <a:gd name="connsiteY151" fmla="*/ 3709564 h 4808525"/>
              <a:gd name="connsiteX152" fmla="*/ 6253440 w 12886034"/>
              <a:gd name="connsiteY152" fmla="*/ 3198346 h 4808525"/>
              <a:gd name="connsiteX153" fmla="*/ 5831730 w 12886034"/>
              <a:gd name="connsiteY153" fmla="*/ 3421632 h 4808525"/>
              <a:gd name="connsiteX154" fmla="*/ 5813243 w 12886034"/>
              <a:gd name="connsiteY154" fmla="*/ 3421632 h 4808525"/>
              <a:gd name="connsiteX155" fmla="*/ 5813243 w 12886034"/>
              <a:gd name="connsiteY155" fmla="*/ 2616892 h 4808525"/>
              <a:gd name="connsiteX156" fmla="*/ 5452576 w 12886034"/>
              <a:gd name="connsiteY156" fmla="*/ 2616892 h 4808525"/>
              <a:gd name="connsiteX157" fmla="*/ 5452576 w 12886034"/>
              <a:gd name="connsiteY157" fmla="*/ 4759256 h 4808525"/>
              <a:gd name="connsiteX158" fmla="*/ 5813593 w 12886034"/>
              <a:gd name="connsiteY158" fmla="*/ 4759256 h 4808525"/>
              <a:gd name="connsiteX159" fmla="*/ 4493701 w 12886034"/>
              <a:gd name="connsiteY159" fmla="*/ 4621580 h 4808525"/>
              <a:gd name="connsiteX160" fmla="*/ 4127103 w 12886034"/>
              <a:gd name="connsiteY160" fmla="*/ 3994001 h 4808525"/>
              <a:gd name="connsiteX161" fmla="*/ 4493701 w 12886034"/>
              <a:gd name="connsiteY161" fmla="*/ 3366422 h 4808525"/>
              <a:gd name="connsiteX162" fmla="*/ 4860299 w 12886034"/>
              <a:gd name="connsiteY162" fmla="*/ 3994001 h 4808525"/>
              <a:gd name="connsiteX163" fmla="*/ 4493701 w 12886034"/>
              <a:gd name="connsiteY163" fmla="*/ 4621580 h 4808525"/>
              <a:gd name="connsiteX164" fmla="*/ 4493701 w 12886034"/>
              <a:gd name="connsiteY164" fmla="*/ 4790006 h 4808525"/>
              <a:gd name="connsiteX165" fmla="*/ 5239105 w 12886034"/>
              <a:gd name="connsiteY165" fmla="*/ 3994350 h 4808525"/>
              <a:gd name="connsiteX166" fmla="*/ 4493701 w 12886034"/>
              <a:gd name="connsiteY166" fmla="*/ 3198695 h 4808525"/>
              <a:gd name="connsiteX167" fmla="*/ 3748297 w 12886034"/>
              <a:gd name="connsiteY167" fmla="*/ 3994350 h 4808525"/>
              <a:gd name="connsiteX168" fmla="*/ 4493701 w 12886034"/>
              <a:gd name="connsiteY168" fmla="*/ 4790006 h 4808525"/>
              <a:gd name="connsiteX169" fmla="*/ 2825698 w 12886034"/>
              <a:gd name="connsiteY169" fmla="*/ 4808176 h 4808525"/>
              <a:gd name="connsiteX170" fmla="*/ 3534477 w 12886034"/>
              <a:gd name="connsiteY170" fmla="*/ 4101276 h 4808525"/>
              <a:gd name="connsiteX171" fmla="*/ 3534477 w 12886034"/>
              <a:gd name="connsiteY171" fmla="*/ 2616892 h 4808525"/>
              <a:gd name="connsiteX172" fmla="*/ 3155671 w 12886034"/>
              <a:gd name="connsiteY172" fmla="*/ 2616892 h 4808525"/>
              <a:gd name="connsiteX173" fmla="*/ 3155671 w 12886034"/>
              <a:gd name="connsiteY173" fmla="*/ 4199117 h 4808525"/>
              <a:gd name="connsiteX174" fmla="*/ 2825698 w 12886034"/>
              <a:gd name="connsiteY174" fmla="*/ 4609350 h 4808525"/>
              <a:gd name="connsiteX175" fmla="*/ 2495725 w 12886034"/>
              <a:gd name="connsiteY175" fmla="*/ 4168717 h 4808525"/>
              <a:gd name="connsiteX176" fmla="*/ 2495725 w 12886034"/>
              <a:gd name="connsiteY176" fmla="*/ 3874845 h 4808525"/>
              <a:gd name="connsiteX177" fmla="*/ 2116919 w 12886034"/>
              <a:gd name="connsiteY177" fmla="*/ 3969890 h 4808525"/>
              <a:gd name="connsiteX178" fmla="*/ 2116919 w 12886034"/>
              <a:gd name="connsiteY178" fmla="*/ 4101626 h 4808525"/>
              <a:gd name="connsiteX179" fmla="*/ 2825698 w 12886034"/>
              <a:gd name="connsiteY179" fmla="*/ 4808176 h 4808525"/>
              <a:gd name="connsiteX180" fmla="*/ 809585 w 12886034"/>
              <a:gd name="connsiteY180" fmla="*/ 4584890 h 4808525"/>
              <a:gd name="connsiteX181" fmla="*/ 335903 w 12886034"/>
              <a:gd name="connsiteY181" fmla="*/ 4092191 h 4808525"/>
              <a:gd name="connsiteX182" fmla="*/ 522166 w 12886034"/>
              <a:gd name="connsiteY182" fmla="*/ 3703623 h 4808525"/>
              <a:gd name="connsiteX183" fmla="*/ 1212807 w 12886034"/>
              <a:gd name="connsiteY183" fmla="*/ 4459444 h 4808525"/>
              <a:gd name="connsiteX184" fmla="*/ 809585 w 12886034"/>
              <a:gd name="connsiteY184" fmla="*/ 4584890 h 4808525"/>
              <a:gd name="connsiteX185" fmla="*/ 1178973 w 12886034"/>
              <a:gd name="connsiteY185" fmla="*/ 3489073 h 4808525"/>
              <a:gd name="connsiteX186" fmla="*/ 1579056 w 12886034"/>
              <a:gd name="connsiteY186" fmla="*/ 3880785 h 4808525"/>
              <a:gd name="connsiteX187" fmla="*/ 1481390 w 12886034"/>
              <a:gd name="connsiteY187" fmla="*/ 4208202 h 4808525"/>
              <a:gd name="connsiteX188" fmla="*/ 882834 w 12886034"/>
              <a:gd name="connsiteY188" fmla="*/ 3547078 h 4808525"/>
              <a:gd name="connsiteX189" fmla="*/ 1178973 w 12886034"/>
              <a:gd name="connsiteY189" fmla="*/ 3489073 h 4808525"/>
              <a:gd name="connsiteX190" fmla="*/ 809585 w 12886034"/>
              <a:gd name="connsiteY190" fmla="*/ 2730108 h 4808525"/>
              <a:gd name="connsiteX191" fmla="*/ 1096654 w 12886034"/>
              <a:gd name="connsiteY191" fmla="*/ 3023979 h 4808525"/>
              <a:gd name="connsiteX192" fmla="*/ 800167 w 12886034"/>
              <a:gd name="connsiteY192" fmla="*/ 3458672 h 4808525"/>
              <a:gd name="connsiteX193" fmla="*/ 668666 w 12886034"/>
              <a:gd name="connsiteY193" fmla="*/ 3311911 h 4808525"/>
              <a:gd name="connsiteX194" fmla="*/ 519027 w 12886034"/>
              <a:gd name="connsiteY194" fmla="*/ 3008954 h 4808525"/>
              <a:gd name="connsiteX195" fmla="*/ 809585 w 12886034"/>
              <a:gd name="connsiteY195" fmla="*/ 2730108 h 4808525"/>
              <a:gd name="connsiteX196" fmla="*/ 1576266 w 12886034"/>
              <a:gd name="connsiteY196" fmla="*/ 4312333 h 4808525"/>
              <a:gd name="connsiteX197" fmla="*/ 1835779 w 12886034"/>
              <a:gd name="connsiteY197" fmla="*/ 3715504 h 4808525"/>
              <a:gd name="connsiteX198" fmla="*/ 1435696 w 12886034"/>
              <a:gd name="connsiteY198" fmla="*/ 3326937 h 4808525"/>
              <a:gd name="connsiteX199" fmla="*/ 1069098 w 12886034"/>
              <a:gd name="connsiteY199" fmla="*/ 3400317 h 4808525"/>
              <a:gd name="connsiteX200" fmla="*/ 1062820 w 12886034"/>
              <a:gd name="connsiteY200" fmla="*/ 3388087 h 4808525"/>
              <a:gd name="connsiteX201" fmla="*/ 1392793 w 12886034"/>
              <a:gd name="connsiteY201" fmla="*/ 2984144 h 4808525"/>
              <a:gd name="connsiteX202" fmla="*/ 818305 w 12886034"/>
              <a:gd name="connsiteY202" fmla="*/ 2567971 h 4808525"/>
              <a:gd name="connsiteX203" fmla="*/ 189054 w 12886034"/>
              <a:gd name="connsiteY203" fmla="*/ 3097360 h 4808525"/>
              <a:gd name="connsiteX204" fmla="*/ 433569 w 12886034"/>
              <a:gd name="connsiteY204" fmla="*/ 3608578 h 4808525"/>
              <a:gd name="connsiteX205" fmla="*/ 436708 w 12886034"/>
              <a:gd name="connsiteY205" fmla="*/ 3614868 h 4808525"/>
              <a:gd name="connsiteX206" fmla="*/ 0 w 12886034"/>
              <a:gd name="connsiteY206" fmla="*/ 4230217 h 4808525"/>
              <a:gd name="connsiteX207" fmla="*/ 613903 w 12886034"/>
              <a:gd name="connsiteY207" fmla="*/ 4808526 h 4808525"/>
              <a:gd name="connsiteX208" fmla="*/ 1304544 w 12886034"/>
              <a:gd name="connsiteY208" fmla="*/ 4560779 h 4808525"/>
              <a:gd name="connsiteX209" fmla="*/ 1488017 w 12886034"/>
              <a:gd name="connsiteY209" fmla="*/ 4759605 h 4808525"/>
              <a:gd name="connsiteX210" fmla="*/ 1967629 w 12886034"/>
              <a:gd name="connsiteY210" fmla="*/ 4759605 h 4808525"/>
              <a:gd name="connsiteX211" fmla="*/ 1967629 w 12886034"/>
              <a:gd name="connsiteY211" fmla="*/ 4744230 h 4808525"/>
              <a:gd name="connsiteX212" fmla="*/ 1576266 w 12886034"/>
              <a:gd name="connsiteY212" fmla="*/ 4312333 h 480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12886034" h="4808525">
                <a:moveTo>
                  <a:pt x="9940695" y="2142364"/>
                </a:moveTo>
                <a:lnTo>
                  <a:pt x="9940695" y="1153823"/>
                </a:lnTo>
                <a:cubicBezTo>
                  <a:pt x="9940695" y="927391"/>
                  <a:pt x="10056848" y="795655"/>
                  <a:pt x="10243112" y="795655"/>
                </a:cubicBezTo>
                <a:cubicBezTo>
                  <a:pt x="10423446" y="795655"/>
                  <a:pt x="10502975" y="915161"/>
                  <a:pt x="10502975" y="1095467"/>
                </a:cubicBezTo>
                <a:lnTo>
                  <a:pt x="10502975" y="2142364"/>
                </a:lnTo>
                <a:lnTo>
                  <a:pt x="10863643" y="2142364"/>
                </a:lnTo>
                <a:lnTo>
                  <a:pt x="10863643" y="1092672"/>
                </a:lnTo>
                <a:cubicBezTo>
                  <a:pt x="10863643" y="777485"/>
                  <a:pt x="10698656" y="581454"/>
                  <a:pt x="10380892" y="581454"/>
                </a:cubicBezTo>
                <a:cubicBezTo>
                  <a:pt x="10154863" y="581454"/>
                  <a:pt x="10029641" y="679295"/>
                  <a:pt x="9959182" y="804741"/>
                </a:cubicBezTo>
                <a:lnTo>
                  <a:pt x="9940695" y="804741"/>
                </a:lnTo>
                <a:lnTo>
                  <a:pt x="9940695" y="611854"/>
                </a:lnTo>
                <a:lnTo>
                  <a:pt x="9580028" y="611854"/>
                </a:lnTo>
                <a:lnTo>
                  <a:pt x="9580028" y="2142015"/>
                </a:lnTo>
                <a:lnTo>
                  <a:pt x="9940695" y="2142015"/>
                </a:lnTo>
                <a:close/>
                <a:moveTo>
                  <a:pt x="8620803" y="2004688"/>
                </a:moveTo>
                <a:cubicBezTo>
                  <a:pt x="8385707" y="2004688"/>
                  <a:pt x="8254206" y="1781401"/>
                  <a:pt x="8254206" y="1377109"/>
                </a:cubicBezTo>
                <a:cubicBezTo>
                  <a:pt x="8254206" y="966877"/>
                  <a:pt x="8385707" y="749530"/>
                  <a:pt x="8620803" y="749530"/>
                </a:cubicBezTo>
                <a:cubicBezTo>
                  <a:pt x="8855901" y="749530"/>
                  <a:pt x="8987401" y="970022"/>
                  <a:pt x="8987401" y="1377109"/>
                </a:cubicBezTo>
                <a:cubicBezTo>
                  <a:pt x="8987401" y="1787342"/>
                  <a:pt x="8855901" y="2004688"/>
                  <a:pt x="8620803" y="2004688"/>
                </a:cubicBezTo>
                <a:moveTo>
                  <a:pt x="8620803" y="2173114"/>
                </a:moveTo>
                <a:cubicBezTo>
                  <a:pt x="9100416" y="2173114"/>
                  <a:pt x="9366208" y="1814947"/>
                  <a:pt x="9366208" y="1377459"/>
                </a:cubicBezTo>
                <a:cubicBezTo>
                  <a:pt x="9366208" y="939970"/>
                  <a:pt x="9100416" y="581803"/>
                  <a:pt x="8620803" y="581803"/>
                </a:cubicBezTo>
                <a:cubicBezTo>
                  <a:pt x="8141192" y="581803"/>
                  <a:pt x="7875400" y="939970"/>
                  <a:pt x="7875400" y="1377459"/>
                </a:cubicBezTo>
                <a:cubicBezTo>
                  <a:pt x="7875400" y="1814947"/>
                  <a:pt x="8141192" y="2173114"/>
                  <a:pt x="8620803" y="2173114"/>
                </a:cubicBezTo>
                <a:moveTo>
                  <a:pt x="7090232" y="2173114"/>
                </a:moveTo>
                <a:cubicBezTo>
                  <a:pt x="7502524" y="2173114"/>
                  <a:pt x="7725761" y="1980228"/>
                  <a:pt x="7725761" y="1674126"/>
                </a:cubicBezTo>
                <a:cubicBezTo>
                  <a:pt x="7725761" y="1386544"/>
                  <a:pt x="7527289" y="1267038"/>
                  <a:pt x="7319399" y="1214973"/>
                </a:cubicBezTo>
                <a:lnTo>
                  <a:pt x="7026051" y="1141592"/>
                </a:lnTo>
                <a:cubicBezTo>
                  <a:pt x="6879551" y="1104902"/>
                  <a:pt x="6815371" y="1037462"/>
                  <a:pt x="6815371" y="939621"/>
                </a:cubicBezTo>
                <a:cubicBezTo>
                  <a:pt x="6815371" y="817320"/>
                  <a:pt x="6919316" y="743590"/>
                  <a:pt x="7074884" y="743590"/>
                </a:cubicBezTo>
                <a:cubicBezTo>
                  <a:pt x="7258358" y="743590"/>
                  <a:pt x="7371372" y="844576"/>
                  <a:pt x="7386370" y="1037462"/>
                </a:cubicBezTo>
                <a:lnTo>
                  <a:pt x="7691926" y="945561"/>
                </a:lnTo>
                <a:cubicBezTo>
                  <a:pt x="7655302" y="731360"/>
                  <a:pt x="7444621" y="581454"/>
                  <a:pt x="7105231" y="581454"/>
                </a:cubicBezTo>
                <a:cubicBezTo>
                  <a:pt x="6772118" y="581454"/>
                  <a:pt x="6521674" y="722275"/>
                  <a:pt x="6521674" y="1022087"/>
                </a:cubicBezTo>
                <a:cubicBezTo>
                  <a:pt x="6521674" y="1276124"/>
                  <a:pt x="6695729" y="1413799"/>
                  <a:pt x="6891411" y="1462720"/>
                </a:cubicBezTo>
                <a:lnTo>
                  <a:pt x="7196967" y="1539245"/>
                </a:lnTo>
                <a:cubicBezTo>
                  <a:pt x="7358815" y="1579080"/>
                  <a:pt x="7432064" y="1637086"/>
                  <a:pt x="7432064" y="1765677"/>
                </a:cubicBezTo>
                <a:cubicBezTo>
                  <a:pt x="7432064" y="1921873"/>
                  <a:pt x="7322190" y="2010628"/>
                  <a:pt x="7129647" y="2010628"/>
                </a:cubicBezTo>
                <a:cubicBezTo>
                  <a:pt x="6921757" y="2010628"/>
                  <a:pt x="6815022" y="1909643"/>
                  <a:pt x="6781536" y="1655606"/>
                </a:cubicBezTo>
                <a:lnTo>
                  <a:pt x="6457842" y="1747506"/>
                </a:lnTo>
                <a:cubicBezTo>
                  <a:pt x="6475980" y="2010628"/>
                  <a:pt x="6720495" y="2173114"/>
                  <a:pt x="7090232" y="2173114"/>
                </a:cubicBezTo>
                <a:moveTo>
                  <a:pt x="5363978" y="2142364"/>
                </a:moveTo>
                <a:lnTo>
                  <a:pt x="5363978" y="1153823"/>
                </a:lnTo>
                <a:cubicBezTo>
                  <a:pt x="5363978" y="927391"/>
                  <a:pt x="5480132" y="795655"/>
                  <a:pt x="5666395" y="795655"/>
                </a:cubicBezTo>
                <a:cubicBezTo>
                  <a:pt x="5846729" y="795655"/>
                  <a:pt x="5926258" y="915161"/>
                  <a:pt x="5926258" y="1095467"/>
                </a:cubicBezTo>
                <a:lnTo>
                  <a:pt x="5926258" y="2142364"/>
                </a:lnTo>
                <a:lnTo>
                  <a:pt x="6286926" y="2142364"/>
                </a:lnTo>
                <a:lnTo>
                  <a:pt x="6286926" y="1092672"/>
                </a:lnTo>
                <a:cubicBezTo>
                  <a:pt x="6286926" y="777485"/>
                  <a:pt x="6121939" y="581454"/>
                  <a:pt x="5804175" y="581454"/>
                </a:cubicBezTo>
                <a:cubicBezTo>
                  <a:pt x="5578147" y="581454"/>
                  <a:pt x="5452925" y="679295"/>
                  <a:pt x="5382465" y="804741"/>
                </a:cubicBezTo>
                <a:lnTo>
                  <a:pt x="5363978" y="804741"/>
                </a:lnTo>
                <a:lnTo>
                  <a:pt x="5363978" y="611854"/>
                </a:lnTo>
                <a:lnTo>
                  <a:pt x="5003310" y="611854"/>
                </a:lnTo>
                <a:lnTo>
                  <a:pt x="5003310" y="2142015"/>
                </a:lnTo>
                <a:lnTo>
                  <a:pt x="5363978" y="2142015"/>
                </a:lnTo>
                <a:close/>
                <a:moveTo>
                  <a:pt x="3790851" y="2142364"/>
                </a:moveTo>
                <a:lnTo>
                  <a:pt x="3790851" y="1153823"/>
                </a:lnTo>
                <a:cubicBezTo>
                  <a:pt x="3790851" y="927391"/>
                  <a:pt x="3907005" y="795655"/>
                  <a:pt x="4093268" y="795655"/>
                </a:cubicBezTo>
                <a:cubicBezTo>
                  <a:pt x="4273603" y="795655"/>
                  <a:pt x="4352782" y="915161"/>
                  <a:pt x="4352782" y="1095467"/>
                </a:cubicBezTo>
                <a:lnTo>
                  <a:pt x="4352782" y="2142364"/>
                </a:lnTo>
                <a:lnTo>
                  <a:pt x="4713450" y="2142364"/>
                </a:lnTo>
                <a:lnTo>
                  <a:pt x="4713450" y="1092672"/>
                </a:lnTo>
                <a:cubicBezTo>
                  <a:pt x="4713450" y="777485"/>
                  <a:pt x="4548464" y="581454"/>
                  <a:pt x="4230699" y="581454"/>
                </a:cubicBezTo>
                <a:cubicBezTo>
                  <a:pt x="4004671" y="581454"/>
                  <a:pt x="3879449" y="679295"/>
                  <a:pt x="3808990" y="804741"/>
                </a:cubicBezTo>
                <a:lnTo>
                  <a:pt x="3790503" y="804741"/>
                </a:lnTo>
                <a:lnTo>
                  <a:pt x="3790503" y="0"/>
                </a:lnTo>
                <a:lnTo>
                  <a:pt x="3429835" y="0"/>
                </a:lnTo>
                <a:lnTo>
                  <a:pt x="3429835" y="2142364"/>
                </a:lnTo>
                <a:lnTo>
                  <a:pt x="3790851" y="2142364"/>
                </a:lnTo>
                <a:close/>
                <a:moveTo>
                  <a:pt x="2470960" y="2004688"/>
                </a:moveTo>
                <a:cubicBezTo>
                  <a:pt x="2235514" y="2004688"/>
                  <a:pt x="2104362" y="1781401"/>
                  <a:pt x="2104362" y="1377109"/>
                </a:cubicBezTo>
                <a:cubicBezTo>
                  <a:pt x="2104362" y="966877"/>
                  <a:pt x="2235863" y="749530"/>
                  <a:pt x="2470960" y="749530"/>
                </a:cubicBezTo>
                <a:cubicBezTo>
                  <a:pt x="2706057" y="749530"/>
                  <a:pt x="2837558" y="970022"/>
                  <a:pt x="2837558" y="1377109"/>
                </a:cubicBezTo>
                <a:cubicBezTo>
                  <a:pt x="2837906" y="1787342"/>
                  <a:pt x="2706406" y="2004688"/>
                  <a:pt x="2470960" y="2004688"/>
                </a:cubicBezTo>
                <a:moveTo>
                  <a:pt x="2470960" y="2173114"/>
                </a:moveTo>
                <a:cubicBezTo>
                  <a:pt x="2950572" y="2173114"/>
                  <a:pt x="3216364" y="1814947"/>
                  <a:pt x="3216364" y="1377459"/>
                </a:cubicBezTo>
                <a:cubicBezTo>
                  <a:pt x="3216364" y="939970"/>
                  <a:pt x="2950572" y="581803"/>
                  <a:pt x="2470960" y="581803"/>
                </a:cubicBezTo>
                <a:cubicBezTo>
                  <a:pt x="1991348" y="581803"/>
                  <a:pt x="1725556" y="939970"/>
                  <a:pt x="1725556" y="1377459"/>
                </a:cubicBezTo>
                <a:cubicBezTo>
                  <a:pt x="1725556" y="1814947"/>
                  <a:pt x="1991348" y="2173114"/>
                  <a:pt x="2470960" y="2173114"/>
                </a:cubicBezTo>
                <a:moveTo>
                  <a:pt x="802957" y="2191284"/>
                </a:moveTo>
                <a:cubicBezTo>
                  <a:pt x="1313264" y="2191284"/>
                  <a:pt x="1511736" y="1885182"/>
                  <a:pt x="1511736" y="1484385"/>
                </a:cubicBezTo>
                <a:lnTo>
                  <a:pt x="1511736" y="0"/>
                </a:lnTo>
                <a:lnTo>
                  <a:pt x="1132930" y="0"/>
                </a:lnTo>
                <a:lnTo>
                  <a:pt x="1132930" y="1582225"/>
                </a:lnTo>
                <a:cubicBezTo>
                  <a:pt x="1132930" y="1839407"/>
                  <a:pt x="1035264" y="1992458"/>
                  <a:pt x="802957" y="1992458"/>
                </a:cubicBezTo>
                <a:cubicBezTo>
                  <a:pt x="573790" y="1992458"/>
                  <a:pt x="472984" y="1830322"/>
                  <a:pt x="472984" y="1551825"/>
                </a:cubicBezTo>
                <a:lnTo>
                  <a:pt x="472984" y="1257953"/>
                </a:lnTo>
                <a:lnTo>
                  <a:pt x="94178" y="1352649"/>
                </a:lnTo>
                <a:lnTo>
                  <a:pt x="94178" y="1484385"/>
                </a:lnTo>
                <a:cubicBezTo>
                  <a:pt x="94178" y="1885182"/>
                  <a:pt x="292999" y="2191284"/>
                  <a:pt x="802957" y="2191284"/>
                </a:cubicBezTo>
                <a:moveTo>
                  <a:pt x="11963087" y="4759256"/>
                </a:moveTo>
                <a:lnTo>
                  <a:pt x="11963087" y="3770714"/>
                </a:lnTo>
                <a:cubicBezTo>
                  <a:pt x="11963087" y="3544283"/>
                  <a:pt x="12079241" y="3412547"/>
                  <a:pt x="12265504" y="3412547"/>
                </a:cubicBezTo>
                <a:cubicBezTo>
                  <a:pt x="12445838" y="3412547"/>
                  <a:pt x="12525366" y="3532053"/>
                  <a:pt x="12525366" y="3712359"/>
                </a:cubicBezTo>
                <a:lnTo>
                  <a:pt x="12525366" y="4759256"/>
                </a:lnTo>
                <a:lnTo>
                  <a:pt x="12886035" y="4759256"/>
                </a:lnTo>
                <a:lnTo>
                  <a:pt x="12886035" y="3709564"/>
                </a:lnTo>
                <a:cubicBezTo>
                  <a:pt x="12886035" y="3394377"/>
                  <a:pt x="12721048" y="3198346"/>
                  <a:pt x="12403283" y="3198346"/>
                </a:cubicBezTo>
                <a:cubicBezTo>
                  <a:pt x="12177256" y="3198346"/>
                  <a:pt x="12052034" y="3296186"/>
                  <a:pt x="11981574" y="3421632"/>
                </a:cubicBezTo>
                <a:lnTo>
                  <a:pt x="11963436" y="3421632"/>
                </a:lnTo>
                <a:lnTo>
                  <a:pt x="11963436" y="3228746"/>
                </a:lnTo>
                <a:lnTo>
                  <a:pt x="11602768" y="3228746"/>
                </a:lnTo>
                <a:lnTo>
                  <a:pt x="11602768" y="4758906"/>
                </a:lnTo>
                <a:lnTo>
                  <a:pt x="11963087" y="4758906"/>
                </a:lnTo>
                <a:close/>
                <a:moveTo>
                  <a:pt x="10643544" y="4621580"/>
                </a:moveTo>
                <a:cubicBezTo>
                  <a:pt x="10408448" y="4621580"/>
                  <a:pt x="10276946" y="4398293"/>
                  <a:pt x="10276946" y="3994001"/>
                </a:cubicBezTo>
                <a:cubicBezTo>
                  <a:pt x="10276946" y="3583769"/>
                  <a:pt x="10408448" y="3366422"/>
                  <a:pt x="10643544" y="3366422"/>
                </a:cubicBezTo>
                <a:cubicBezTo>
                  <a:pt x="10878641" y="3366422"/>
                  <a:pt x="11010143" y="3586913"/>
                  <a:pt x="11010143" y="3994001"/>
                </a:cubicBezTo>
                <a:cubicBezTo>
                  <a:pt x="11010143" y="4404234"/>
                  <a:pt x="10878641" y="4621580"/>
                  <a:pt x="10643544" y="4621580"/>
                </a:cubicBezTo>
                <a:moveTo>
                  <a:pt x="10643544" y="4790006"/>
                </a:moveTo>
                <a:cubicBezTo>
                  <a:pt x="11123156" y="4790006"/>
                  <a:pt x="11388948" y="4431839"/>
                  <a:pt x="11388948" y="3994350"/>
                </a:cubicBezTo>
                <a:cubicBezTo>
                  <a:pt x="11388948" y="3556513"/>
                  <a:pt x="11123156" y="3198695"/>
                  <a:pt x="10643544" y="3198695"/>
                </a:cubicBezTo>
                <a:cubicBezTo>
                  <a:pt x="10163933" y="3198695"/>
                  <a:pt x="9898141" y="3556862"/>
                  <a:pt x="9898141" y="3994350"/>
                </a:cubicBezTo>
                <a:cubicBezTo>
                  <a:pt x="9898141" y="4431839"/>
                  <a:pt x="10163933" y="4790006"/>
                  <a:pt x="10643544" y="4790006"/>
                </a:cubicBezTo>
                <a:moveTo>
                  <a:pt x="9112972" y="4790006"/>
                </a:moveTo>
                <a:cubicBezTo>
                  <a:pt x="9525264" y="4790006"/>
                  <a:pt x="9748502" y="4597119"/>
                  <a:pt x="9748502" y="4291018"/>
                </a:cubicBezTo>
                <a:cubicBezTo>
                  <a:pt x="9748502" y="4003435"/>
                  <a:pt x="9550029" y="3883930"/>
                  <a:pt x="9342140" y="3831865"/>
                </a:cubicBezTo>
                <a:lnTo>
                  <a:pt x="9048792" y="3758484"/>
                </a:lnTo>
                <a:cubicBezTo>
                  <a:pt x="8902292" y="3721794"/>
                  <a:pt x="8838111" y="3654354"/>
                  <a:pt x="8838111" y="3556513"/>
                </a:cubicBezTo>
                <a:cubicBezTo>
                  <a:pt x="8838111" y="3434212"/>
                  <a:pt x="8942056" y="3360482"/>
                  <a:pt x="9097974" y="3360482"/>
                </a:cubicBezTo>
                <a:cubicBezTo>
                  <a:pt x="9281446" y="3360482"/>
                  <a:pt x="9394461" y="3461468"/>
                  <a:pt x="9409460" y="3654354"/>
                </a:cubicBezTo>
                <a:lnTo>
                  <a:pt x="9715016" y="3562453"/>
                </a:lnTo>
                <a:cubicBezTo>
                  <a:pt x="9678391" y="3348252"/>
                  <a:pt x="9467711" y="3198346"/>
                  <a:pt x="9128320" y="3198346"/>
                </a:cubicBezTo>
                <a:cubicBezTo>
                  <a:pt x="8795208" y="3198346"/>
                  <a:pt x="8544763" y="3339167"/>
                  <a:pt x="8544763" y="3638978"/>
                </a:cubicBezTo>
                <a:cubicBezTo>
                  <a:pt x="8544763" y="3893015"/>
                  <a:pt x="8718819" y="4030691"/>
                  <a:pt x="8914500" y="4079611"/>
                </a:cubicBezTo>
                <a:lnTo>
                  <a:pt x="9220057" y="4156137"/>
                </a:lnTo>
                <a:cubicBezTo>
                  <a:pt x="9381903" y="4195972"/>
                  <a:pt x="9455153" y="4253978"/>
                  <a:pt x="9455153" y="4382569"/>
                </a:cubicBezTo>
                <a:cubicBezTo>
                  <a:pt x="9455153" y="4538764"/>
                  <a:pt x="9345279" y="4627520"/>
                  <a:pt x="9152737" y="4627520"/>
                </a:cubicBezTo>
                <a:cubicBezTo>
                  <a:pt x="8944846" y="4627520"/>
                  <a:pt x="8838111" y="4526535"/>
                  <a:pt x="8804626" y="4272498"/>
                </a:cubicBezTo>
                <a:lnTo>
                  <a:pt x="8480931" y="4364399"/>
                </a:lnTo>
                <a:cubicBezTo>
                  <a:pt x="8498720" y="4627520"/>
                  <a:pt x="8743235" y="4790006"/>
                  <a:pt x="9112972" y="4790006"/>
                </a:cubicBezTo>
                <a:moveTo>
                  <a:pt x="7386719" y="4759256"/>
                </a:moveTo>
                <a:lnTo>
                  <a:pt x="7386719" y="3770714"/>
                </a:lnTo>
                <a:cubicBezTo>
                  <a:pt x="7386719" y="3544283"/>
                  <a:pt x="7502872" y="3412547"/>
                  <a:pt x="7689136" y="3412547"/>
                </a:cubicBezTo>
                <a:cubicBezTo>
                  <a:pt x="7869470" y="3412547"/>
                  <a:pt x="7948649" y="3532053"/>
                  <a:pt x="7948649" y="3712359"/>
                </a:cubicBezTo>
                <a:lnTo>
                  <a:pt x="7948649" y="4759256"/>
                </a:lnTo>
                <a:lnTo>
                  <a:pt x="8309318" y="4759256"/>
                </a:lnTo>
                <a:lnTo>
                  <a:pt x="8309318" y="3709564"/>
                </a:lnTo>
                <a:cubicBezTo>
                  <a:pt x="8309318" y="3394377"/>
                  <a:pt x="8144331" y="3198346"/>
                  <a:pt x="7826566" y="3198346"/>
                </a:cubicBezTo>
                <a:cubicBezTo>
                  <a:pt x="7600539" y="3198346"/>
                  <a:pt x="7475317" y="3296186"/>
                  <a:pt x="7404857" y="3421632"/>
                </a:cubicBezTo>
                <a:lnTo>
                  <a:pt x="7386370" y="3421632"/>
                </a:lnTo>
                <a:lnTo>
                  <a:pt x="7386370" y="3228746"/>
                </a:lnTo>
                <a:lnTo>
                  <a:pt x="7025702" y="3228746"/>
                </a:lnTo>
                <a:lnTo>
                  <a:pt x="7025702" y="4758906"/>
                </a:lnTo>
                <a:lnTo>
                  <a:pt x="7386719" y="4758906"/>
                </a:lnTo>
                <a:close/>
                <a:moveTo>
                  <a:pt x="5813593" y="4759256"/>
                </a:moveTo>
                <a:lnTo>
                  <a:pt x="5813593" y="3770714"/>
                </a:lnTo>
                <a:cubicBezTo>
                  <a:pt x="5813593" y="3544283"/>
                  <a:pt x="5929746" y="3412547"/>
                  <a:pt x="6116010" y="3412547"/>
                </a:cubicBezTo>
                <a:cubicBezTo>
                  <a:pt x="6296343" y="3412547"/>
                  <a:pt x="6375523" y="3532053"/>
                  <a:pt x="6375523" y="3712359"/>
                </a:cubicBezTo>
                <a:lnTo>
                  <a:pt x="6375523" y="4759256"/>
                </a:lnTo>
                <a:lnTo>
                  <a:pt x="6736191" y="4759256"/>
                </a:lnTo>
                <a:lnTo>
                  <a:pt x="6736191" y="3709564"/>
                </a:lnTo>
                <a:cubicBezTo>
                  <a:pt x="6736191" y="3394377"/>
                  <a:pt x="6571205" y="3198346"/>
                  <a:pt x="6253440" y="3198346"/>
                </a:cubicBezTo>
                <a:cubicBezTo>
                  <a:pt x="6027412" y="3198346"/>
                  <a:pt x="5902190" y="3296186"/>
                  <a:pt x="5831730" y="3421632"/>
                </a:cubicBezTo>
                <a:lnTo>
                  <a:pt x="5813243" y="3421632"/>
                </a:lnTo>
                <a:lnTo>
                  <a:pt x="5813243" y="2616892"/>
                </a:lnTo>
                <a:lnTo>
                  <a:pt x="5452576" y="2616892"/>
                </a:lnTo>
                <a:lnTo>
                  <a:pt x="5452576" y="4759256"/>
                </a:lnTo>
                <a:lnTo>
                  <a:pt x="5813593" y="4759256"/>
                </a:lnTo>
                <a:close/>
                <a:moveTo>
                  <a:pt x="4493701" y="4621580"/>
                </a:moveTo>
                <a:cubicBezTo>
                  <a:pt x="4258604" y="4621580"/>
                  <a:pt x="4127103" y="4398293"/>
                  <a:pt x="4127103" y="3994001"/>
                </a:cubicBezTo>
                <a:cubicBezTo>
                  <a:pt x="4127103" y="3583769"/>
                  <a:pt x="4258604" y="3366422"/>
                  <a:pt x="4493701" y="3366422"/>
                </a:cubicBezTo>
                <a:cubicBezTo>
                  <a:pt x="4728798" y="3366422"/>
                  <a:pt x="4860299" y="3586913"/>
                  <a:pt x="4860299" y="3994001"/>
                </a:cubicBezTo>
                <a:cubicBezTo>
                  <a:pt x="4860299" y="4404234"/>
                  <a:pt x="4729147" y="4621580"/>
                  <a:pt x="4493701" y="4621580"/>
                </a:cubicBezTo>
                <a:moveTo>
                  <a:pt x="4493701" y="4790006"/>
                </a:moveTo>
                <a:cubicBezTo>
                  <a:pt x="4973313" y="4790006"/>
                  <a:pt x="5239105" y="4431839"/>
                  <a:pt x="5239105" y="3994350"/>
                </a:cubicBezTo>
                <a:cubicBezTo>
                  <a:pt x="5239105" y="3556513"/>
                  <a:pt x="4973313" y="3198695"/>
                  <a:pt x="4493701" y="3198695"/>
                </a:cubicBezTo>
                <a:cubicBezTo>
                  <a:pt x="4014089" y="3198695"/>
                  <a:pt x="3748297" y="3556862"/>
                  <a:pt x="3748297" y="3994350"/>
                </a:cubicBezTo>
                <a:cubicBezTo>
                  <a:pt x="3748297" y="4431839"/>
                  <a:pt x="4014089" y="4790006"/>
                  <a:pt x="4493701" y="4790006"/>
                </a:cubicBezTo>
                <a:moveTo>
                  <a:pt x="2825698" y="4808176"/>
                </a:moveTo>
                <a:cubicBezTo>
                  <a:pt x="3336005" y="4808176"/>
                  <a:pt x="3534477" y="4502074"/>
                  <a:pt x="3534477" y="4101276"/>
                </a:cubicBezTo>
                <a:lnTo>
                  <a:pt x="3534477" y="2616892"/>
                </a:lnTo>
                <a:lnTo>
                  <a:pt x="3155671" y="2616892"/>
                </a:lnTo>
                <a:lnTo>
                  <a:pt x="3155671" y="4199117"/>
                </a:lnTo>
                <a:cubicBezTo>
                  <a:pt x="3155671" y="4456299"/>
                  <a:pt x="3058005" y="4609350"/>
                  <a:pt x="2825698" y="4609350"/>
                </a:cubicBezTo>
                <a:cubicBezTo>
                  <a:pt x="2596531" y="4609350"/>
                  <a:pt x="2495725" y="4447214"/>
                  <a:pt x="2495725" y="4168717"/>
                </a:cubicBezTo>
                <a:lnTo>
                  <a:pt x="2495725" y="3874845"/>
                </a:lnTo>
                <a:lnTo>
                  <a:pt x="2116919" y="3969890"/>
                </a:lnTo>
                <a:lnTo>
                  <a:pt x="2116919" y="4101626"/>
                </a:lnTo>
                <a:cubicBezTo>
                  <a:pt x="2116919" y="4502074"/>
                  <a:pt x="2315391" y="4808176"/>
                  <a:pt x="2825698" y="4808176"/>
                </a:cubicBezTo>
                <a:moveTo>
                  <a:pt x="809585" y="4584890"/>
                </a:moveTo>
                <a:cubicBezTo>
                  <a:pt x="516237" y="4584890"/>
                  <a:pt x="335903" y="4346228"/>
                  <a:pt x="335903" y="4092191"/>
                </a:cubicBezTo>
                <a:cubicBezTo>
                  <a:pt x="335903" y="3933200"/>
                  <a:pt x="406013" y="3786089"/>
                  <a:pt x="522166" y="3703623"/>
                </a:cubicBezTo>
                <a:lnTo>
                  <a:pt x="1212807" y="4459444"/>
                </a:lnTo>
                <a:cubicBezTo>
                  <a:pt x="1084446" y="4535969"/>
                  <a:pt x="940737" y="4584890"/>
                  <a:pt x="809585" y="4584890"/>
                </a:cubicBezTo>
                <a:moveTo>
                  <a:pt x="1178973" y="3489073"/>
                </a:moveTo>
                <a:cubicBezTo>
                  <a:pt x="1426278" y="3489073"/>
                  <a:pt x="1579056" y="3633038"/>
                  <a:pt x="1579056" y="3880785"/>
                </a:cubicBezTo>
                <a:cubicBezTo>
                  <a:pt x="1579056" y="3990856"/>
                  <a:pt x="1548361" y="4104072"/>
                  <a:pt x="1481390" y="4208202"/>
                </a:cubicBezTo>
                <a:lnTo>
                  <a:pt x="882834" y="3547078"/>
                </a:lnTo>
                <a:cubicBezTo>
                  <a:pt x="989570" y="3504447"/>
                  <a:pt x="1093515" y="3489073"/>
                  <a:pt x="1178973" y="3489073"/>
                </a:cubicBezTo>
                <a:moveTo>
                  <a:pt x="809585" y="2730108"/>
                </a:moveTo>
                <a:cubicBezTo>
                  <a:pt x="989919" y="2730108"/>
                  <a:pt x="1096654" y="2834238"/>
                  <a:pt x="1096654" y="3023979"/>
                </a:cubicBezTo>
                <a:cubicBezTo>
                  <a:pt x="1096654" y="3198346"/>
                  <a:pt x="1011196" y="3363627"/>
                  <a:pt x="800167" y="3458672"/>
                </a:cubicBezTo>
                <a:lnTo>
                  <a:pt x="668666" y="3311911"/>
                </a:lnTo>
                <a:cubicBezTo>
                  <a:pt x="552513" y="3183320"/>
                  <a:pt x="519027" y="3103650"/>
                  <a:pt x="519027" y="3008954"/>
                </a:cubicBezTo>
                <a:cubicBezTo>
                  <a:pt x="519027" y="2831093"/>
                  <a:pt x="632390" y="2730108"/>
                  <a:pt x="809585" y="2730108"/>
                </a:cubicBezTo>
                <a:moveTo>
                  <a:pt x="1576266" y="4312333"/>
                </a:moveTo>
                <a:cubicBezTo>
                  <a:pt x="1741252" y="4116302"/>
                  <a:pt x="1835779" y="3902101"/>
                  <a:pt x="1835779" y="3715504"/>
                </a:cubicBezTo>
                <a:cubicBezTo>
                  <a:pt x="1835779" y="3482783"/>
                  <a:pt x="1679862" y="3326937"/>
                  <a:pt x="1435696" y="3326937"/>
                </a:cubicBezTo>
                <a:cubicBezTo>
                  <a:pt x="1307335" y="3326937"/>
                  <a:pt x="1163625" y="3363627"/>
                  <a:pt x="1069098" y="3400317"/>
                </a:cubicBezTo>
                <a:lnTo>
                  <a:pt x="1062820" y="3388087"/>
                </a:lnTo>
                <a:cubicBezTo>
                  <a:pt x="1295126" y="3262641"/>
                  <a:pt x="1392793" y="3146280"/>
                  <a:pt x="1392793" y="2984144"/>
                </a:cubicBezTo>
                <a:cubicBezTo>
                  <a:pt x="1392793" y="2751423"/>
                  <a:pt x="1184903" y="2567971"/>
                  <a:pt x="818305" y="2567971"/>
                </a:cubicBezTo>
                <a:cubicBezTo>
                  <a:pt x="396595" y="2567971"/>
                  <a:pt x="189054" y="2803488"/>
                  <a:pt x="189054" y="3097360"/>
                </a:cubicBezTo>
                <a:cubicBezTo>
                  <a:pt x="189054" y="3256351"/>
                  <a:pt x="256374" y="3415692"/>
                  <a:pt x="433569" y="3608578"/>
                </a:cubicBezTo>
                <a:lnTo>
                  <a:pt x="436708" y="3614868"/>
                </a:lnTo>
                <a:cubicBezTo>
                  <a:pt x="137431" y="3758833"/>
                  <a:pt x="0" y="3991205"/>
                  <a:pt x="0" y="4230217"/>
                </a:cubicBezTo>
                <a:cubicBezTo>
                  <a:pt x="0" y="4545404"/>
                  <a:pt x="241376" y="4808526"/>
                  <a:pt x="613903" y="4808526"/>
                </a:cubicBezTo>
                <a:cubicBezTo>
                  <a:pt x="827723" y="4808526"/>
                  <a:pt x="1078167" y="4719770"/>
                  <a:pt x="1304544" y="4560779"/>
                </a:cubicBezTo>
                <a:lnTo>
                  <a:pt x="1488017" y="4759605"/>
                </a:lnTo>
                <a:lnTo>
                  <a:pt x="1967629" y="4759605"/>
                </a:lnTo>
                <a:lnTo>
                  <a:pt x="1967629" y="4744230"/>
                </a:lnTo>
                <a:lnTo>
                  <a:pt x="1576266" y="4312333"/>
                </a:lnTo>
                <a:close/>
              </a:path>
            </a:pathLst>
          </a:custGeom>
          <a:solidFill>
            <a:schemeClr val="bg1"/>
          </a:solidFill>
          <a:ln w="34866" cap="flat">
            <a:noFill/>
            <a:prstDash val="solid"/>
            <a:miter/>
          </a:ln>
        </p:spPr>
        <p:txBody>
          <a:bodyPr rtlCol="0" anchor="ctr"/>
          <a:lstStyle/>
          <a:p>
            <a:endParaRPr lang="en-GB"/>
          </a:p>
        </p:txBody>
      </p:sp>
      <p:sp>
        <p:nvSpPr>
          <p:cNvPr id="3" name="Footer Placeholder 4">
            <a:extLst>
              <a:ext uri="{FF2B5EF4-FFF2-40B4-BE49-F238E27FC236}">
                <a16:creationId xmlns:a16="http://schemas.microsoft.com/office/drawing/2014/main" id="{9C609030-F259-96C7-8D8B-757B0CF2B39E}"/>
              </a:ext>
            </a:extLst>
          </p:cNvPr>
          <p:cNvSpPr txBox="1">
            <a:spLocks/>
          </p:cNvSpPr>
          <p:nvPr/>
        </p:nvSpPr>
        <p:spPr>
          <a:xfrm>
            <a:off x="10233891" y="427087"/>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0" i="0" kern="1200">
                <a:solidFill>
                  <a:schemeClr val="bg1"/>
                </a:solidFill>
                <a:latin typeface="+mn-lt"/>
                <a:ea typeface="+mn-ea"/>
                <a:cs typeface="+mn-cs"/>
              </a:rPr>
              <a:t>HEALTH CARE COMPLIANCE</a:t>
            </a:r>
          </a:p>
        </p:txBody>
      </p:sp>
    </p:spTree>
    <p:extLst>
      <p:ext uri="{BB962C8B-B14F-4D97-AF65-F5344CB8AC3E}">
        <p14:creationId xmlns:p14="http://schemas.microsoft.com/office/powerpoint/2010/main" val="2136879732"/>
      </p:ext>
    </p:extLst>
  </p:cSld>
  <p:clrMapOvr>
    <a:masterClrMapping/>
  </p:clrMapOvr>
  <p:hf hdr="0" dt="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节标题">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p:nvPr>
        </p:nvSpPr>
        <p:spPr>
          <a:xfrm>
            <a:off x="287338" y="266400"/>
            <a:ext cx="7693026" cy="1859099"/>
          </a:xfrm>
        </p:spPr>
        <p:txBody>
          <a:bodyPr anchor="t"/>
          <a:lstStyle>
            <a:lvl1pPr>
              <a:lnSpc>
                <a:spcPct val="80000"/>
              </a:lnSpc>
              <a:defRPr sz="7400" spc="0" baseline="0">
                <a:solidFill>
                  <a:schemeClr val="tx1"/>
                </a:solidFill>
              </a:defRPr>
            </a:lvl1pPr>
          </a:lstStyle>
          <a:p>
            <a:r>
              <a:rPr lang="zh-CN" altLang="en-US"/>
              <a:t>单击此处编辑母版标题样式</a:t>
            </a:r>
            <a:endParaRPr lang="en-GB"/>
          </a:p>
        </p:txBody>
      </p:sp>
      <p:sp>
        <p:nvSpPr>
          <p:cNvPr id="5" name="Footer Placeholder 4">
            <a:extLst>
              <a:ext uri="{FF2B5EF4-FFF2-40B4-BE49-F238E27FC236}">
                <a16:creationId xmlns:a16="http://schemas.microsoft.com/office/drawing/2014/main" id="{895F487D-4064-92B3-E439-C4C68E6D7889}"/>
              </a:ext>
            </a:extLst>
          </p:cNvPr>
          <p:cNvSpPr>
            <a:spLocks noGrp="1"/>
          </p:cNvSpPr>
          <p:nvPr>
            <p:ph type="ftr" sz="quarter" idx="11"/>
          </p:nvPr>
        </p:nvSpPr>
        <p:spPr/>
        <p:txBody>
          <a:bodyPr/>
          <a:lstStyle/>
          <a:p>
            <a:pPr>
              <a:spcBef>
                <a:spcPts val="0"/>
              </a:spcBef>
              <a:spcAft>
                <a:spcPts val="300"/>
              </a:spcAft>
            </a:pPr>
            <a:r>
              <a:rPr lang="en-US" b="0" i="0">
                <a:effectLst/>
              </a:rPr>
              <a:t>Job Aid and Guidance Document still under review.</a:t>
            </a:r>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p>
            <a:fld id="{AEC8D767-5246-2244-A4A3-B8AFB218393C}" type="slidenum">
              <a:rPr lang="en-GB" smtClean="0"/>
              <a:pPr/>
              <a:t>‹#›</a:t>
            </a:fld>
            <a:endParaRPr lang="en-GB"/>
          </a:p>
        </p:txBody>
      </p:sp>
    </p:spTree>
    <p:extLst>
      <p:ext uri="{BB962C8B-B14F-4D97-AF65-F5344CB8AC3E}">
        <p14:creationId xmlns:p14="http://schemas.microsoft.com/office/powerpoint/2010/main" val="2291401733"/>
      </p:ext>
    </p:extLst>
  </p:cSld>
  <p:clrMapOvr>
    <a:masterClrMapping/>
  </p:clrMapOvr>
  <p:hf hdr="0" dt="0"/>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Section Header 2">
    <p:bg>
      <p:bgPr>
        <a:solidFill>
          <a:srgbClr val="5E4F4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p:nvPr>
        </p:nvSpPr>
        <p:spPr>
          <a:xfrm>
            <a:off x="287338" y="266705"/>
            <a:ext cx="7693026" cy="1859099"/>
          </a:xfrm>
        </p:spPr>
        <p:txBody>
          <a:bodyPr anchor="t"/>
          <a:lstStyle>
            <a:lvl1pPr>
              <a:lnSpc>
                <a:spcPct val="80000"/>
              </a:lnSpc>
              <a:defRPr sz="7400" spc="0" baseline="0">
                <a:solidFill>
                  <a:schemeClr val="bg1"/>
                </a:solidFill>
              </a:defRPr>
            </a:lvl1pPr>
          </a:lstStyle>
          <a:p>
            <a:r>
              <a:rPr lang="zh-CN" altLang="en-US"/>
              <a:t>单击此处编辑母版标题样式</a:t>
            </a:r>
            <a:endParaRPr lang="en-GB"/>
          </a:p>
        </p:txBody>
      </p:sp>
      <p:sp>
        <p:nvSpPr>
          <p:cNvPr id="5" name="Footer Placeholder 4">
            <a:extLst>
              <a:ext uri="{FF2B5EF4-FFF2-40B4-BE49-F238E27FC236}">
                <a16:creationId xmlns:a16="http://schemas.microsoft.com/office/drawing/2014/main" id="{895F487D-4064-92B3-E439-C4C68E6D7889}"/>
              </a:ext>
            </a:extLst>
          </p:cNvPr>
          <p:cNvSpPr>
            <a:spLocks noGrp="1"/>
          </p:cNvSpPr>
          <p:nvPr>
            <p:ph type="ftr" sz="quarter" idx="11"/>
          </p:nvPr>
        </p:nvSpPr>
        <p:spPr/>
        <p:txBody>
          <a:bodyPr/>
          <a:lstStyle>
            <a:lvl1pPr>
              <a:defRPr>
                <a:solidFill>
                  <a:schemeClr val="bg1"/>
                </a:solidFill>
              </a:defRPr>
            </a:lvl1pPr>
          </a:lstStyle>
          <a:p>
            <a:pPr>
              <a:spcBef>
                <a:spcPts val="0"/>
              </a:spcBef>
              <a:spcAft>
                <a:spcPts val="300"/>
              </a:spcAft>
            </a:pPr>
            <a:r>
              <a:rPr lang="en-US" b="0" i="0">
                <a:effectLst/>
              </a:rPr>
              <a:t>Job Aid and Guidance Document still under review.</a:t>
            </a:r>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4" name="Graphic 8">
            <a:extLst>
              <a:ext uri="{FF2B5EF4-FFF2-40B4-BE49-F238E27FC236}">
                <a16:creationId xmlns:a16="http://schemas.microsoft.com/office/drawing/2014/main" id="{1BEEFE38-569A-A8EF-1D54-81764BE3F5BA}"/>
              </a:ext>
            </a:extLst>
          </p:cNvPr>
          <p:cNvSpPr>
            <a:spLocks noChangeAspect="1"/>
          </p:cNvSpPr>
          <p:nvPr/>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a:p>
        </p:txBody>
      </p:sp>
      <p:sp>
        <p:nvSpPr>
          <p:cNvPr id="3" name="Footer Placeholder 4">
            <a:extLst>
              <a:ext uri="{FF2B5EF4-FFF2-40B4-BE49-F238E27FC236}">
                <a16:creationId xmlns:a16="http://schemas.microsoft.com/office/drawing/2014/main" id="{4B482C32-A35C-8889-D0B7-486C3B364D30}"/>
              </a:ext>
            </a:extLst>
          </p:cNvPr>
          <p:cNvSpPr txBox="1">
            <a:spLocks/>
          </p:cNvSpPr>
          <p:nvPr/>
        </p:nvSpPr>
        <p:spPr>
          <a:xfrm>
            <a:off x="9772073" y="6424023"/>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0" i="0" kern="1200">
                <a:solidFill>
                  <a:schemeClr val="bg1"/>
                </a:solidFill>
                <a:latin typeface="+mn-lt"/>
                <a:ea typeface="+mn-ea"/>
                <a:cs typeface="+mn-cs"/>
              </a:rPr>
              <a:t>HEALTH CARE COMPLIANCE</a:t>
            </a:r>
          </a:p>
        </p:txBody>
      </p:sp>
    </p:spTree>
    <p:extLst>
      <p:ext uri="{BB962C8B-B14F-4D97-AF65-F5344CB8AC3E}">
        <p14:creationId xmlns:p14="http://schemas.microsoft.com/office/powerpoint/2010/main" val="1938357314"/>
      </p:ext>
    </p:extLst>
  </p:cSld>
  <p:clrMapOvr>
    <a:masterClrMapping/>
  </p:clrMapOvr>
  <p:hf hdr="0" dt="0"/>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Section Header with Imag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p:nvPr>
        </p:nvSpPr>
        <p:spPr>
          <a:xfrm>
            <a:off x="289384" y="266400"/>
            <a:ext cx="5732004" cy="2770117"/>
          </a:xfrm>
        </p:spPr>
        <p:txBody>
          <a:bodyPr anchor="t"/>
          <a:lstStyle>
            <a:lvl1pPr>
              <a:lnSpc>
                <a:spcPct val="80000"/>
              </a:lnSpc>
              <a:defRPr sz="7400" spc="0" baseline="0">
                <a:solidFill>
                  <a:schemeClr val="bg1"/>
                </a:solidFill>
              </a:defRPr>
            </a:lvl1pPr>
          </a:lstStyle>
          <a:p>
            <a:r>
              <a:rPr lang="zh-CN" altLang="en-US"/>
              <a:t>单击此处编辑母版标题样式</a:t>
            </a:r>
            <a:endParaRPr lang="en-GB"/>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3" name="Graphic 8">
            <a:extLst>
              <a:ext uri="{FF2B5EF4-FFF2-40B4-BE49-F238E27FC236}">
                <a16:creationId xmlns:a16="http://schemas.microsoft.com/office/drawing/2014/main" id="{D45A48FB-9AA7-F5E5-80E7-97EC299F000F}"/>
              </a:ext>
            </a:extLst>
          </p:cNvPr>
          <p:cNvSpPr>
            <a:spLocks noChangeAspect="1"/>
          </p:cNvSpPr>
          <p:nvPr/>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a:p>
        </p:txBody>
      </p:sp>
      <p:sp>
        <p:nvSpPr>
          <p:cNvPr id="4" name="Picture Placeholder 3">
            <a:extLst>
              <a:ext uri="{FF2B5EF4-FFF2-40B4-BE49-F238E27FC236}">
                <a16:creationId xmlns:a16="http://schemas.microsoft.com/office/drawing/2014/main" id="{E97FF01E-CE3E-39E2-D61B-0FA837B6BDA6}"/>
              </a:ext>
            </a:extLst>
          </p:cNvPr>
          <p:cNvSpPr>
            <a:spLocks noGrp="1"/>
          </p:cNvSpPr>
          <p:nvPr>
            <p:ph type="pic" sz="quarter" idx="13" hasCustomPrompt="1"/>
          </p:nvPr>
        </p:nvSpPr>
        <p:spPr>
          <a:xfrm>
            <a:off x="6562381" y="0"/>
            <a:ext cx="5629619" cy="6858000"/>
          </a:xfrm>
          <a:solidFill>
            <a:srgbClr val="F6F3F2"/>
          </a:solidFill>
        </p:spPr>
        <p:txBody>
          <a:bodyPr/>
          <a:lstStyle>
            <a:lvl1pPr>
              <a:defRPr lang="en-US"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8" name="Footer Placeholder 4">
            <a:extLst>
              <a:ext uri="{FF2B5EF4-FFF2-40B4-BE49-F238E27FC236}">
                <a16:creationId xmlns:a16="http://schemas.microsoft.com/office/drawing/2014/main" id="{DA580FDF-30B7-090A-D963-9A63CD09EF4F}"/>
              </a:ext>
            </a:extLst>
          </p:cNvPr>
          <p:cNvSpPr txBox="1">
            <a:spLocks/>
          </p:cNvSpPr>
          <p:nvPr/>
        </p:nvSpPr>
        <p:spPr>
          <a:xfrm>
            <a:off x="4490722" y="6405040"/>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0" i="0" kern="1200">
                <a:solidFill>
                  <a:schemeClr val="bg1"/>
                </a:solidFill>
                <a:latin typeface="+mn-lt"/>
                <a:ea typeface="+mn-ea"/>
                <a:cs typeface="+mn-cs"/>
              </a:rPr>
              <a:t>HEALTH CARE COMPLIANCE</a:t>
            </a:r>
          </a:p>
        </p:txBody>
      </p:sp>
    </p:spTree>
    <p:extLst>
      <p:ext uri="{BB962C8B-B14F-4D97-AF65-F5344CB8AC3E}">
        <p14:creationId xmlns:p14="http://schemas.microsoft.com/office/powerpoint/2010/main" val="2590650662"/>
      </p:ext>
    </p:extLst>
  </p:cSld>
  <p:clrMapOvr>
    <a:masterClrMapping/>
  </p:clrMapOvr>
  <p:hf hdr="0" dt="0"/>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ection Header with Image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p:nvPr>
        </p:nvSpPr>
        <p:spPr>
          <a:xfrm>
            <a:off x="289384" y="270000"/>
            <a:ext cx="5732004" cy="2770117"/>
          </a:xfrm>
        </p:spPr>
        <p:txBody>
          <a:bodyPr anchor="t"/>
          <a:lstStyle>
            <a:lvl1pPr>
              <a:lnSpc>
                <a:spcPct val="80000"/>
              </a:lnSpc>
              <a:defRPr sz="7400" spc="0" baseline="0">
                <a:solidFill>
                  <a:schemeClr val="tx2"/>
                </a:solidFill>
              </a:defRPr>
            </a:lvl1pPr>
          </a:lstStyle>
          <a:p>
            <a:r>
              <a:rPr lang="zh-CN" altLang="en-US"/>
              <a:t>单击此处编辑母版标题样式</a:t>
            </a:r>
            <a:endParaRPr lang="en-GB"/>
          </a:p>
        </p:txBody>
      </p:sp>
      <p:sp>
        <p:nvSpPr>
          <p:cNvPr id="11" name="Picture Placeholder 10">
            <a:extLst>
              <a:ext uri="{FF2B5EF4-FFF2-40B4-BE49-F238E27FC236}">
                <a16:creationId xmlns:a16="http://schemas.microsoft.com/office/drawing/2014/main" id="{A6BED0E8-5F3C-7ED5-6D85-7ADCF623965A}"/>
              </a:ext>
            </a:extLst>
          </p:cNvPr>
          <p:cNvSpPr>
            <a:spLocks noGrp="1"/>
          </p:cNvSpPr>
          <p:nvPr>
            <p:ph type="pic" sz="quarter" idx="13" hasCustomPrompt="1"/>
          </p:nvPr>
        </p:nvSpPr>
        <p:spPr>
          <a:xfrm>
            <a:off x="6165850" y="0"/>
            <a:ext cx="6026150" cy="6858000"/>
          </a:xfrm>
          <a:solidFill>
            <a:srgbClr val="F6F3F2"/>
          </a:solidFill>
        </p:spPr>
        <p:txBody>
          <a:bodyPr/>
          <a:lstStyle>
            <a:lvl1pPr>
              <a:defRPr b="0" i="0">
                <a:latin typeface="+mn-lt"/>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3" name="Footer Placeholder 4">
            <a:extLst>
              <a:ext uri="{FF2B5EF4-FFF2-40B4-BE49-F238E27FC236}">
                <a16:creationId xmlns:a16="http://schemas.microsoft.com/office/drawing/2014/main" id="{67AB2696-A07F-B2A5-D8C5-7F85704314B5}"/>
              </a:ext>
            </a:extLst>
          </p:cNvPr>
          <p:cNvSpPr txBox="1">
            <a:spLocks/>
          </p:cNvSpPr>
          <p:nvPr/>
        </p:nvSpPr>
        <p:spPr>
          <a:xfrm>
            <a:off x="4345799" y="6415711"/>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0" i="0" kern="1200">
                <a:solidFill>
                  <a:schemeClr val="tx1"/>
                </a:solidFill>
                <a:latin typeface="+mn-lt"/>
                <a:ea typeface="+mn-ea"/>
                <a:cs typeface="+mn-cs"/>
              </a:rPr>
              <a:t>HEALTH CARE COMPLIANCE</a:t>
            </a:r>
          </a:p>
        </p:txBody>
      </p:sp>
    </p:spTree>
    <p:extLst>
      <p:ext uri="{BB962C8B-B14F-4D97-AF65-F5344CB8AC3E}">
        <p14:creationId xmlns:p14="http://schemas.microsoft.com/office/powerpoint/2010/main" val="3540108267"/>
      </p:ext>
    </p:extLst>
  </p:cSld>
  <p:clrMapOvr>
    <a:masterClrMapping/>
  </p:clrMapOvr>
  <p:hf hdr="0" dt="0"/>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C22AC-FEA7-AD51-FB22-01EC3D276410}"/>
              </a:ext>
            </a:extLst>
          </p:cNvPr>
          <p:cNvSpPr>
            <a:spLocks noGrp="1"/>
          </p:cNvSpPr>
          <p:nvPr>
            <p:ph type="title"/>
          </p:nvPr>
        </p:nvSpPr>
        <p:spPr>
          <a:xfrm>
            <a:off x="286715" y="273600"/>
            <a:ext cx="1811959" cy="392415"/>
          </a:xfrm>
        </p:spPr>
        <p:txBody>
          <a:bodyPr/>
          <a:lstStyle>
            <a:lvl1pPr>
              <a:lnSpc>
                <a:spcPct val="85000"/>
              </a:lnSpc>
              <a:defRPr sz="1500" b="1" i="0">
                <a:solidFill>
                  <a:schemeClr val="tx1"/>
                </a:solidFill>
                <a:latin typeface="+mn-lt"/>
              </a:defRPr>
            </a:lvl1pPr>
          </a:lstStyle>
          <a:p>
            <a:r>
              <a:rPr lang="zh-CN" altLang="en-US"/>
              <a:t>单击此处编辑母版标题样式</a:t>
            </a:r>
            <a:endParaRPr lang="en-GB"/>
          </a:p>
        </p:txBody>
      </p:sp>
      <p:sp>
        <p:nvSpPr>
          <p:cNvPr id="6" name="Text Placeholder 5">
            <a:extLst>
              <a:ext uri="{FF2B5EF4-FFF2-40B4-BE49-F238E27FC236}">
                <a16:creationId xmlns:a16="http://schemas.microsoft.com/office/drawing/2014/main" id="{D07DAC6C-95A8-D53D-7D6B-43128BEEF186}"/>
              </a:ext>
            </a:extLst>
          </p:cNvPr>
          <p:cNvSpPr>
            <a:spLocks noGrp="1"/>
          </p:cNvSpPr>
          <p:nvPr>
            <p:ph type="body" sz="quarter" idx="13"/>
          </p:nvPr>
        </p:nvSpPr>
        <p:spPr>
          <a:xfrm>
            <a:off x="3225801" y="277200"/>
            <a:ext cx="8966200" cy="5995014"/>
          </a:xfrm>
        </p:spPr>
        <p:txBody>
          <a:bodyPr/>
          <a:lstStyle>
            <a:lvl1pPr marL="981075" indent="-981075">
              <a:lnSpc>
                <a:spcPct val="80000"/>
              </a:lnSpc>
              <a:spcBef>
                <a:spcPts val="600"/>
              </a:spcBef>
              <a:spcAft>
                <a:spcPts val="600"/>
              </a:spcAft>
              <a:buFont typeface="+mj-lt"/>
              <a:buAutoNum type="arabicPeriod"/>
              <a:tabLst/>
              <a:defRPr sz="3000" b="0" i="0">
                <a:latin typeface="+mj-lt"/>
              </a:defRPr>
            </a:lvl1pPr>
            <a:lvl2pPr marL="1201738" indent="-220663">
              <a:tabLst/>
              <a:defRPr/>
            </a:lvl2pPr>
            <a:lvl3pPr marL="1201738" indent="-220663">
              <a:tabLst/>
              <a:defRPr/>
            </a:lvl3pPr>
            <a:lvl4pPr marL="1201738" indent="-220663">
              <a:tabLst/>
              <a:defRPr/>
            </a:lvl4pPr>
            <a:lvl5pPr marL="1201738" indent="-220663">
              <a:tabLst/>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pPr>
              <a:spcBef>
                <a:spcPts val="0"/>
              </a:spcBef>
              <a:spcAft>
                <a:spcPts val="300"/>
              </a:spcAft>
            </a:pPr>
            <a:r>
              <a:rPr lang="en-US" b="0" i="0">
                <a:effectLst/>
              </a:rPr>
              <a:t>Job Aid and Guidance Document still under review.</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Tree>
    <p:extLst>
      <p:ext uri="{BB962C8B-B14F-4D97-AF65-F5344CB8AC3E}">
        <p14:creationId xmlns:p14="http://schemas.microsoft.com/office/powerpoint/2010/main" val="129454139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2F4DE542-4D98-B05D-597C-9623E7D2E7C2}"/>
              </a:ext>
            </a:extLst>
          </p:cNvPr>
          <p:cNvSpPr>
            <a:spLocks noGrp="1"/>
          </p:cNvSpPr>
          <p:nvPr>
            <p:ph type="title"/>
          </p:nvPr>
        </p:nvSpPr>
        <p:spPr>
          <a:xfrm>
            <a:off x="286715" y="273600"/>
            <a:ext cx="1811959" cy="392415"/>
          </a:xfrm>
        </p:spPr>
        <p:txBody>
          <a:bodyPr/>
          <a:lstStyle>
            <a:lvl1pPr>
              <a:lnSpc>
                <a:spcPct val="85000"/>
              </a:lnSpc>
              <a:defRPr sz="1500" b="1" i="0">
                <a:solidFill>
                  <a:schemeClr val="tx1"/>
                </a:solidFill>
                <a:latin typeface="+mn-lt"/>
              </a:defRPr>
            </a:lvl1pPr>
          </a:lstStyle>
          <a:p>
            <a:r>
              <a:rPr lang="zh-CN" altLang="en-US"/>
              <a:t>单击此处编辑母版标题样式</a:t>
            </a:r>
            <a:endParaRPr lang="en-GB"/>
          </a:p>
        </p:txBody>
      </p:sp>
      <p:sp>
        <p:nvSpPr>
          <p:cNvPr id="151" name="Picture Placeholder 92">
            <a:extLst>
              <a:ext uri="{FF2B5EF4-FFF2-40B4-BE49-F238E27FC236}">
                <a16:creationId xmlns:a16="http://schemas.microsoft.com/office/drawing/2014/main" id="{414C0709-0B1A-11C5-45EE-CC44E7A13411}"/>
              </a:ext>
            </a:extLst>
          </p:cNvPr>
          <p:cNvSpPr>
            <a:spLocks noGrp="1"/>
          </p:cNvSpPr>
          <p:nvPr>
            <p:ph type="pic" sz="quarter" idx="56" hasCustomPrompt="1"/>
          </p:nvPr>
        </p:nvSpPr>
        <p:spPr>
          <a:xfrm>
            <a:off x="3225799" y="933132"/>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b="0" i="0">
                <a:latin typeface="+mn-lt"/>
              </a:defRPr>
            </a:lvl1pPr>
          </a:lstStyle>
          <a:p>
            <a:r>
              <a:rPr lang="en-GB"/>
              <a:t> </a:t>
            </a:r>
          </a:p>
        </p:txBody>
      </p:sp>
      <p:sp>
        <p:nvSpPr>
          <p:cNvPr id="163" name="Text Placeholder 5">
            <a:extLst>
              <a:ext uri="{FF2B5EF4-FFF2-40B4-BE49-F238E27FC236}">
                <a16:creationId xmlns:a16="http://schemas.microsoft.com/office/drawing/2014/main" id="{12B824E8-EE25-7DB2-F96D-DEA8631E51FB}"/>
              </a:ext>
            </a:extLst>
          </p:cNvPr>
          <p:cNvSpPr>
            <a:spLocks noGrp="1"/>
          </p:cNvSpPr>
          <p:nvPr>
            <p:ph type="body" sz="quarter" idx="13" hasCustomPrompt="1"/>
          </p:nvPr>
        </p:nvSpPr>
        <p:spPr>
          <a:xfrm>
            <a:off x="3225800" y="231771"/>
            <a:ext cx="836613" cy="228909"/>
          </a:xfrm>
        </p:spPr>
        <p:txBody>
          <a:bodyPr wrap="square">
            <a:no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64" name="Text Placeholder 5">
            <a:extLst>
              <a:ext uri="{FF2B5EF4-FFF2-40B4-BE49-F238E27FC236}">
                <a16:creationId xmlns:a16="http://schemas.microsoft.com/office/drawing/2014/main" id="{A4F70AC5-374E-DFC2-2B29-2318F0BB51E4}"/>
              </a:ext>
            </a:extLst>
          </p:cNvPr>
          <p:cNvSpPr>
            <a:spLocks noGrp="1"/>
          </p:cNvSpPr>
          <p:nvPr>
            <p:ph type="body" sz="quarter" idx="14"/>
          </p:nvPr>
        </p:nvSpPr>
        <p:spPr>
          <a:xfrm>
            <a:off x="4206875" y="231771"/>
            <a:ext cx="4754563"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zh-CN" altLang="en-US"/>
              <a:t>单击此处编辑母版文本样式</a:t>
            </a:r>
          </a:p>
        </p:txBody>
      </p:sp>
      <p:sp>
        <p:nvSpPr>
          <p:cNvPr id="165" name="Text Placeholder 5">
            <a:extLst>
              <a:ext uri="{FF2B5EF4-FFF2-40B4-BE49-F238E27FC236}">
                <a16:creationId xmlns:a16="http://schemas.microsoft.com/office/drawing/2014/main" id="{EB857D0D-CD76-A612-A712-E14D8C7049C6}"/>
              </a:ext>
            </a:extLst>
          </p:cNvPr>
          <p:cNvSpPr>
            <a:spLocks noGrp="1"/>
          </p:cNvSpPr>
          <p:nvPr>
            <p:ph type="body" sz="quarter" idx="15" hasCustomPrompt="1"/>
          </p:nvPr>
        </p:nvSpPr>
        <p:spPr>
          <a:xfrm>
            <a:off x="9106462" y="231771"/>
            <a:ext cx="2794059"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66" name="Picture Placeholder 91">
            <a:extLst>
              <a:ext uri="{FF2B5EF4-FFF2-40B4-BE49-F238E27FC236}">
                <a16:creationId xmlns:a16="http://schemas.microsoft.com/office/drawing/2014/main" id="{23E05799-FE6A-9155-DA4E-C09C4B03CA27}"/>
              </a:ext>
            </a:extLst>
          </p:cNvPr>
          <p:cNvSpPr>
            <a:spLocks noGrp="1"/>
          </p:cNvSpPr>
          <p:nvPr>
            <p:ph type="pic" sz="quarter" idx="55" hasCustomPrompt="1"/>
          </p:nvPr>
        </p:nvSpPr>
        <p:spPr>
          <a:xfrm>
            <a:off x="3225799" y="538994"/>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b="0" i="0">
                <a:latin typeface="+mn-lt"/>
              </a:defRPr>
            </a:lvl1pPr>
          </a:lstStyle>
          <a:p>
            <a:r>
              <a:rPr lang="en-GB"/>
              <a:t>  </a:t>
            </a:r>
          </a:p>
        </p:txBody>
      </p:sp>
      <p:sp>
        <p:nvSpPr>
          <p:cNvPr id="167" name="Text Placeholder 5">
            <a:extLst>
              <a:ext uri="{FF2B5EF4-FFF2-40B4-BE49-F238E27FC236}">
                <a16:creationId xmlns:a16="http://schemas.microsoft.com/office/drawing/2014/main" id="{24089EB1-E806-6913-C5B8-A4C01D0814E6}"/>
              </a:ext>
            </a:extLst>
          </p:cNvPr>
          <p:cNvSpPr>
            <a:spLocks noGrp="1"/>
          </p:cNvSpPr>
          <p:nvPr>
            <p:ph type="body" sz="quarter" idx="16" hasCustomPrompt="1"/>
          </p:nvPr>
        </p:nvSpPr>
        <p:spPr>
          <a:xfrm>
            <a:off x="3225800" y="625471"/>
            <a:ext cx="836613" cy="228909"/>
          </a:xfrm>
        </p:spPr>
        <p:txBody>
          <a:bodyPr wrap="square">
            <a:no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68" name="Text Placeholder 5">
            <a:extLst>
              <a:ext uri="{FF2B5EF4-FFF2-40B4-BE49-F238E27FC236}">
                <a16:creationId xmlns:a16="http://schemas.microsoft.com/office/drawing/2014/main" id="{10C7981E-34E4-22AC-19D7-855BF963AC6A}"/>
              </a:ext>
            </a:extLst>
          </p:cNvPr>
          <p:cNvSpPr>
            <a:spLocks noGrp="1"/>
          </p:cNvSpPr>
          <p:nvPr>
            <p:ph type="body" sz="quarter" idx="17"/>
          </p:nvPr>
        </p:nvSpPr>
        <p:spPr>
          <a:xfrm>
            <a:off x="4206875" y="625471"/>
            <a:ext cx="4754563"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zh-CN" altLang="en-US"/>
              <a:t>单击此处编辑母版文本样式</a:t>
            </a:r>
          </a:p>
        </p:txBody>
      </p:sp>
      <p:sp>
        <p:nvSpPr>
          <p:cNvPr id="169" name="Text Placeholder 5">
            <a:extLst>
              <a:ext uri="{FF2B5EF4-FFF2-40B4-BE49-F238E27FC236}">
                <a16:creationId xmlns:a16="http://schemas.microsoft.com/office/drawing/2014/main" id="{127EEF89-640D-17FA-3E79-57DA3786E32A}"/>
              </a:ext>
            </a:extLst>
          </p:cNvPr>
          <p:cNvSpPr>
            <a:spLocks noGrp="1"/>
          </p:cNvSpPr>
          <p:nvPr>
            <p:ph type="body" sz="quarter" idx="18" hasCustomPrompt="1"/>
          </p:nvPr>
        </p:nvSpPr>
        <p:spPr>
          <a:xfrm>
            <a:off x="9106462" y="625471"/>
            <a:ext cx="2794059"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70" name="Text Placeholder 5">
            <a:extLst>
              <a:ext uri="{FF2B5EF4-FFF2-40B4-BE49-F238E27FC236}">
                <a16:creationId xmlns:a16="http://schemas.microsoft.com/office/drawing/2014/main" id="{C3E76B7F-03AC-D5BD-BECC-8B0881567D59}"/>
              </a:ext>
            </a:extLst>
          </p:cNvPr>
          <p:cNvSpPr>
            <a:spLocks noGrp="1"/>
          </p:cNvSpPr>
          <p:nvPr>
            <p:ph type="body" sz="quarter" idx="19" hasCustomPrompt="1"/>
          </p:nvPr>
        </p:nvSpPr>
        <p:spPr>
          <a:xfrm>
            <a:off x="3225800" y="1022195"/>
            <a:ext cx="836613" cy="228909"/>
          </a:xfrm>
        </p:spPr>
        <p:txBody>
          <a:bodyPr wrap="square">
            <a:no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71" name="Text Placeholder 5">
            <a:extLst>
              <a:ext uri="{FF2B5EF4-FFF2-40B4-BE49-F238E27FC236}">
                <a16:creationId xmlns:a16="http://schemas.microsoft.com/office/drawing/2014/main" id="{8344A73D-BCE2-9041-0430-DCA16AE2194A}"/>
              </a:ext>
            </a:extLst>
          </p:cNvPr>
          <p:cNvSpPr>
            <a:spLocks noGrp="1"/>
          </p:cNvSpPr>
          <p:nvPr>
            <p:ph type="body" sz="quarter" idx="20"/>
          </p:nvPr>
        </p:nvSpPr>
        <p:spPr>
          <a:xfrm>
            <a:off x="4206875" y="1022195"/>
            <a:ext cx="4754563"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zh-CN" altLang="en-US"/>
              <a:t>单击此处编辑母版文本样式</a:t>
            </a:r>
          </a:p>
        </p:txBody>
      </p:sp>
      <p:sp>
        <p:nvSpPr>
          <p:cNvPr id="172" name="Text Placeholder 5">
            <a:extLst>
              <a:ext uri="{FF2B5EF4-FFF2-40B4-BE49-F238E27FC236}">
                <a16:creationId xmlns:a16="http://schemas.microsoft.com/office/drawing/2014/main" id="{BA7AD8A2-995B-0025-7B23-12D44BEB24F7}"/>
              </a:ext>
            </a:extLst>
          </p:cNvPr>
          <p:cNvSpPr>
            <a:spLocks noGrp="1"/>
          </p:cNvSpPr>
          <p:nvPr>
            <p:ph type="body" sz="quarter" idx="21" hasCustomPrompt="1"/>
          </p:nvPr>
        </p:nvSpPr>
        <p:spPr>
          <a:xfrm>
            <a:off x="9106462" y="1022195"/>
            <a:ext cx="2794059"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73" name="Picture Placeholder 93">
            <a:extLst>
              <a:ext uri="{FF2B5EF4-FFF2-40B4-BE49-F238E27FC236}">
                <a16:creationId xmlns:a16="http://schemas.microsoft.com/office/drawing/2014/main" id="{C7221CC4-5A16-F8BC-F970-B26EBD5A8BA8}"/>
              </a:ext>
            </a:extLst>
          </p:cNvPr>
          <p:cNvSpPr>
            <a:spLocks noGrp="1"/>
          </p:cNvSpPr>
          <p:nvPr>
            <p:ph type="pic" sz="quarter" idx="57" hasCustomPrompt="1"/>
          </p:nvPr>
        </p:nvSpPr>
        <p:spPr>
          <a:xfrm>
            <a:off x="3225799" y="1335152"/>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b="0" i="0">
                <a:latin typeface="+mn-lt"/>
              </a:defRPr>
            </a:lvl1pPr>
          </a:lstStyle>
          <a:p>
            <a:r>
              <a:rPr lang="en-GB"/>
              <a:t> </a:t>
            </a:r>
          </a:p>
        </p:txBody>
      </p:sp>
      <p:sp>
        <p:nvSpPr>
          <p:cNvPr id="174" name="Text Placeholder 5">
            <a:extLst>
              <a:ext uri="{FF2B5EF4-FFF2-40B4-BE49-F238E27FC236}">
                <a16:creationId xmlns:a16="http://schemas.microsoft.com/office/drawing/2014/main" id="{B4AD80BA-61F2-11A3-5213-31194E78CF82}"/>
              </a:ext>
            </a:extLst>
          </p:cNvPr>
          <p:cNvSpPr>
            <a:spLocks noGrp="1"/>
          </p:cNvSpPr>
          <p:nvPr>
            <p:ph type="body" sz="quarter" idx="22" hasCustomPrompt="1"/>
          </p:nvPr>
        </p:nvSpPr>
        <p:spPr>
          <a:xfrm>
            <a:off x="3225800" y="1418919"/>
            <a:ext cx="836613" cy="228909"/>
          </a:xfrm>
        </p:spPr>
        <p:txBody>
          <a:bodyPr wrap="square">
            <a:no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75" name="Text Placeholder 5">
            <a:extLst>
              <a:ext uri="{FF2B5EF4-FFF2-40B4-BE49-F238E27FC236}">
                <a16:creationId xmlns:a16="http://schemas.microsoft.com/office/drawing/2014/main" id="{27C0D85E-74CB-0D5E-89E5-5D22045B8749}"/>
              </a:ext>
            </a:extLst>
          </p:cNvPr>
          <p:cNvSpPr>
            <a:spLocks noGrp="1"/>
          </p:cNvSpPr>
          <p:nvPr>
            <p:ph type="body" sz="quarter" idx="23"/>
          </p:nvPr>
        </p:nvSpPr>
        <p:spPr>
          <a:xfrm>
            <a:off x="4206875" y="1418919"/>
            <a:ext cx="4754563"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zh-CN" altLang="en-US"/>
              <a:t>单击此处编辑母版文本样式</a:t>
            </a:r>
          </a:p>
        </p:txBody>
      </p:sp>
      <p:sp>
        <p:nvSpPr>
          <p:cNvPr id="176" name="Text Placeholder 5">
            <a:extLst>
              <a:ext uri="{FF2B5EF4-FFF2-40B4-BE49-F238E27FC236}">
                <a16:creationId xmlns:a16="http://schemas.microsoft.com/office/drawing/2014/main" id="{D3602011-9A32-BE74-D43E-233E4FC27356}"/>
              </a:ext>
            </a:extLst>
          </p:cNvPr>
          <p:cNvSpPr>
            <a:spLocks noGrp="1"/>
          </p:cNvSpPr>
          <p:nvPr>
            <p:ph type="body" sz="quarter" idx="24" hasCustomPrompt="1"/>
          </p:nvPr>
        </p:nvSpPr>
        <p:spPr>
          <a:xfrm>
            <a:off x="9106462" y="1418919"/>
            <a:ext cx="2794059"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77" name="Picture Placeholder 94">
            <a:extLst>
              <a:ext uri="{FF2B5EF4-FFF2-40B4-BE49-F238E27FC236}">
                <a16:creationId xmlns:a16="http://schemas.microsoft.com/office/drawing/2014/main" id="{269B4BB8-2420-C116-E384-4500FB15D7E4}"/>
              </a:ext>
            </a:extLst>
          </p:cNvPr>
          <p:cNvSpPr>
            <a:spLocks noGrp="1"/>
          </p:cNvSpPr>
          <p:nvPr>
            <p:ph type="pic" sz="quarter" idx="58" hasCustomPrompt="1"/>
          </p:nvPr>
        </p:nvSpPr>
        <p:spPr>
          <a:xfrm>
            <a:off x="3225799" y="1737173"/>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b="0" i="0">
                <a:latin typeface="+mn-lt"/>
              </a:defRPr>
            </a:lvl1pPr>
          </a:lstStyle>
          <a:p>
            <a:r>
              <a:rPr lang="en-GB"/>
              <a:t> </a:t>
            </a:r>
          </a:p>
        </p:txBody>
      </p:sp>
      <p:sp>
        <p:nvSpPr>
          <p:cNvPr id="178" name="Text Placeholder 5">
            <a:extLst>
              <a:ext uri="{FF2B5EF4-FFF2-40B4-BE49-F238E27FC236}">
                <a16:creationId xmlns:a16="http://schemas.microsoft.com/office/drawing/2014/main" id="{A65D6C32-597E-A87D-B6BE-91881E645FE5}"/>
              </a:ext>
            </a:extLst>
          </p:cNvPr>
          <p:cNvSpPr>
            <a:spLocks noGrp="1"/>
          </p:cNvSpPr>
          <p:nvPr>
            <p:ph type="body" sz="quarter" idx="25" hasCustomPrompt="1"/>
          </p:nvPr>
        </p:nvSpPr>
        <p:spPr>
          <a:xfrm>
            <a:off x="3225800" y="1815643"/>
            <a:ext cx="836613" cy="228909"/>
          </a:xfrm>
        </p:spPr>
        <p:txBody>
          <a:bodyPr wrap="square">
            <a:no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79" name="Text Placeholder 5">
            <a:extLst>
              <a:ext uri="{FF2B5EF4-FFF2-40B4-BE49-F238E27FC236}">
                <a16:creationId xmlns:a16="http://schemas.microsoft.com/office/drawing/2014/main" id="{4B1DF343-DFC7-F81B-915B-96E9335A5E49}"/>
              </a:ext>
            </a:extLst>
          </p:cNvPr>
          <p:cNvSpPr>
            <a:spLocks noGrp="1"/>
          </p:cNvSpPr>
          <p:nvPr>
            <p:ph type="body" sz="quarter" idx="26"/>
          </p:nvPr>
        </p:nvSpPr>
        <p:spPr>
          <a:xfrm>
            <a:off x="4206875" y="1815643"/>
            <a:ext cx="4754563"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zh-CN" altLang="en-US"/>
              <a:t>单击此处编辑母版文本样式</a:t>
            </a:r>
          </a:p>
        </p:txBody>
      </p:sp>
      <p:sp>
        <p:nvSpPr>
          <p:cNvPr id="180" name="Text Placeholder 5">
            <a:extLst>
              <a:ext uri="{FF2B5EF4-FFF2-40B4-BE49-F238E27FC236}">
                <a16:creationId xmlns:a16="http://schemas.microsoft.com/office/drawing/2014/main" id="{B101370D-BD23-0E59-00B2-1DF4D768EBDF}"/>
              </a:ext>
            </a:extLst>
          </p:cNvPr>
          <p:cNvSpPr>
            <a:spLocks noGrp="1"/>
          </p:cNvSpPr>
          <p:nvPr>
            <p:ph type="body" sz="quarter" idx="27" hasCustomPrompt="1"/>
          </p:nvPr>
        </p:nvSpPr>
        <p:spPr>
          <a:xfrm>
            <a:off x="9106462" y="1815643"/>
            <a:ext cx="2794059"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81" name="Picture Placeholder 95">
            <a:extLst>
              <a:ext uri="{FF2B5EF4-FFF2-40B4-BE49-F238E27FC236}">
                <a16:creationId xmlns:a16="http://schemas.microsoft.com/office/drawing/2014/main" id="{F4B3C050-4D54-40AC-903F-F698E83D054E}"/>
              </a:ext>
            </a:extLst>
          </p:cNvPr>
          <p:cNvSpPr>
            <a:spLocks noGrp="1"/>
          </p:cNvSpPr>
          <p:nvPr>
            <p:ph type="pic" sz="quarter" idx="59" hasCustomPrompt="1"/>
          </p:nvPr>
        </p:nvSpPr>
        <p:spPr>
          <a:xfrm>
            <a:off x="3225799" y="2123428"/>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b="0" i="0">
                <a:latin typeface="+mn-lt"/>
              </a:defRPr>
            </a:lvl1pPr>
          </a:lstStyle>
          <a:p>
            <a:r>
              <a:rPr lang="en-GB"/>
              <a:t> </a:t>
            </a:r>
          </a:p>
        </p:txBody>
      </p:sp>
      <p:sp>
        <p:nvSpPr>
          <p:cNvPr id="182" name="Text Placeholder 5">
            <a:extLst>
              <a:ext uri="{FF2B5EF4-FFF2-40B4-BE49-F238E27FC236}">
                <a16:creationId xmlns:a16="http://schemas.microsoft.com/office/drawing/2014/main" id="{155ABD36-F107-FAC7-D94F-C71129D99E04}"/>
              </a:ext>
            </a:extLst>
          </p:cNvPr>
          <p:cNvSpPr>
            <a:spLocks noGrp="1"/>
          </p:cNvSpPr>
          <p:nvPr>
            <p:ph type="body" sz="quarter" idx="28" hasCustomPrompt="1"/>
          </p:nvPr>
        </p:nvSpPr>
        <p:spPr>
          <a:xfrm>
            <a:off x="3225800" y="2212367"/>
            <a:ext cx="836613" cy="228909"/>
          </a:xfrm>
        </p:spPr>
        <p:txBody>
          <a:bodyPr wrap="square">
            <a:no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83" name="Text Placeholder 5">
            <a:extLst>
              <a:ext uri="{FF2B5EF4-FFF2-40B4-BE49-F238E27FC236}">
                <a16:creationId xmlns:a16="http://schemas.microsoft.com/office/drawing/2014/main" id="{0A1512C3-4983-E876-9159-16E3626DF5B5}"/>
              </a:ext>
            </a:extLst>
          </p:cNvPr>
          <p:cNvSpPr>
            <a:spLocks noGrp="1"/>
          </p:cNvSpPr>
          <p:nvPr>
            <p:ph type="body" sz="quarter" idx="29"/>
          </p:nvPr>
        </p:nvSpPr>
        <p:spPr>
          <a:xfrm>
            <a:off x="4206875" y="2212367"/>
            <a:ext cx="4754563"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zh-CN" altLang="en-US"/>
              <a:t>单击此处编辑母版文本样式</a:t>
            </a:r>
          </a:p>
        </p:txBody>
      </p:sp>
      <p:sp>
        <p:nvSpPr>
          <p:cNvPr id="184" name="Text Placeholder 5">
            <a:extLst>
              <a:ext uri="{FF2B5EF4-FFF2-40B4-BE49-F238E27FC236}">
                <a16:creationId xmlns:a16="http://schemas.microsoft.com/office/drawing/2014/main" id="{F7879AFD-9EB9-2FB8-189D-455DEDB6131F}"/>
              </a:ext>
            </a:extLst>
          </p:cNvPr>
          <p:cNvSpPr>
            <a:spLocks noGrp="1"/>
          </p:cNvSpPr>
          <p:nvPr>
            <p:ph type="body" sz="quarter" idx="30" hasCustomPrompt="1"/>
          </p:nvPr>
        </p:nvSpPr>
        <p:spPr>
          <a:xfrm>
            <a:off x="9106462" y="2212367"/>
            <a:ext cx="2794059"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85" name="Picture Placeholder 96">
            <a:extLst>
              <a:ext uri="{FF2B5EF4-FFF2-40B4-BE49-F238E27FC236}">
                <a16:creationId xmlns:a16="http://schemas.microsoft.com/office/drawing/2014/main" id="{35FA00DC-0DE0-96B1-C7B7-F45DB8335CDB}"/>
              </a:ext>
            </a:extLst>
          </p:cNvPr>
          <p:cNvSpPr>
            <a:spLocks noGrp="1"/>
          </p:cNvSpPr>
          <p:nvPr>
            <p:ph type="pic" sz="quarter" idx="60" hasCustomPrompt="1"/>
          </p:nvPr>
        </p:nvSpPr>
        <p:spPr>
          <a:xfrm>
            <a:off x="3225799" y="2525448"/>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b="0" i="0">
                <a:latin typeface="+mn-lt"/>
              </a:defRPr>
            </a:lvl1pPr>
          </a:lstStyle>
          <a:p>
            <a:r>
              <a:rPr lang="en-GB"/>
              <a:t> </a:t>
            </a:r>
          </a:p>
        </p:txBody>
      </p:sp>
      <p:sp>
        <p:nvSpPr>
          <p:cNvPr id="186" name="Text Placeholder 5">
            <a:extLst>
              <a:ext uri="{FF2B5EF4-FFF2-40B4-BE49-F238E27FC236}">
                <a16:creationId xmlns:a16="http://schemas.microsoft.com/office/drawing/2014/main" id="{BE4AFC06-39CD-C8B1-3AE0-5EC6BA91A93A}"/>
              </a:ext>
            </a:extLst>
          </p:cNvPr>
          <p:cNvSpPr>
            <a:spLocks noGrp="1"/>
          </p:cNvSpPr>
          <p:nvPr>
            <p:ph type="body" sz="quarter" idx="31" hasCustomPrompt="1"/>
          </p:nvPr>
        </p:nvSpPr>
        <p:spPr>
          <a:xfrm>
            <a:off x="3225800" y="2607652"/>
            <a:ext cx="836613" cy="228909"/>
          </a:xfrm>
        </p:spPr>
        <p:txBody>
          <a:bodyPr wrap="square">
            <a:no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87" name="Text Placeholder 5">
            <a:extLst>
              <a:ext uri="{FF2B5EF4-FFF2-40B4-BE49-F238E27FC236}">
                <a16:creationId xmlns:a16="http://schemas.microsoft.com/office/drawing/2014/main" id="{626B338C-7172-C0D7-9039-86A9DE0F1FA0}"/>
              </a:ext>
            </a:extLst>
          </p:cNvPr>
          <p:cNvSpPr>
            <a:spLocks noGrp="1"/>
          </p:cNvSpPr>
          <p:nvPr>
            <p:ph type="body" sz="quarter" idx="32"/>
          </p:nvPr>
        </p:nvSpPr>
        <p:spPr>
          <a:xfrm>
            <a:off x="4206875" y="2607652"/>
            <a:ext cx="4754563"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zh-CN" altLang="en-US"/>
              <a:t>单击此处编辑母版文本样式</a:t>
            </a:r>
          </a:p>
        </p:txBody>
      </p:sp>
      <p:sp>
        <p:nvSpPr>
          <p:cNvPr id="188" name="Text Placeholder 5">
            <a:extLst>
              <a:ext uri="{FF2B5EF4-FFF2-40B4-BE49-F238E27FC236}">
                <a16:creationId xmlns:a16="http://schemas.microsoft.com/office/drawing/2014/main" id="{F53E4D8E-1408-3646-C31B-01AB5D69F9EE}"/>
              </a:ext>
            </a:extLst>
          </p:cNvPr>
          <p:cNvSpPr>
            <a:spLocks noGrp="1"/>
          </p:cNvSpPr>
          <p:nvPr>
            <p:ph type="body" sz="quarter" idx="33" hasCustomPrompt="1"/>
          </p:nvPr>
        </p:nvSpPr>
        <p:spPr>
          <a:xfrm>
            <a:off x="9106462" y="2607652"/>
            <a:ext cx="2794059"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89" name="Picture Placeholder 97">
            <a:extLst>
              <a:ext uri="{FF2B5EF4-FFF2-40B4-BE49-F238E27FC236}">
                <a16:creationId xmlns:a16="http://schemas.microsoft.com/office/drawing/2014/main" id="{E48216AF-0F70-8F6D-3261-AB2C4BA6E6DD}"/>
              </a:ext>
            </a:extLst>
          </p:cNvPr>
          <p:cNvSpPr>
            <a:spLocks noGrp="1"/>
          </p:cNvSpPr>
          <p:nvPr>
            <p:ph type="pic" sz="quarter" idx="61" hasCustomPrompt="1"/>
          </p:nvPr>
        </p:nvSpPr>
        <p:spPr>
          <a:xfrm>
            <a:off x="3225799" y="2919586"/>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b="0" i="0">
                <a:latin typeface="+mn-lt"/>
              </a:defRPr>
            </a:lvl1pPr>
          </a:lstStyle>
          <a:p>
            <a:r>
              <a:rPr lang="en-GB"/>
              <a:t> </a:t>
            </a:r>
          </a:p>
        </p:txBody>
      </p:sp>
      <p:sp>
        <p:nvSpPr>
          <p:cNvPr id="190" name="Text Placeholder 5">
            <a:extLst>
              <a:ext uri="{FF2B5EF4-FFF2-40B4-BE49-F238E27FC236}">
                <a16:creationId xmlns:a16="http://schemas.microsoft.com/office/drawing/2014/main" id="{ACC59BB8-BBFA-7099-D2F9-58BFCAF10734}"/>
              </a:ext>
            </a:extLst>
          </p:cNvPr>
          <p:cNvSpPr>
            <a:spLocks noGrp="1"/>
          </p:cNvSpPr>
          <p:nvPr>
            <p:ph type="body" sz="quarter" idx="34" hasCustomPrompt="1"/>
          </p:nvPr>
        </p:nvSpPr>
        <p:spPr>
          <a:xfrm>
            <a:off x="3225800" y="3002937"/>
            <a:ext cx="836613" cy="228909"/>
          </a:xfrm>
        </p:spPr>
        <p:txBody>
          <a:bodyPr wrap="square">
            <a:no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91" name="Text Placeholder 5">
            <a:extLst>
              <a:ext uri="{FF2B5EF4-FFF2-40B4-BE49-F238E27FC236}">
                <a16:creationId xmlns:a16="http://schemas.microsoft.com/office/drawing/2014/main" id="{CACBCBB1-0D34-45F6-E211-B0C865D3FF9F}"/>
              </a:ext>
            </a:extLst>
          </p:cNvPr>
          <p:cNvSpPr>
            <a:spLocks noGrp="1"/>
          </p:cNvSpPr>
          <p:nvPr>
            <p:ph type="body" sz="quarter" idx="35"/>
          </p:nvPr>
        </p:nvSpPr>
        <p:spPr>
          <a:xfrm>
            <a:off x="4206875" y="3002937"/>
            <a:ext cx="4754563"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zh-CN" altLang="en-US"/>
              <a:t>单击此处编辑母版文本样式</a:t>
            </a:r>
          </a:p>
        </p:txBody>
      </p:sp>
      <p:sp>
        <p:nvSpPr>
          <p:cNvPr id="192" name="Text Placeholder 5">
            <a:extLst>
              <a:ext uri="{FF2B5EF4-FFF2-40B4-BE49-F238E27FC236}">
                <a16:creationId xmlns:a16="http://schemas.microsoft.com/office/drawing/2014/main" id="{AA85DA3F-ECA7-C004-3370-0301B640466D}"/>
              </a:ext>
            </a:extLst>
          </p:cNvPr>
          <p:cNvSpPr>
            <a:spLocks noGrp="1"/>
          </p:cNvSpPr>
          <p:nvPr>
            <p:ph type="body" sz="quarter" idx="36" hasCustomPrompt="1"/>
          </p:nvPr>
        </p:nvSpPr>
        <p:spPr>
          <a:xfrm>
            <a:off x="9106462" y="3002937"/>
            <a:ext cx="2794059"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93" name="Picture Placeholder 98">
            <a:extLst>
              <a:ext uri="{FF2B5EF4-FFF2-40B4-BE49-F238E27FC236}">
                <a16:creationId xmlns:a16="http://schemas.microsoft.com/office/drawing/2014/main" id="{6E85E349-99D2-61C9-CD7D-58A15220FF0A}"/>
              </a:ext>
            </a:extLst>
          </p:cNvPr>
          <p:cNvSpPr>
            <a:spLocks noGrp="1"/>
          </p:cNvSpPr>
          <p:nvPr>
            <p:ph type="pic" sz="quarter" idx="62" hasCustomPrompt="1"/>
          </p:nvPr>
        </p:nvSpPr>
        <p:spPr>
          <a:xfrm>
            <a:off x="3225799" y="3313724"/>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b="0" i="0">
                <a:latin typeface="+mn-lt"/>
              </a:defRPr>
            </a:lvl1pPr>
          </a:lstStyle>
          <a:p>
            <a:r>
              <a:rPr lang="en-GB"/>
              <a:t> </a:t>
            </a:r>
          </a:p>
        </p:txBody>
      </p:sp>
      <p:sp>
        <p:nvSpPr>
          <p:cNvPr id="194" name="Text Placeholder 5">
            <a:extLst>
              <a:ext uri="{FF2B5EF4-FFF2-40B4-BE49-F238E27FC236}">
                <a16:creationId xmlns:a16="http://schemas.microsoft.com/office/drawing/2014/main" id="{D00E7ED3-4AED-567D-4156-2F6D199ADA79}"/>
              </a:ext>
            </a:extLst>
          </p:cNvPr>
          <p:cNvSpPr>
            <a:spLocks noGrp="1"/>
          </p:cNvSpPr>
          <p:nvPr>
            <p:ph type="body" sz="quarter" idx="37" hasCustomPrompt="1"/>
          </p:nvPr>
        </p:nvSpPr>
        <p:spPr>
          <a:xfrm>
            <a:off x="3225800" y="3398222"/>
            <a:ext cx="836613" cy="228909"/>
          </a:xfrm>
        </p:spPr>
        <p:txBody>
          <a:bodyPr wrap="square">
            <a:no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95" name="Text Placeholder 5">
            <a:extLst>
              <a:ext uri="{FF2B5EF4-FFF2-40B4-BE49-F238E27FC236}">
                <a16:creationId xmlns:a16="http://schemas.microsoft.com/office/drawing/2014/main" id="{C8FC743C-8275-AD1C-7797-8C970CCC8D44}"/>
              </a:ext>
            </a:extLst>
          </p:cNvPr>
          <p:cNvSpPr>
            <a:spLocks noGrp="1"/>
          </p:cNvSpPr>
          <p:nvPr>
            <p:ph type="body" sz="quarter" idx="38"/>
          </p:nvPr>
        </p:nvSpPr>
        <p:spPr>
          <a:xfrm>
            <a:off x="4206875" y="3398222"/>
            <a:ext cx="4754563"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zh-CN" altLang="en-US"/>
              <a:t>单击此处编辑母版文本样式</a:t>
            </a:r>
          </a:p>
        </p:txBody>
      </p:sp>
      <p:sp>
        <p:nvSpPr>
          <p:cNvPr id="196" name="Text Placeholder 5">
            <a:extLst>
              <a:ext uri="{FF2B5EF4-FFF2-40B4-BE49-F238E27FC236}">
                <a16:creationId xmlns:a16="http://schemas.microsoft.com/office/drawing/2014/main" id="{AF7A0554-FA98-7604-80E6-32CB2E2929A8}"/>
              </a:ext>
            </a:extLst>
          </p:cNvPr>
          <p:cNvSpPr>
            <a:spLocks noGrp="1"/>
          </p:cNvSpPr>
          <p:nvPr>
            <p:ph type="body" sz="quarter" idx="39" hasCustomPrompt="1"/>
          </p:nvPr>
        </p:nvSpPr>
        <p:spPr>
          <a:xfrm>
            <a:off x="9106462" y="3398222"/>
            <a:ext cx="2794059"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97" name="Picture Placeholder 99">
            <a:extLst>
              <a:ext uri="{FF2B5EF4-FFF2-40B4-BE49-F238E27FC236}">
                <a16:creationId xmlns:a16="http://schemas.microsoft.com/office/drawing/2014/main" id="{F876AA1D-D562-3A3B-A233-9C23797C9A2F}"/>
              </a:ext>
            </a:extLst>
          </p:cNvPr>
          <p:cNvSpPr>
            <a:spLocks noGrp="1"/>
          </p:cNvSpPr>
          <p:nvPr>
            <p:ph type="pic" sz="quarter" idx="63" hasCustomPrompt="1"/>
          </p:nvPr>
        </p:nvSpPr>
        <p:spPr>
          <a:xfrm>
            <a:off x="3225799" y="3715744"/>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b="0" i="0">
                <a:latin typeface="+mn-lt"/>
              </a:defRPr>
            </a:lvl1pPr>
          </a:lstStyle>
          <a:p>
            <a:r>
              <a:rPr lang="en-GB"/>
              <a:t> </a:t>
            </a:r>
          </a:p>
        </p:txBody>
      </p:sp>
      <p:sp>
        <p:nvSpPr>
          <p:cNvPr id="198" name="Text Placeholder 5">
            <a:extLst>
              <a:ext uri="{FF2B5EF4-FFF2-40B4-BE49-F238E27FC236}">
                <a16:creationId xmlns:a16="http://schemas.microsoft.com/office/drawing/2014/main" id="{4AAF2467-86C6-2863-72E4-0D257BDEFEC8}"/>
              </a:ext>
            </a:extLst>
          </p:cNvPr>
          <p:cNvSpPr>
            <a:spLocks noGrp="1"/>
          </p:cNvSpPr>
          <p:nvPr>
            <p:ph type="body" sz="quarter" idx="40" hasCustomPrompt="1"/>
          </p:nvPr>
        </p:nvSpPr>
        <p:spPr>
          <a:xfrm>
            <a:off x="3225800" y="3793507"/>
            <a:ext cx="836613" cy="228909"/>
          </a:xfrm>
        </p:spPr>
        <p:txBody>
          <a:bodyPr wrap="square">
            <a:no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99" name="Text Placeholder 5">
            <a:extLst>
              <a:ext uri="{FF2B5EF4-FFF2-40B4-BE49-F238E27FC236}">
                <a16:creationId xmlns:a16="http://schemas.microsoft.com/office/drawing/2014/main" id="{D10BCF98-803A-D107-CF63-05EE97CCF877}"/>
              </a:ext>
            </a:extLst>
          </p:cNvPr>
          <p:cNvSpPr>
            <a:spLocks noGrp="1"/>
          </p:cNvSpPr>
          <p:nvPr>
            <p:ph type="body" sz="quarter" idx="41"/>
          </p:nvPr>
        </p:nvSpPr>
        <p:spPr>
          <a:xfrm>
            <a:off x="4206875" y="3793507"/>
            <a:ext cx="4754563"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zh-CN" altLang="en-US"/>
              <a:t>单击此处编辑母版文本样式</a:t>
            </a:r>
          </a:p>
        </p:txBody>
      </p:sp>
      <p:sp>
        <p:nvSpPr>
          <p:cNvPr id="200" name="Text Placeholder 5">
            <a:extLst>
              <a:ext uri="{FF2B5EF4-FFF2-40B4-BE49-F238E27FC236}">
                <a16:creationId xmlns:a16="http://schemas.microsoft.com/office/drawing/2014/main" id="{66FCBF15-2260-D8AF-4A2A-454AC1F084CE}"/>
              </a:ext>
            </a:extLst>
          </p:cNvPr>
          <p:cNvSpPr>
            <a:spLocks noGrp="1"/>
          </p:cNvSpPr>
          <p:nvPr>
            <p:ph type="body" sz="quarter" idx="42" hasCustomPrompt="1"/>
          </p:nvPr>
        </p:nvSpPr>
        <p:spPr>
          <a:xfrm>
            <a:off x="9106462" y="3793507"/>
            <a:ext cx="2794059"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201" name="Picture Placeholder 100">
            <a:extLst>
              <a:ext uri="{FF2B5EF4-FFF2-40B4-BE49-F238E27FC236}">
                <a16:creationId xmlns:a16="http://schemas.microsoft.com/office/drawing/2014/main" id="{9AA08646-E580-C6E2-B08A-A52294AA1302}"/>
              </a:ext>
            </a:extLst>
          </p:cNvPr>
          <p:cNvSpPr>
            <a:spLocks noGrp="1"/>
          </p:cNvSpPr>
          <p:nvPr>
            <p:ph type="pic" sz="quarter" idx="64" hasCustomPrompt="1"/>
          </p:nvPr>
        </p:nvSpPr>
        <p:spPr>
          <a:xfrm>
            <a:off x="3225799" y="410199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b="0" i="0">
                <a:latin typeface="+mn-lt"/>
              </a:defRPr>
            </a:lvl1pPr>
          </a:lstStyle>
          <a:p>
            <a:r>
              <a:rPr lang="en-GB"/>
              <a:t> </a:t>
            </a:r>
          </a:p>
        </p:txBody>
      </p:sp>
      <p:sp>
        <p:nvSpPr>
          <p:cNvPr id="202" name="Text Placeholder 5">
            <a:extLst>
              <a:ext uri="{FF2B5EF4-FFF2-40B4-BE49-F238E27FC236}">
                <a16:creationId xmlns:a16="http://schemas.microsoft.com/office/drawing/2014/main" id="{F1F57BF8-4802-2C8C-0E82-371529BD021B}"/>
              </a:ext>
            </a:extLst>
          </p:cNvPr>
          <p:cNvSpPr>
            <a:spLocks noGrp="1"/>
          </p:cNvSpPr>
          <p:nvPr>
            <p:ph type="body" sz="quarter" idx="43" hasCustomPrompt="1"/>
          </p:nvPr>
        </p:nvSpPr>
        <p:spPr>
          <a:xfrm>
            <a:off x="3225800" y="4185778"/>
            <a:ext cx="836613" cy="228909"/>
          </a:xfrm>
        </p:spPr>
        <p:txBody>
          <a:bodyPr wrap="square">
            <a:no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203" name="Text Placeholder 5">
            <a:extLst>
              <a:ext uri="{FF2B5EF4-FFF2-40B4-BE49-F238E27FC236}">
                <a16:creationId xmlns:a16="http://schemas.microsoft.com/office/drawing/2014/main" id="{04A64809-4725-EAB5-6238-C72786840E58}"/>
              </a:ext>
            </a:extLst>
          </p:cNvPr>
          <p:cNvSpPr>
            <a:spLocks noGrp="1"/>
          </p:cNvSpPr>
          <p:nvPr>
            <p:ph type="body" sz="quarter" idx="44"/>
          </p:nvPr>
        </p:nvSpPr>
        <p:spPr>
          <a:xfrm>
            <a:off x="4206875" y="4185778"/>
            <a:ext cx="4754563"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zh-CN" altLang="en-US"/>
              <a:t>单击此处编辑母版文本样式</a:t>
            </a:r>
          </a:p>
        </p:txBody>
      </p:sp>
      <p:sp>
        <p:nvSpPr>
          <p:cNvPr id="204" name="Text Placeholder 5">
            <a:extLst>
              <a:ext uri="{FF2B5EF4-FFF2-40B4-BE49-F238E27FC236}">
                <a16:creationId xmlns:a16="http://schemas.microsoft.com/office/drawing/2014/main" id="{4CB9BFE3-9BB1-5FD8-09B8-E24BA20F557E}"/>
              </a:ext>
            </a:extLst>
          </p:cNvPr>
          <p:cNvSpPr>
            <a:spLocks noGrp="1"/>
          </p:cNvSpPr>
          <p:nvPr>
            <p:ph type="body" sz="quarter" idx="45" hasCustomPrompt="1"/>
          </p:nvPr>
        </p:nvSpPr>
        <p:spPr>
          <a:xfrm>
            <a:off x="9106462" y="4185778"/>
            <a:ext cx="2794059"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205" name="Picture Placeholder 101">
            <a:extLst>
              <a:ext uri="{FF2B5EF4-FFF2-40B4-BE49-F238E27FC236}">
                <a16:creationId xmlns:a16="http://schemas.microsoft.com/office/drawing/2014/main" id="{44DB8248-2938-15C7-274A-CA5D91633846}"/>
              </a:ext>
            </a:extLst>
          </p:cNvPr>
          <p:cNvSpPr>
            <a:spLocks noGrp="1"/>
          </p:cNvSpPr>
          <p:nvPr>
            <p:ph type="pic" sz="quarter" idx="65" hasCustomPrompt="1"/>
          </p:nvPr>
        </p:nvSpPr>
        <p:spPr>
          <a:xfrm>
            <a:off x="3225799" y="4496137"/>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b="0" i="0">
                <a:latin typeface="+mn-lt"/>
              </a:defRPr>
            </a:lvl1pPr>
          </a:lstStyle>
          <a:p>
            <a:r>
              <a:rPr lang="en-GB"/>
              <a:t> </a:t>
            </a:r>
          </a:p>
        </p:txBody>
      </p:sp>
      <p:sp>
        <p:nvSpPr>
          <p:cNvPr id="206" name="Text Placeholder 5">
            <a:extLst>
              <a:ext uri="{FF2B5EF4-FFF2-40B4-BE49-F238E27FC236}">
                <a16:creationId xmlns:a16="http://schemas.microsoft.com/office/drawing/2014/main" id="{611AE180-E3A1-4890-5ADE-0648958344D8}"/>
              </a:ext>
            </a:extLst>
          </p:cNvPr>
          <p:cNvSpPr>
            <a:spLocks noGrp="1"/>
          </p:cNvSpPr>
          <p:nvPr>
            <p:ph type="body" sz="quarter" idx="46" hasCustomPrompt="1"/>
          </p:nvPr>
        </p:nvSpPr>
        <p:spPr>
          <a:xfrm>
            <a:off x="3225800" y="4578049"/>
            <a:ext cx="836613" cy="228909"/>
          </a:xfrm>
        </p:spPr>
        <p:txBody>
          <a:bodyPr wrap="square">
            <a:no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207" name="Text Placeholder 5">
            <a:extLst>
              <a:ext uri="{FF2B5EF4-FFF2-40B4-BE49-F238E27FC236}">
                <a16:creationId xmlns:a16="http://schemas.microsoft.com/office/drawing/2014/main" id="{E90EADE4-597A-8C59-D59C-21DE4011EC86}"/>
              </a:ext>
            </a:extLst>
          </p:cNvPr>
          <p:cNvSpPr>
            <a:spLocks noGrp="1"/>
          </p:cNvSpPr>
          <p:nvPr>
            <p:ph type="body" sz="quarter" idx="47"/>
          </p:nvPr>
        </p:nvSpPr>
        <p:spPr>
          <a:xfrm>
            <a:off x="4206875" y="4578049"/>
            <a:ext cx="4754563"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zh-CN" altLang="en-US"/>
              <a:t>单击此处编辑母版文本样式</a:t>
            </a:r>
          </a:p>
        </p:txBody>
      </p:sp>
      <p:sp>
        <p:nvSpPr>
          <p:cNvPr id="208" name="Text Placeholder 5">
            <a:extLst>
              <a:ext uri="{FF2B5EF4-FFF2-40B4-BE49-F238E27FC236}">
                <a16:creationId xmlns:a16="http://schemas.microsoft.com/office/drawing/2014/main" id="{8988DD51-F3BF-BE97-FF13-DAAFB4A50B04}"/>
              </a:ext>
            </a:extLst>
          </p:cNvPr>
          <p:cNvSpPr>
            <a:spLocks noGrp="1"/>
          </p:cNvSpPr>
          <p:nvPr>
            <p:ph type="body" sz="quarter" idx="48" hasCustomPrompt="1"/>
          </p:nvPr>
        </p:nvSpPr>
        <p:spPr>
          <a:xfrm>
            <a:off x="9106462" y="4578049"/>
            <a:ext cx="2794059"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209" name="Picture Placeholder 102">
            <a:extLst>
              <a:ext uri="{FF2B5EF4-FFF2-40B4-BE49-F238E27FC236}">
                <a16:creationId xmlns:a16="http://schemas.microsoft.com/office/drawing/2014/main" id="{5DAB147A-0351-E869-E2C9-849967B3E0CC}"/>
              </a:ext>
            </a:extLst>
          </p:cNvPr>
          <p:cNvSpPr>
            <a:spLocks noGrp="1"/>
          </p:cNvSpPr>
          <p:nvPr>
            <p:ph type="pic" sz="quarter" idx="66" hasCustomPrompt="1"/>
          </p:nvPr>
        </p:nvSpPr>
        <p:spPr>
          <a:xfrm>
            <a:off x="3225799" y="4890274"/>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b="0" i="0">
                <a:latin typeface="+mn-lt"/>
              </a:defRPr>
            </a:lvl1pPr>
          </a:lstStyle>
          <a:p>
            <a:r>
              <a:rPr lang="en-GB"/>
              <a:t> </a:t>
            </a:r>
          </a:p>
        </p:txBody>
      </p:sp>
      <p:sp>
        <p:nvSpPr>
          <p:cNvPr id="210" name="Text Placeholder 5">
            <a:extLst>
              <a:ext uri="{FF2B5EF4-FFF2-40B4-BE49-F238E27FC236}">
                <a16:creationId xmlns:a16="http://schemas.microsoft.com/office/drawing/2014/main" id="{3A1DC516-9D33-7E76-1881-D60014DC876A}"/>
              </a:ext>
            </a:extLst>
          </p:cNvPr>
          <p:cNvSpPr>
            <a:spLocks noGrp="1"/>
          </p:cNvSpPr>
          <p:nvPr>
            <p:ph type="body" sz="quarter" idx="49" hasCustomPrompt="1"/>
          </p:nvPr>
        </p:nvSpPr>
        <p:spPr>
          <a:xfrm>
            <a:off x="3225800" y="4969019"/>
            <a:ext cx="836613" cy="228909"/>
          </a:xfrm>
        </p:spPr>
        <p:txBody>
          <a:bodyPr wrap="square">
            <a:no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211" name="Text Placeholder 5">
            <a:extLst>
              <a:ext uri="{FF2B5EF4-FFF2-40B4-BE49-F238E27FC236}">
                <a16:creationId xmlns:a16="http://schemas.microsoft.com/office/drawing/2014/main" id="{50E9B1C4-B2F3-4C78-8518-39911DF5B99E}"/>
              </a:ext>
            </a:extLst>
          </p:cNvPr>
          <p:cNvSpPr>
            <a:spLocks noGrp="1"/>
          </p:cNvSpPr>
          <p:nvPr>
            <p:ph type="body" sz="quarter" idx="50"/>
          </p:nvPr>
        </p:nvSpPr>
        <p:spPr>
          <a:xfrm>
            <a:off x="4206875" y="4969019"/>
            <a:ext cx="4754563"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zh-CN" altLang="en-US"/>
              <a:t>单击此处编辑母版文本样式</a:t>
            </a:r>
          </a:p>
        </p:txBody>
      </p:sp>
      <p:sp>
        <p:nvSpPr>
          <p:cNvPr id="212" name="Text Placeholder 5">
            <a:extLst>
              <a:ext uri="{FF2B5EF4-FFF2-40B4-BE49-F238E27FC236}">
                <a16:creationId xmlns:a16="http://schemas.microsoft.com/office/drawing/2014/main" id="{BE4B6B57-1237-7AB3-7574-6A37E89A9F5C}"/>
              </a:ext>
            </a:extLst>
          </p:cNvPr>
          <p:cNvSpPr>
            <a:spLocks noGrp="1"/>
          </p:cNvSpPr>
          <p:nvPr>
            <p:ph type="body" sz="quarter" idx="51" hasCustomPrompt="1"/>
          </p:nvPr>
        </p:nvSpPr>
        <p:spPr>
          <a:xfrm>
            <a:off x="9106462" y="4969019"/>
            <a:ext cx="2794059"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213" name="Picture Placeholder 103">
            <a:extLst>
              <a:ext uri="{FF2B5EF4-FFF2-40B4-BE49-F238E27FC236}">
                <a16:creationId xmlns:a16="http://schemas.microsoft.com/office/drawing/2014/main" id="{469187E8-1DE2-B301-6DE0-4B9CEA368C43}"/>
              </a:ext>
            </a:extLst>
          </p:cNvPr>
          <p:cNvSpPr>
            <a:spLocks noGrp="1"/>
          </p:cNvSpPr>
          <p:nvPr>
            <p:ph type="pic" sz="quarter" idx="67" hasCustomPrompt="1"/>
          </p:nvPr>
        </p:nvSpPr>
        <p:spPr>
          <a:xfrm>
            <a:off x="3225799" y="527652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b="0" i="0">
                <a:latin typeface="+mn-lt"/>
              </a:defRPr>
            </a:lvl1pPr>
          </a:lstStyle>
          <a:p>
            <a:r>
              <a:rPr lang="en-GB"/>
              <a:t> </a:t>
            </a:r>
          </a:p>
        </p:txBody>
      </p:sp>
      <p:sp>
        <p:nvSpPr>
          <p:cNvPr id="214" name="Text Placeholder 5">
            <a:extLst>
              <a:ext uri="{FF2B5EF4-FFF2-40B4-BE49-F238E27FC236}">
                <a16:creationId xmlns:a16="http://schemas.microsoft.com/office/drawing/2014/main" id="{C07B97CB-6CF8-744C-72E9-403869FF62FA}"/>
              </a:ext>
            </a:extLst>
          </p:cNvPr>
          <p:cNvSpPr>
            <a:spLocks noGrp="1"/>
          </p:cNvSpPr>
          <p:nvPr>
            <p:ph type="body" sz="quarter" idx="52" hasCustomPrompt="1"/>
          </p:nvPr>
        </p:nvSpPr>
        <p:spPr>
          <a:xfrm>
            <a:off x="3225800" y="5359989"/>
            <a:ext cx="836613" cy="228909"/>
          </a:xfrm>
        </p:spPr>
        <p:txBody>
          <a:bodyPr wrap="square">
            <a:no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215" name="Text Placeholder 5">
            <a:extLst>
              <a:ext uri="{FF2B5EF4-FFF2-40B4-BE49-F238E27FC236}">
                <a16:creationId xmlns:a16="http://schemas.microsoft.com/office/drawing/2014/main" id="{D7694E3D-9EAE-7860-514C-D3E6A6066D79}"/>
              </a:ext>
            </a:extLst>
          </p:cNvPr>
          <p:cNvSpPr>
            <a:spLocks noGrp="1"/>
          </p:cNvSpPr>
          <p:nvPr>
            <p:ph type="body" sz="quarter" idx="53"/>
          </p:nvPr>
        </p:nvSpPr>
        <p:spPr>
          <a:xfrm>
            <a:off x="4206875" y="5359989"/>
            <a:ext cx="4754563"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zh-CN" altLang="en-US"/>
              <a:t>单击此处编辑母版文本样式</a:t>
            </a:r>
          </a:p>
        </p:txBody>
      </p:sp>
      <p:sp>
        <p:nvSpPr>
          <p:cNvPr id="216" name="Text Placeholder 5">
            <a:extLst>
              <a:ext uri="{FF2B5EF4-FFF2-40B4-BE49-F238E27FC236}">
                <a16:creationId xmlns:a16="http://schemas.microsoft.com/office/drawing/2014/main" id="{673631ED-FCF1-AA91-EA4E-8BD53A7ED357}"/>
              </a:ext>
            </a:extLst>
          </p:cNvPr>
          <p:cNvSpPr>
            <a:spLocks noGrp="1"/>
          </p:cNvSpPr>
          <p:nvPr>
            <p:ph type="body" sz="quarter" idx="54" hasCustomPrompt="1"/>
          </p:nvPr>
        </p:nvSpPr>
        <p:spPr>
          <a:xfrm>
            <a:off x="9106462" y="5359989"/>
            <a:ext cx="2794059"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pPr>
              <a:spcBef>
                <a:spcPts val="0"/>
              </a:spcBef>
              <a:spcAft>
                <a:spcPts val="300"/>
              </a:spcAft>
            </a:pPr>
            <a:r>
              <a:rPr lang="en-US" b="0" i="0">
                <a:effectLst/>
              </a:rPr>
              <a:t>Job Aid and Guidance Document still under review.</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Tree>
    <p:extLst>
      <p:ext uri="{BB962C8B-B14F-4D97-AF65-F5344CB8AC3E}">
        <p14:creationId xmlns:p14="http://schemas.microsoft.com/office/powerpoint/2010/main" val="26609497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2F4DE542-4D98-B05D-597C-9623E7D2E7C2}"/>
              </a:ext>
            </a:extLst>
          </p:cNvPr>
          <p:cNvSpPr>
            <a:spLocks noGrp="1"/>
          </p:cNvSpPr>
          <p:nvPr>
            <p:ph type="title"/>
          </p:nvPr>
        </p:nvSpPr>
        <p:spPr>
          <a:xfrm>
            <a:off x="286715" y="273600"/>
            <a:ext cx="1811959" cy="392415"/>
          </a:xfrm>
        </p:spPr>
        <p:txBody>
          <a:bodyPr/>
          <a:lstStyle>
            <a:lvl1pPr>
              <a:lnSpc>
                <a:spcPct val="85000"/>
              </a:lnSpc>
              <a:defRPr sz="1500" b="1" i="0">
                <a:solidFill>
                  <a:schemeClr val="tx1"/>
                </a:solidFill>
                <a:latin typeface="+mn-lt"/>
              </a:defRPr>
            </a:lvl1pPr>
          </a:lstStyle>
          <a:p>
            <a:r>
              <a:rPr lang="en-US"/>
              <a:t>Click to edit Master title style</a:t>
            </a:r>
            <a:endParaRPr lang="en-GB"/>
          </a:p>
        </p:txBody>
      </p:sp>
      <p:sp>
        <p:nvSpPr>
          <p:cNvPr id="151" name="Picture Placeholder 92">
            <a:extLst>
              <a:ext uri="{FF2B5EF4-FFF2-40B4-BE49-F238E27FC236}">
                <a16:creationId xmlns:a16="http://schemas.microsoft.com/office/drawing/2014/main" id="{414C0709-0B1A-11C5-45EE-CC44E7A13411}"/>
              </a:ext>
            </a:extLst>
          </p:cNvPr>
          <p:cNvSpPr>
            <a:spLocks noGrp="1"/>
          </p:cNvSpPr>
          <p:nvPr>
            <p:ph type="pic" sz="quarter" idx="56" hasCustomPrompt="1"/>
          </p:nvPr>
        </p:nvSpPr>
        <p:spPr>
          <a:xfrm>
            <a:off x="3225799" y="933132"/>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b="0" i="0">
                <a:latin typeface="+mn-lt"/>
              </a:defRPr>
            </a:lvl1pPr>
          </a:lstStyle>
          <a:p>
            <a:r>
              <a:rPr lang="en-GB"/>
              <a:t> </a:t>
            </a:r>
          </a:p>
        </p:txBody>
      </p:sp>
      <p:sp>
        <p:nvSpPr>
          <p:cNvPr id="163" name="Text Placeholder 5">
            <a:extLst>
              <a:ext uri="{FF2B5EF4-FFF2-40B4-BE49-F238E27FC236}">
                <a16:creationId xmlns:a16="http://schemas.microsoft.com/office/drawing/2014/main" id="{12B824E8-EE25-7DB2-F96D-DEA8631E51FB}"/>
              </a:ext>
            </a:extLst>
          </p:cNvPr>
          <p:cNvSpPr>
            <a:spLocks noGrp="1"/>
          </p:cNvSpPr>
          <p:nvPr>
            <p:ph type="body" sz="quarter" idx="13" hasCustomPrompt="1"/>
          </p:nvPr>
        </p:nvSpPr>
        <p:spPr>
          <a:xfrm>
            <a:off x="3225800" y="231771"/>
            <a:ext cx="836613" cy="228909"/>
          </a:xfrm>
        </p:spPr>
        <p:txBody>
          <a:bodyPr wrap="square">
            <a:no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64" name="Text Placeholder 5">
            <a:extLst>
              <a:ext uri="{FF2B5EF4-FFF2-40B4-BE49-F238E27FC236}">
                <a16:creationId xmlns:a16="http://schemas.microsoft.com/office/drawing/2014/main" id="{A4F70AC5-374E-DFC2-2B29-2318F0BB51E4}"/>
              </a:ext>
            </a:extLst>
          </p:cNvPr>
          <p:cNvSpPr>
            <a:spLocks noGrp="1"/>
          </p:cNvSpPr>
          <p:nvPr>
            <p:ph type="body" sz="quarter" idx="14"/>
          </p:nvPr>
        </p:nvSpPr>
        <p:spPr>
          <a:xfrm>
            <a:off x="4206875" y="231771"/>
            <a:ext cx="4754563"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65" name="Text Placeholder 5">
            <a:extLst>
              <a:ext uri="{FF2B5EF4-FFF2-40B4-BE49-F238E27FC236}">
                <a16:creationId xmlns:a16="http://schemas.microsoft.com/office/drawing/2014/main" id="{EB857D0D-CD76-A612-A712-E14D8C7049C6}"/>
              </a:ext>
            </a:extLst>
          </p:cNvPr>
          <p:cNvSpPr>
            <a:spLocks noGrp="1"/>
          </p:cNvSpPr>
          <p:nvPr>
            <p:ph type="body" sz="quarter" idx="15" hasCustomPrompt="1"/>
          </p:nvPr>
        </p:nvSpPr>
        <p:spPr>
          <a:xfrm>
            <a:off x="9106462" y="231771"/>
            <a:ext cx="2794059"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66" name="Picture Placeholder 91">
            <a:extLst>
              <a:ext uri="{FF2B5EF4-FFF2-40B4-BE49-F238E27FC236}">
                <a16:creationId xmlns:a16="http://schemas.microsoft.com/office/drawing/2014/main" id="{23E05799-FE6A-9155-DA4E-C09C4B03CA27}"/>
              </a:ext>
            </a:extLst>
          </p:cNvPr>
          <p:cNvSpPr>
            <a:spLocks noGrp="1"/>
          </p:cNvSpPr>
          <p:nvPr>
            <p:ph type="pic" sz="quarter" idx="55" hasCustomPrompt="1"/>
          </p:nvPr>
        </p:nvSpPr>
        <p:spPr>
          <a:xfrm>
            <a:off x="3225799" y="538994"/>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b="0" i="0">
                <a:latin typeface="+mn-lt"/>
              </a:defRPr>
            </a:lvl1pPr>
          </a:lstStyle>
          <a:p>
            <a:r>
              <a:rPr lang="en-GB"/>
              <a:t>  </a:t>
            </a:r>
          </a:p>
        </p:txBody>
      </p:sp>
      <p:sp>
        <p:nvSpPr>
          <p:cNvPr id="167" name="Text Placeholder 5">
            <a:extLst>
              <a:ext uri="{FF2B5EF4-FFF2-40B4-BE49-F238E27FC236}">
                <a16:creationId xmlns:a16="http://schemas.microsoft.com/office/drawing/2014/main" id="{24089EB1-E806-6913-C5B8-A4C01D0814E6}"/>
              </a:ext>
            </a:extLst>
          </p:cNvPr>
          <p:cNvSpPr>
            <a:spLocks noGrp="1"/>
          </p:cNvSpPr>
          <p:nvPr>
            <p:ph type="body" sz="quarter" idx="16" hasCustomPrompt="1"/>
          </p:nvPr>
        </p:nvSpPr>
        <p:spPr>
          <a:xfrm>
            <a:off x="3225800" y="625471"/>
            <a:ext cx="836613" cy="228909"/>
          </a:xfrm>
        </p:spPr>
        <p:txBody>
          <a:bodyPr wrap="square">
            <a:no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68" name="Text Placeholder 5">
            <a:extLst>
              <a:ext uri="{FF2B5EF4-FFF2-40B4-BE49-F238E27FC236}">
                <a16:creationId xmlns:a16="http://schemas.microsoft.com/office/drawing/2014/main" id="{10C7981E-34E4-22AC-19D7-855BF963AC6A}"/>
              </a:ext>
            </a:extLst>
          </p:cNvPr>
          <p:cNvSpPr>
            <a:spLocks noGrp="1"/>
          </p:cNvSpPr>
          <p:nvPr>
            <p:ph type="body" sz="quarter" idx="17"/>
          </p:nvPr>
        </p:nvSpPr>
        <p:spPr>
          <a:xfrm>
            <a:off x="4206875" y="625471"/>
            <a:ext cx="4754563"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69" name="Text Placeholder 5">
            <a:extLst>
              <a:ext uri="{FF2B5EF4-FFF2-40B4-BE49-F238E27FC236}">
                <a16:creationId xmlns:a16="http://schemas.microsoft.com/office/drawing/2014/main" id="{127EEF89-640D-17FA-3E79-57DA3786E32A}"/>
              </a:ext>
            </a:extLst>
          </p:cNvPr>
          <p:cNvSpPr>
            <a:spLocks noGrp="1"/>
          </p:cNvSpPr>
          <p:nvPr>
            <p:ph type="body" sz="quarter" idx="18" hasCustomPrompt="1"/>
          </p:nvPr>
        </p:nvSpPr>
        <p:spPr>
          <a:xfrm>
            <a:off x="9106462" y="625471"/>
            <a:ext cx="2794059"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70" name="Text Placeholder 5">
            <a:extLst>
              <a:ext uri="{FF2B5EF4-FFF2-40B4-BE49-F238E27FC236}">
                <a16:creationId xmlns:a16="http://schemas.microsoft.com/office/drawing/2014/main" id="{C3E76B7F-03AC-D5BD-BECC-8B0881567D59}"/>
              </a:ext>
            </a:extLst>
          </p:cNvPr>
          <p:cNvSpPr>
            <a:spLocks noGrp="1"/>
          </p:cNvSpPr>
          <p:nvPr>
            <p:ph type="body" sz="quarter" idx="19" hasCustomPrompt="1"/>
          </p:nvPr>
        </p:nvSpPr>
        <p:spPr>
          <a:xfrm>
            <a:off x="3225800" y="1022195"/>
            <a:ext cx="836613" cy="228909"/>
          </a:xfrm>
        </p:spPr>
        <p:txBody>
          <a:bodyPr wrap="square">
            <a:no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71" name="Text Placeholder 5">
            <a:extLst>
              <a:ext uri="{FF2B5EF4-FFF2-40B4-BE49-F238E27FC236}">
                <a16:creationId xmlns:a16="http://schemas.microsoft.com/office/drawing/2014/main" id="{8344A73D-BCE2-9041-0430-DCA16AE2194A}"/>
              </a:ext>
            </a:extLst>
          </p:cNvPr>
          <p:cNvSpPr>
            <a:spLocks noGrp="1"/>
          </p:cNvSpPr>
          <p:nvPr>
            <p:ph type="body" sz="quarter" idx="20"/>
          </p:nvPr>
        </p:nvSpPr>
        <p:spPr>
          <a:xfrm>
            <a:off x="4206875" y="1022195"/>
            <a:ext cx="4754563"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72" name="Text Placeholder 5">
            <a:extLst>
              <a:ext uri="{FF2B5EF4-FFF2-40B4-BE49-F238E27FC236}">
                <a16:creationId xmlns:a16="http://schemas.microsoft.com/office/drawing/2014/main" id="{BA7AD8A2-995B-0025-7B23-12D44BEB24F7}"/>
              </a:ext>
            </a:extLst>
          </p:cNvPr>
          <p:cNvSpPr>
            <a:spLocks noGrp="1"/>
          </p:cNvSpPr>
          <p:nvPr>
            <p:ph type="body" sz="quarter" idx="21" hasCustomPrompt="1"/>
          </p:nvPr>
        </p:nvSpPr>
        <p:spPr>
          <a:xfrm>
            <a:off x="9106462" y="1022195"/>
            <a:ext cx="2794059"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73" name="Picture Placeholder 93">
            <a:extLst>
              <a:ext uri="{FF2B5EF4-FFF2-40B4-BE49-F238E27FC236}">
                <a16:creationId xmlns:a16="http://schemas.microsoft.com/office/drawing/2014/main" id="{C7221CC4-5A16-F8BC-F970-B26EBD5A8BA8}"/>
              </a:ext>
            </a:extLst>
          </p:cNvPr>
          <p:cNvSpPr>
            <a:spLocks noGrp="1"/>
          </p:cNvSpPr>
          <p:nvPr>
            <p:ph type="pic" sz="quarter" idx="57" hasCustomPrompt="1"/>
          </p:nvPr>
        </p:nvSpPr>
        <p:spPr>
          <a:xfrm>
            <a:off x="3225799" y="1335152"/>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b="0" i="0">
                <a:latin typeface="+mn-lt"/>
              </a:defRPr>
            </a:lvl1pPr>
          </a:lstStyle>
          <a:p>
            <a:r>
              <a:rPr lang="en-GB"/>
              <a:t> </a:t>
            </a:r>
          </a:p>
        </p:txBody>
      </p:sp>
      <p:sp>
        <p:nvSpPr>
          <p:cNvPr id="174" name="Text Placeholder 5">
            <a:extLst>
              <a:ext uri="{FF2B5EF4-FFF2-40B4-BE49-F238E27FC236}">
                <a16:creationId xmlns:a16="http://schemas.microsoft.com/office/drawing/2014/main" id="{B4AD80BA-61F2-11A3-5213-31194E78CF82}"/>
              </a:ext>
            </a:extLst>
          </p:cNvPr>
          <p:cNvSpPr>
            <a:spLocks noGrp="1"/>
          </p:cNvSpPr>
          <p:nvPr>
            <p:ph type="body" sz="quarter" idx="22" hasCustomPrompt="1"/>
          </p:nvPr>
        </p:nvSpPr>
        <p:spPr>
          <a:xfrm>
            <a:off x="3225800" y="1418919"/>
            <a:ext cx="836613" cy="228909"/>
          </a:xfrm>
        </p:spPr>
        <p:txBody>
          <a:bodyPr wrap="square">
            <a:no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75" name="Text Placeholder 5">
            <a:extLst>
              <a:ext uri="{FF2B5EF4-FFF2-40B4-BE49-F238E27FC236}">
                <a16:creationId xmlns:a16="http://schemas.microsoft.com/office/drawing/2014/main" id="{27C0D85E-74CB-0D5E-89E5-5D22045B8749}"/>
              </a:ext>
            </a:extLst>
          </p:cNvPr>
          <p:cNvSpPr>
            <a:spLocks noGrp="1"/>
          </p:cNvSpPr>
          <p:nvPr>
            <p:ph type="body" sz="quarter" idx="23"/>
          </p:nvPr>
        </p:nvSpPr>
        <p:spPr>
          <a:xfrm>
            <a:off x="4206875" y="1418919"/>
            <a:ext cx="4754563"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76" name="Text Placeholder 5">
            <a:extLst>
              <a:ext uri="{FF2B5EF4-FFF2-40B4-BE49-F238E27FC236}">
                <a16:creationId xmlns:a16="http://schemas.microsoft.com/office/drawing/2014/main" id="{D3602011-9A32-BE74-D43E-233E4FC27356}"/>
              </a:ext>
            </a:extLst>
          </p:cNvPr>
          <p:cNvSpPr>
            <a:spLocks noGrp="1"/>
          </p:cNvSpPr>
          <p:nvPr>
            <p:ph type="body" sz="quarter" idx="24" hasCustomPrompt="1"/>
          </p:nvPr>
        </p:nvSpPr>
        <p:spPr>
          <a:xfrm>
            <a:off x="9106462" y="1418919"/>
            <a:ext cx="2794059"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77" name="Picture Placeholder 94">
            <a:extLst>
              <a:ext uri="{FF2B5EF4-FFF2-40B4-BE49-F238E27FC236}">
                <a16:creationId xmlns:a16="http://schemas.microsoft.com/office/drawing/2014/main" id="{269B4BB8-2420-C116-E384-4500FB15D7E4}"/>
              </a:ext>
            </a:extLst>
          </p:cNvPr>
          <p:cNvSpPr>
            <a:spLocks noGrp="1"/>
          </p:cNvSpPr>
          <p:nvPr>
            <p:ph type="pic" sz="quarter" idx="58" hasCustomPrompt="1"/>
          </p:nvPr>
        </p:nvSpPr>
        <p:spPr>
          <a:xfrm>
            <a:off x="3225799" y="1737173"/>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b="0" i="0">
                <a:latin typeface="+mn-lt"/>
              </a:defRPr>
            </a:lvl1pPr>
          </a:lstStyle>
          <a:p>
            <a:r>
              <a:rPr lang="en-GB"/>
              <a:t> </a:t>
            </a:r>
          </a:p>
        </p:txBody>
      </p:sp>
      <p:sp>
        <p:nvSpPr>
          <p:cNvPr id="178" name="Text Placeholder 5">
            <a:extLst>
              <a:ext uri="{FF2B5EF4-FFF2-40B4-BE49-F238E27FC236}">
                <a16:creationId xmlns:a16="http://schemas.microsoft.com/office/drawing/2014/main" id="{A65D6C32-597E-A87D-B6BE-91881E645FE5}"/>
              </a:ext>
            </a:extLst>
          </p:cNvPr>
          <p:cNvSpPr>
            <a:spLocks noGrp="1"/>
          </p:cNvSpPr>
          <p:nvPr>
            <p:ph type="body" sz="quarter" idx="25" hasCustomPrompt="1"/>
          </p:nvPr>
        </p:nvSpPr>
        <p:spPr>
          <a:xfrm>
            <a:off x="3225800" y="1815643"/>
            <a:ext cx="836613" cy="228909"/>
          </a:xfrm>
        </p:spPr>
        <p:txBody>
          <a:bodyPr wrap="square">
            <a:no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79" name="Text Placeholder 5">
            <a:extLst>
              <a:ext uri="{FF2B5EF4-FFF2-40B4-BE49-F238E27FC236}">
                <a16:creationId xmlns:a16="http://schemas.microsoft.com/office/drawing/2014/main" id="{4B1DF343-DFC7-F81B-915B-96E9335A5E49}"/>
              </a:ext>
            </a:extLst>
          </p:cNvPr>
          <p:cNvSpPr>
            <a:spLocks noGrp="1"/>
          </p:cNvSpPr>
          <p:nvPr>
            <p:ph type="body" sz="quarter" idx="26"/>
          </p:nvPr>
        </p:nvSpPr>
        <p:spPr>
          <a:xfrm>
            <a:off x="4206875" y="1815643"/>
            <a:ext cx="4754563"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80" name="Text Placeholder 5">
            <a:extLst>
              <a:ext uri="{FF2B5EF4-FFF2-40B4-BE49-F238E27FC236}">
                <a16:creationId xmlns:a16="http://schemas.microsoft.com/office/drawing/2014/main" id="{B101370D-BD23-0E59-00B2-1DF4D768EBDF}"/>
              </a:ext>
            </a:extLst>
          </p:cNvPr>
          <p:cNvSpPr>
            <a:spLocks noGrp="1"/>
          </p:cNvSpPr>
          <p:nvPr>
            <p:ph type="body" sz="quarter" idx="27" hasCustomPrompt="1"/>
          </p:nvPr>
        </p:nvSpPr>
        <p:spPr>
          <a:xfrm>
            <a:off x="9106462" y="1815643"/>
            <a:ext cx="2794059"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81" name="Picture Placeholder 95">
            <a:extLst>
              <a:ext uri="{FF2B5EF4-FFF2-40B4-BE49-F238E27FC236}">
                <a16:creationId xmlns:a16="http://schemas.microsoft.com/office/drawing/2014/main" id="{F4B3C050-4D54-40AC-903F-F698E83D054E}"/>
              </a:ext>
            </a:extLst>
          </p:cNvPr>
          <p:cNvSpPr>
            <a:spLocks noGrp="1"/>
          </p:cNvSpPr>
          <p:nvPr>
            <p:ph type="pic" sz="quarter" idx="59" hasCustomPrompt="1"/>
          </p:nvPr>
        </p:nvSpPr>
        <p:spPr>
          <a:xfrm>
            <a:off x="3225799" y="2123428"/>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b="0" i="0">
                <a:latin typeface="+mn-lt"/>
              </a:defRPr>
            </a:lvl1pPr>
          </a:lstStyle>
          <a:p>
            <a:r>
              <a:rPr lang="en-GB"/>
              <a:t> </a:t>
            </a:r>
          </a:p>
        </p:txBody>
      </p:sp>
      <p:sp>
        <p:nvSpPr>
          <p:cNvPr id="182" name="Text Placeholder 5">
            <a:extLst>
              <a:ext uri="{FF2B5EF4-FFF2-40B4-BE49-F238E27FC236}">
                <a16:creationId xmlns:a16="http://schemas.microsoft.com/office/drawing/2014/main" id="{155ABD36-F107-FAC7-D94F-C71129D99E04}"/>
              </a:ext>
            </a:extLst>
          </p:cNvPr>
          <p:cNvSpPr>
            <a:spLocks noGrp="1"/>
          </p:cNvSpPr>
          <p:nvPr>
            <p:ph type="body" sz="quarter" idx="28" hasCustomPrompt="1"/>
          </p:nvPr>
        </p:nvSpPr>
        <p:spPr>
          <a:xfrm>
            <a:off x="3225800" y="2212367"/>
            <a:ext cx="836613" cy="228909"/>
          </a:xfrm>
        </p:spPr>
        <p:txBody>
          <a:bodyPr wrap="square">
            <a:no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83" name="Text Placeholder 5">
            <a:extLst>
              <a:ext uri="{FF2B5EF4-FFF2-40B4-BE49-F238E27FC236}">
                <a16:creationId xmlns:a16="http://schemas.microsoft.com/office/drawing/2014/main" id="{0A1512C3-4983-E876-9159-16E3626DF5B5}"/>
              </a:ext>
            </a:extLst>
          </p:cNvPr>
          <p:cNvSpPr>
            <a:spLocks noGrp="1"/>
          </p:cNvSpPr>
          <p:nvPr>
            <p:ph type="body" sz="quarter" idx="29"/>
          </p:nvPr>
        </p:nvSpPr>
        <p:spPr>
          <a:xfrm>
            <a:off x="4206875" y="2212367"/>
            <a:ext cx="4754563"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84" name="Text Placeholder 5">
            <a:extLst>
              <a:ext uri="{FF2B5EF4-FFF2-40B4-BE49-F238E27FC236}">
                <a16:creationId xmlns:a16="http://schemas.microsoft.com/office/drawing/2014/main" id="{F7879AFD-9EB9-2FB8-189D-455DEDB6131F}"/>
              </a:ext>
            </a:extLst>
          </p:cNvPr>
          <p:cNvSpPr>
            <a:spLocks noGrp="1"/>
          </p:cNvSpPr>
          <p:nvPr>
            <p:ph type="body" sz="quarter" idx="30" hasCustomPrompt="1"/>
          </p:nvPr>
        </p:nvSpPr>
        <p:spPr>
          <a:xfrm>
            <a:off x="9106462" y="2212367"/>
            <a:ext cx="2794059"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85" name="Picture Placeholder 96">
            <a:extLst>
              <a:ext uri="{FF2B5EF4-FFF2-40B4-BE49-F238E27FC236}">
                <a16:creationId xmlns:a16="http://schemas.microsoft.com/office/drawing/2014/main" id="{35FA00DC-0DE0-96B1-C7B7-F45DB8335CDB}"/>
              </a:ext>
            </a:extLst>
          </p:cNvPr>
          <p:cNvSpPr>
            <a:spLocks noGrp="1"/>
          </p:cNvSpPr>
          <p:nvPr>
            <p:ph type="pic" sz="quarter" idx="60" hasCustomPrompt="1"/>
          </p:nvPr>
        </p:nvSpPr>
        <p:spPr>
          <a:xfrm>
            <a:off x="3225799" y="2525448"/>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b="0" i="0">
                <a:latin typeface="+mn-lt"/>
              </a:defRPr>
            </a:lvl1pPr>
          </a:lstStyle>
          <a:p>
            <a:r>
              <a:rPr lang="en-GB"/>
              <a:t> </a:t>
            </a:r>
          </a:p>
        </p:txBody>
      </p:sp>
      <p:sp>
        <p:nvSpPr>
          <p:cNvPr id="186" name="Text Placeholder 5">
            <a:extLst>
              <a:ext uri="{FF2B5EF4-FFF2-40B4-BE49-F238E27FC236}">
                <a16:creationId xmlns:a16="http://schemas.microsoft.com/office/drawing/2014/main" id="{BE4AFC06-39CD-C8B1-3AE0-5EC6BA91A93A}"/>
              </a:ext>
            </a:extLst>
          </p:cNvPr>
          <p:cNvSpPr>
            <a:spLocks noGrp="1"/>
          </p:cNvSpPr>
          <p:nvPr>
            <p:ph type="body" sz="quarter" idx="31" hasCustomPrompt="1"/>
          </p:nvPr>
        </p:nvSpPr>
        <p:spPr>
          <a:xfrm>
            <a:off x="3225800" y="2607652"/>
            <a:ext cx="836613" cy="228909"/>
          </a:xfrm>
        </p:spPr>
        <p:txBody>
          <a:bodyPr wrap="square">
            <a:no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87" name="Text Placeholder 5">
            <a:extLst>
              <a:ext uri="{FF2B5EF4-FFF2-40B4-BE49-F238E27FC236}">
                <a16:creationId xmlns:a16="http://schemas.microsoft.com/office/drawing/2014/main" id="{626B338C-7172-C0D7-9039-86A9DE0F1FA0}"/>
              </a:ext>
            </a:extLst>
          </p:cNvPr>
          <p:cNvSpPr>
            <a:spLocks noGrp="1"/>
          </p:cNvSpPr>
          <p:nvPr>
            <p:ph type="body" sz="quarter" idx="32"/>
          </p:nvPr>
        </p:nvSpPr>
        <p:spPr>
          <a:xfrm>
            <a:off x="4206875" y="2607652"/>
            <a:ext cx="4754563"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88" name="Text Placeholder 5">
            <a:extLst>
              <a:ext uri="{FF2B5EF4-FFF2-40B4-BE49-F238E27FC236}">
                <a16:creationId xmlns:a16="http://schemas.microsoft.com/office/drawing/2014/main" id="{F53E4D8E-1408-3646-C31B-01AB5D69F9EE}"/>
              </a:ext>
            </a:extLst>
          </p:cNvPr>
          <p:cNvSpPr>
            <a:spLocks noGrp="1"/>
          </p:cNvSpPr>
          <p:nvPr>
            <p:ph type="body" sz="quarter" idx="33" hasCustomPrompt="1"/>
          </p:nvPr>
        </p:nvSpPr>
        <p:spPr>
          <a:xfrm>
            <a:off x="9106462" y="2607652"/>
            <a:ext cx="2794059"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89" name="Picture Placeholder 97">
            <a:extLst>
              <a:ext uri="{FF2B5EF4-FFF2-40B4-BE49-F238E27FC236}">
                <a16:creationId xmlns:a16="http://schemas.microsoft.com/office/drawing/2014/main" id="{E48216AF-0F70-8F6D-3261-AB2C4BA6E6DD}"/>
              </a:ext>
            </a:extLst>
          </p:cNvPr>
          <p:cNvSpPr>
            <a:spLocks noGrp="1"/>
          </p:cNvSpPr>
          <p:nvPr>
            <p:ph type="pic" sz="quarter" idx="61" hasCustomPrompt="1"/>
          </p:nvPr>
        </p:nvSpPr>
        <p:spPr>
          <a:xfrm>
            <a:off x="3225799" y="2919586"/>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b="0" i="0">
                <a:latin typeface="+mn-lt"/>
              </a:defRPr>
            </a:lvl1pPr>
          </a:lstStyle>
          <a:p>
            <a:r>
              <a:rPr lang="en-GB"/>
              <a:t> </a:t>
            </a:r>
          </a:p>
        </p:txBody>
      </p:sp>
      <p:sp>
        <p:nvSpPr>
          <p:cNvPr id="190" name="Text Placeholder 5">
            <a:extLst>
              <a:ext uri="{FF2B5EF4-FFF2-40B4-BE49-F238E27FC236}">
                <a16:creationId xmlns:a16="http://schemas.microsoft.com/office/drawing/2014/main" id="{ACC59BB8-BBFA-7099-D2F9-58BFCAF10734}"/>
              </a:ext>
            </a:extLst>
          </p:cNvPr>
          <p:cNvSpPr>
            <a:spLocks noGrp="1"/>
          </p:cNvSpPr>
          <p:nvPr>
            <p:ph type="body" sz="quarter" idx="34" hasCustomPrompt="1"/>
          </p:nvPr>
        </p:nvSpPr>
        <p:spPr>
          <a:xfrm>
            <a:off x="3225800" y="3002937"/>
            <a:ext cx="836613" cy="228909"/>
          </a:xfrm>
        </p:spPr>
        <p:txBody>
          <a:bodyPr wrap="square">
            <a:no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91" name="Text Placeholder 5">
            <a:extLst>
              <a:ext uri="{FF2B5EF4-FFF2-40B4-BE49-F238E27FC236}">
                <a16:creationId xmlns:a16="http://schemas.microsoft.com/office/drawing/2014/main" id="{CACBCBB1-0D34-45F6-E211-B0C865D3FF9F}"/>
              </a:ext>
            </a:extLst>
          </p:cNvPr>
          <p:cNvSpPr>
            <a:spLocks noGrp="1"/>
          </p:cNvSpPr>
          <p:nvPr>
            <p:ph type="body" sz="quarter" idx="35"/>
          </p:nvPr>
        </p:nvSpPr>
        <p:spPr>
          <a:xfrm>
            <a:off x="4206875" y="3002937"/>
            <a:ext cx="4754563"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92" name="Text Placeholder 5">
            <a:extLst>
              <a:ext uri="{FF2B5EF4-FFF2-40B4-BE49-F238E27FC236}">
                <a16:creationId xmlns:a16="http://schemas.microsoft.com/office/drawing/2014/main" id="{AA85DA3F-ECA7-C004-3370-0301B640466D}"/>
              </a:ext>
            </a:extLst>
          </p:cNvPr>
          <p:cNvSpPr>
            <a:spLocks noGrp="1"/>
          </p:cNvSpPr>
          <p:nvPr>
            <p:ph type="body" sz="quarter" idx="36" hasCustomPrompt="1"/>
          </p:nvPr>
        </p:nvSpPr>
        <p:spPr>
          <a:xfrm>
            <a:off x="9106462" y="3002937"/>
            <a:ext cx="2794059"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93" name="Picture Placeholder 98">
            <a:extLst>
              <a:ext uri="{FF2B5EF4-FFF2-40B4-BE49-F238E27FC236}">
                <a16:creationId xmlns:a16="http://schemas.microsoft.com/office/drawing/2014/main" id="{6E85E349-99D2-61C9-CD7D-58A15220FF0A}"/>
              </a:ext>
            </a:extLst>
          </p:cNvPr>
          <p:cNvSpPr>
            <a:spLocks noGrp="1"/>
          </p:cNvSpPr>
          <p:nvPr>
            <p:ph type="pic" sz="quarter" idx="62" hasCustomPrompt="1"/>
          </p:nvPr>
        </p:nvSpPr>
        <p:spPr>
          <a:xfrm>
            <a:off x="3225799" y="3313724"/>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b="0" i="0">
                <a:latin typeface="+mn-lt"/>
              </a:defRPr>
            </a:lvl1pPr>
          </a:lstStyle>
          <a:p>
            <a:r>
              <a:rPr lang="en-GB"/>
              <a:t> </a:t>
            </a:r>
          </a:p>
        </p:txBody>
      </p:sp>
      <p:sp>
        <p:nvSpPr>
          <p:cNvPr id="194" name="Text Placeholder 5">
            <a:extLst>
              <a:ext uri="{FF2B5EF4-FFF2-40B4-BE49-F238E27FC236}">
                <a16:creationId xmlns:a16="http://schemas.microsoft.com/office/drawing/2014/main" id="{D00E7ED3-4AED-567D-4156-2F6D199ADA79}"/>
              </a:ext>
            </a:extLst>
          </p:cNvPr>
          <p:cNvSpPr>
            <a:spLocks noGrp="1"/>
          </p:cNvSpPr>
          <p:nvPr>
            <p:ph type="body" sz="quarter" idx="37" hasCustomPrompt="1"/>
          </p:nvPr>
        </p:nvSpPr>
        <p:spPr>
          <a:xfrm>
            <a:off x="3225800" y="3398222"/>
            <a:ext cx="836613" cy="228909"/>
          </a:xfrm>
        </p:spPr>
        <p:txBody>
          <a:bodyPr wrap="square">
            <a:no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95" name="Text Placeholder 5">
            <a:extLst>
              <a:ext uri="{FF2B5EF4-FFF2-40B4-BE49-F238E27FC236}">
                <a16:creationId xmlns:a16="http://schemas.microsoft.com/office/drawing/2014/main" id="{C8FC743C-8275-AD1C-7797-8C970CCC8D44}"/>
              </a:ext>
            </a:extLst>
          </p:cNvPr>
          <p:cNvSpPr>
            <a:spLocks noGrp="1"/>
          </p:cNvSpPr>
          <p:nvPr>
            <p:ph type="body" sz="quarter" idx="38"/>
          </p:nvPr>
        </p:nvSpPr>
        <p:spPr>
          <a:xfrm>
            <a:off x="4206875" y="3398222"/>
            <a:ext cx="4754563"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96" name="Text Placeholder 5">
            <a:extLst>
              <a:ext uri="{FF2B5EF4-FFF2-40B4-BE49-F238E27FC236}">
                <a16:creationId xmlns:a16="http://schemas.microsoft.com/office/drawing/2014/main" id="{AF7A0554-FA98-7604-80E6-32CB2E2929A8}"/>
              </a:ext>
            </a:extLst>
          </p:cNvPr>
          <p:cNvSpPr>
            <a:spLocks noGrp="1"/>
          </p:cNvSpPr>
          <p:nvPr>
            <p:ph type="body" sz="quarter" idx="39" hasCustomPrompt="1"/>
          </p:nvPr>
        </p:nvSpPr>
        <p:spPr>
          <a:xfrm>
            <a:off x="9106462" y="3398222"/>
            <a:ext cx="2794059"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97" name="Picture Placeholder 99">
            <a:extLst>
              <a:ext uri="{FF2B5EF4-FFF2-40B4-BE49-F238E27FC236}">
                <a16:creationId xmlns:a16="http://schemas.microsoft.com/office/drawing/2014/main" id="{F876AA1D-D562-3A3B-A233-9C23797C9A2F}"/>
              </a:ext>
            </a:extLst>
          </p:cNvPr>
          <p:cNvSpPr>
            <a:spLocks noGrp="1"/>
          </p:cNvSpPr>
          <p:nvPr>
            <p:ph type="pic" sz="quarter" idx="63" hasCustomPrompt="1"/>
          </p:nvPr>
        </p:nvSpPr>
        <p:spPr>
          <a:xfrm>
            <a:off x="3225799" y="3715744"/>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b="0" i="0">
                <a:latin typeface="+mn-lt"/>
              </a:defRPr>
            </a:lvl1pPr>
          </a:lstStyle>
          <a:p>
            <a:r>
              <a:rPr lang="en-GB"/>
              <a:t> </a:t>
            </a:r>
          </a:p>
        </p:txBody>
      </p:sp>
      <p:sp>
        <p:nvSpPr>
          <p:cNvPr id="198" name="Text Placeholder 5">
            <a:extLst>
              <a:ext uri="{FF2B5EF4-FFF2-40B4-BE49-F238E27FC236}">
                <a16:creationId xmlns:a16="http://schemas.microsoft.com/office/drawing/2014/main" id="{4AAF2467-86C6-2863-72E4-0D257BDEFEC8}"/>
              </a:ext>
            </a:extLst>
          </p:cNvPr>
          <p:cNvSpPr>
            <a:spLocks noGrp="1"/>
          </p:cNvSpPr>
          <p:nvPr>
            <p:ph type="body" sz="quarter" idx="40" hasCustomPrompt="1"/>
          </p:nvPr>
        </p:nvSpPr>
        <p:spPr>
          <a:xfrm>
            <a:off x="3225800" y="3793507"/>
            <a:ext cx="836613" cy="228909"/>
          </a:xfrm>
        </p:spPr>
        <p:txBody>
          <a:bodyPr wrap="square">
            <a:no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99" name="Text Placeholder 5">
            <a:extLst>
              <a:ext uri="{FF2B5EF4-FFF2-40B4-BE49-F238E27FC236}">
                <a16:creationId xmlns:a16="http://schemas.microsoft.com/office/drawing/2014/main" id="{D10BCF98-803A-D107-CF63-05EE97CCF877}"/>
              </a:ext>
            </a:extLst>
          </p:cNvPr>
          <p:cNvSpPr>
            <a:spLocks noGrp="1"/>
          </p:cNvSpPr>
          <p:nvPr>
            <p:ph type="body" sz="quarter" idx="41"/>
          </p:nvPr>
        </p:nvSpPr>
        <p:spPr>
          <a:xfrm>
            <a:off x="4206875" y="3793507"/>
            <a:ext cx="4754563"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200" name="Text Placeholder 5">
            <a:extLst>
              <a:ext uri="{FF2B5EF4-FFF2-40B4-BE49-F238E27FC236}">
                <a16:creationId xmlns:a16="http://schemas.microsoft.com/office/drawing/2014/main" id="{66FCBF15-2260-D8AF-4A2A-454AC1F084CE}"/>
              </a:ext>
            </a:extLst>
          </p:cNvPr>
          <p:cNvSpPr>
            <a:spLocks noGrp="1"/>
          </p:cNvSpPr>
          <p:nvPr>
            <p:ph type="body" sz="quarter" idx="42" hasCustomPrompt="1"/>
          </p:nvPr>
        </p:nvSpPr>
        <p:spPr>
          <a:xfrm>
            <a:off x="9106462" y="3793507"/>
            <a:ext cx="2794059"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201" name="Picture Placeholder 100">
            <a:extLst>
              <a:ext uri="{FF2B5EF4-FFF2-40B4-BE49-F238E27FC236}">
                <a16:creationId xmlns:a16="http://schemas.microsoft.com/office/drawing/2014/main" id="{9AA08646-E580-C6E2-B08A-A52294AA1302}"/>
              </a:ext>
            </a:extLst>
          </p:cNvPr>
          <p:cNvSpPr>
            <a:spLocks noGrp="1"/>
          </p:cNvSpPr>
          <p:nvPr>
            <p:ph type="pic" sz="quarter" idx="64" hasCustomPrompt="1"/>
          </p:nvPr>
        </p:nvSpPr>
        <p:spPr>
          <a:xfrm>
            <a:off x="3225799" y="410199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b="0" i="0">
                <a:latin typeface="+mn-lt"/>
              </a:defRPr>
            </a:lvl1pPr>
          </a:lstStyle>
          <a:p>
            <a:r>
              <a:rPr lang="en-GB"/>
              <a:t> </a:t>
            </a:r>
          </a:p>
        </p:txBody>
      </p:sp>
      <p:sp>
        <p:nvSpPr>
          <p:cNvPr id="202" name="Text Placeholder 5">
            <a:extLst>
              <a:ext uri="{FF2B5EF4-FFF2-40B4-BE49-F238E27FC236}">
                <a16:creationId xmlns:a16="http://schemas.microsoft.com/office/drawing/2014/main" id="{F1F57BF8-4802-2C8C-0E82-371529BD021B}"/>
              </a:ext>
            </a:extLst>
          </p:cNvPr>
          <p:cNvSpPr>
            <a:spLocks noGrp="1"/>
          </p:cNvSpPr>
          <p:nvPr>
            <p:ph type="body" sz="quarter" idx="43" hasCustomPrompt="1"/>
          </p:nvPr>
        </p:nvSpPr>
        <p:spPr>
          <a:xfrm>
            <a:off x="3225800" y="4185778"/>
            <a:ext cx="836613" cy="228909"/>
          </a:xfrm>
        </p:spPr>
        <p:txBody>
          <a:bodyPr wrap="square">
            <a:no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203" name="Text Placeholder 5">
            <a:extLst>
              <a:ext uri="{FF2B5EF4-FFF2-40B4-BE49-F238E27FC236}">
                <a16:creationId xmlns:a16="http://schemas.microsoft.com/office/drawing/2014/main" id="{04A64809-4725-EAB5-6238-C72786840E58}"/>
              </a:ext>
            </a:extLst>
          </p:cNvPr>
          <p:cNvSpPr>
            <a:spLocks noGrp="1"/>
          </p:cNvSpPr>
          <p:nvPr>
            <p:ph type="body" sz="quarter" idx="44"/>
          </p:nvPr>
        </p:nvSpPr>
        <p:spPr>
          <a:xfrm>
            <a:off x="4206875" y="4185778"/>
            <a:ext cx="4754563"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204" name="Text Placeholder 5">
            <a:extLst>
              <a:ext uri="{FF2B5EF4-FFF2-40B4-BE49-F238E27FC236}">
                <a16:creationId xmlns:a16="http://schemas.microsoft.com/office/drawing/2014/main" id="{4CB9BFE3-9BB1-5FD8-09B8-E24BA20F557E}"/>
              </a:ext>
            </a:extLst>
          </p:cNvPr>
          <p:cNvSpPr>
            <a:spLocks noGrp="1"/>
          </p:cNvSpPr>
          <p:nvPr>
            <p:ph type="body" sz="quarter" idx="45" hasCustomPrompt="1"/>
          </p:nvPr>
        </p:nvSpPr>
        <p:spPr>
          <a:xfrm>
            <a:off x="9106462" y="4185778"/>
            <a:ext cx="2794059"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205" name="Picture Placeholder 101">
            <a:extLst>
              <a:ext uri="{FF2B5EF4-FFF2-40B4-BE49-F238E27FC236}">
                <a16:creationId xmlns:a16="http://schemas.microsoft.com/office/drawing/2014/main" id="{44DB8248-2938-15C7-274A-CA5D91633846}"/>
              </a:ext>
            </a:extLst>
          </p:cNvPr>
          <p:cNvSpPr>
            <a:spLocks noGrp="1"/>
          </p:cNvSpPr>
          <p:nvPr>
            <p:ph type="pic" sz="quarter" idx="65" hasCustomPrompt="1"/>
          </p:nvPr>
        </p:nvSpPr>
        <p:spPr>
          <a:xfrm>
            <a:off x="3225799" y="4496137"/>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b="0" i="0">
                <a:latin typeface="+mn-lt"/>
              </a:defRPr>
            </a:lvl1pPr>
          </a:lstStyle>
          <a:p>
            <a:r>
              <a:rPr lang="en-GB"/>
              <a:t> </a:t>
            </a:r>
          </a:p>
        </p:txBody>
      </p:sp>
      <p:sp>
        <p:nvSpPr>
          <p:cNvPr id="206" name="Text Placeholder 5">
            <a:extLst>
              <a:ext uri="{FF2B5EF4-FFF2-40B4-BE49-F238E27FC236}">
                <a16:creationId xmlns:a16="http://schemas.microsoft.com/office/drawing/2014/main" id="{611AE180-E3A1-4890-5ADE-0648958344D8}"/>
              </a:ext>
            </a:extLst>
          </p:cNvPr>
          <p:cNvSpPr>
            <a:spLocks noGrp="1"/>
          </p:cNvSpPr>
          <p:nvPr>
            <p:ph type="body" sz="quarter" idx="46" hasCustomPrompt="1"/>
          </p:nvPr>
        </p:nvSpPr>
        <p:spPr>
          <a:xfrm>
            <a:off x="3225800" y="4578049"/>
            <a:ext cx="836613" cy="228909"/>
          </a:xfrm>
        </p:spPr>
        <p:txBody>
          <a:bodyPr wrap="square">
            <a:no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207" name="Text Placeholder 5">
            <a:extLst>
              <a:ext uri="{FF2B5EF4-FFF2-40B4-BE49-F238E27FC236}">
                <a16:creationId xmlns:a16="http://schemas.microsoft.com/office/drawing/2014/main" id="{E90EADE4-597A-8C59-D59C-21DE4011EC86}"/>
              </a:ext>
            </a:extLst>
          </p:cNvPr>
          <p:cNvSpPr>
            <a:spLocks noGrp="1"/>
          </p:cNvSpPr>
          <p:nvPr>
            <p:ph type="body" sz="quarter" idx="47"/>
          </p:nvPr>
        </p:nvSpPr>
        <p:spPr>
          <a:xfrm>
            <a:off x="4206875" y="4578049"/>
            <a:ext cx="4754563"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208" name="Text Placeholder 5">
            <a:extLst>
              <a:ext uri="{FF2B5EF4-FFF2-40B4-BE49-F238E27FC236}">
                <a16:creationId xmlns:a16="http://schemas.microsoft.com/office/drawing/2014/main" id="{8988DD51-F3BF-BE97-FF13-DAAFB4A50B04}"/>
              </a:ext>
            </a:extLst>
          </p:cNvPr>
          <p:cNvSpPr>
            <a:spLocks noGrp="1"/>
          </p:cNvSpPr>
          <p:nvPr>
            <p:ph type="body" sz="quarter" idx="48" hasCustomPrompt="1"/>
          </p:nvPr>
        </p:nvSpPr>
        <p:spPr>
          <a:xfrm>
            <a:off x="9106462" y="4578049"/>
            <a:ext cx="2794059"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209" name="Picture Placeholder 102">
            <a:extLst>
              <a:ext uri="{FF2B5EF4-FFF2-40B4-BE49-F238E27FC236}">
                <a16:creationId xmlns:a16="http://schemas.microsoft.com/office/drawing/2014/main" id="{5DAB147A-0351-E869-E2C9-849967B3E0CC}"/>
              </a:ext>
            </a:extLst>
          </p:cNvPr>
          <p:cNvSpPr>
            <a:spLocks noGrp="1"/>
          </p:cNvSpPr>
          <p:nvPr>
            <p:ph type="pic" sz="quarter" idx="66" hasCustomPrompt="1"/>
          </p:nvPr>
        </p:nvSpPr>
        <p:spPr>
          <a:xfrm>
            <a:off x="3225799" y="4890274"/>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b="0" i="0">
                <a:latin typeface="+mn-lt"/>
              </a:defRPr>
            </a:lvl1pPr>
          </a:lstStyle>
          <a:p>
            <a:r>
              <a:rPr lang="en-GB"/>
              <a:t> </a:t>
            </a:r>
          </a:p>
        </p:txBody>
      </p:sp>
      <p:sp>
        <p:nvSpPr>
          <p:cNvPr id="210" name="Text Placeholder 5">
            <a:extLst>
              <a:ext uri="{FF2B5EF4-FFF2-40B4-BE49-F238E27FC236}">
                <a16:creationId xmlns:a16="http://schemas.microsoft.com/office/drawing/2014/main" id="{3A1DC516-9D33-7E76-1881-D60014DC876A}"/>
              </a:ext>
            </a:extLst>
          </p:cNvPr>
          <p:cNvSpPr>
            <a:spLocks noGrp="1"/>
          </p:cNvSpPr>
          <p:nvPr>
            <p:ph type="body" sz="quarter" idx="49" hasCustomPrompt="1"/>
          </p:nvPr>
        </p:nvSpPr>
        <p:spPr>
          <a:xfrm>
            <a:off x="3225800" y="4969019"/>
            <a:ext cx="836613" cy="228909"/>
          </a:xfrm>
        </p:spPr>
        <p:txBody>
          <a:bodyPr wrap="square">
            <a:no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211" name="Text Placeholder 5">
            <a:extLst>
              <a:ext uri="{FF2B5EF4-FFF2-40B4-BE49-F238E27FC236}">
                <a16:creationId xmlns:a16="http://schemas.microsoft.com/office/drawing/2014/main" id="{50E9B1C4-B2F3-4C78-8518-39911DF5B99E}"/>
              </a:ext>
            </a:extLst>
          </p:cNvPr>
          <p:cNvSpPr>
            <a:spLocks noGrp="1"/>
          </p:cNvSpPr>
          <p:nvPr>
            <p:ph type="body" sz="quarter" idx="50"/>
          </p:nvPr>
        </p:nvSpPr>
        <p:spPr>
          <a:xfrm>
            <a:off x="4206875" y="4969019"/>
            <a:ext cx="4754563"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212" name="Text Placeholder 5">
            <a:extLst>
              <a:ext uri="{FF2B5EF4-FFF2-40B4-BE49-F238E27FC236}">
                <a16:creationId xmlns:a16="http://schemas.microsoft.com/office/drawing/2014/main" id="{BE4B6B57-1237-7AB3-7574-6A37E89A9F5C}"/>
              </a:ext>
            </a:extLst>
          </p:cNvPr>
          <p:cNvSpPr>
            <a:spLocks noGrp="1"/>
          </p:cNvSpPr>
          <p:nvPr>
            <p:ph type="body" sz="quarter" idx="51" hasCustomPrompt="1"/>
          </p:nvPr>
        </p:nvSpPr>
        <p:spPr>
          <a:xfrm>
            <a:off x="9106462" y="4969019"/>
            <a:ext cx="2794059"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213" name="Picture Placeholder 103">
            <a:extLst>
              <a:ext uri="{FF2B5EF4-FFF2-40B4-BE49-F238E27FC236}">
                <a16:creationId xmlns:a16="http://schemas.microsoft.com/office/drawing/2014/main" id="{469187E8-1DE2-B301-6DE0-4B9CEA368C43}"/>
              </a:ext>
            </a:extLst>
          </p:cNvPr>
          <p:cNvSpPr>
            <a:spLocks noGrp="1"/>
          </p:cNvSpPr>
          <p:nvPr>
            <p:ph type="pic" sz="quarter" idx="67" hasCustomPrompt="1"/>
          </p:nvPr>
        </p:nvSpPr>
        <p:spPr>
          <a:xfrm>
            <a:off x="3225799" y="527652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b="0" i="0">
                <a:latin typeface="+mn-lt"/>
              </a:defRPr>
            </a:lvl1pPr>
          </a:lstStyle>
          <a:p>
            <a:r>
              <a:rPr lang="en-GB"/>
              <a:t> </a:t>
            </a:r>
          </a:p>
        </p:txBody>
      </p:sp>
      <p:sp>
        <p:nvSpPr>
          <p:cNvPr id="214" name="Text Placeholder 5">
            <a:extLst>
              <a:ext uri="{FF2B5EF4-FFF2-40B4-BE49-F238E27FC236}">
                <a16:creationId xmlns:a16="http://schemas.microsoft.com/office/drawing/2014/main" id="{C07B97CB-6CF8-744C-72E9-403869FF62FA}"/>
              </a:ext>
            </a:extLst>
          </p:cNvPr>
          <p:cNvSpPr>
            <a:spLocks noGrp="1"/>
          </p:cNvSpPr>
          <p:nvPr>
            <p:ph type="body" sz="quarter" idx="52" hasCustomPrompt="1"/>
          </p:nvPr>
        </p:nvSpPr>
        <p:spPr>
          <a:xfrm>
            <a:off x="3225800" y="5359989"/>
            <a:ext cx="836613" cy="228909"/>
          </a:xfrm>
        </p:spPr>
        <p:txBody>
          <a:bodyPr wrap="square">
            <a:no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215" name="Text Placeholder 5">
            <a:extLst>
              <a:ext uri="{FF2B5EF4-FFF2-40B4-BE49-F238E27FC236}">
                <a16:creationId xmlns:a16="http://schemas.microsoft.com/office/drawing/2014/main" id="{D7694E3D-9EAE-7860-514C-D3E6A6066D79}"/>
              </a:ext>
            </a:extLst>
          </p:cNvPr>
          <p:cNvSpPr>
            <a:spLocks noGrp="1"/>
          </p:cNvSpPr>
          <p:nvPr>
            <p:ph type="body" sz="quarter" idx="53"/>
          </p:nvPr>
        </p:nvSpPr>
        <p:spPr>
          <a:xfrm>
            <a:off x="4206875" y="5359989"/>
            <a:ext cx="4754563"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216" name="Text Placeholder 5">
            <a:extLst>
              <a:ext uri="{FF2B5EF4-FFF2-40B4-BE49-F238E27FC236}">
                <a16:creationId xmlns:a16="http://schemas.microsoft.com/office/drawing/2014/main" id="{673631ED-FCF1-AA91-EA4E-8BD53A7ED357}"/>
              </a:ext>
            </a:extLst>
          </p:cNvPr>
          <p:cNvSpPr>
            <a:spLocks noGrp="1"/>
          </p:cNvSpPr>
          <p:nvPr>
            <p:ph type="body" sz="quarter" idx="54" hasCustomPrompt="1"/>
          </p:nvPr>
        </p:nvSpPr>
        <p:spPr>
          <a:xfrm>
            <a:off x="9106462" y="5359989"/>
            <a:ext cx="2794059" cy="228909"/>
          </a:xfrm>
        </p:spPr>
        <p:txBody>
          <a:bodyPr wrap="square">
            <a:no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r>
              <a:rPr lang="en-US"/>
              <a:t>Job Aid and Guidance Document still under review.</a:t>
            </a:r>
            <a:endParaRPr lang="en-GB"/>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Tree>
    <p:extLst>
      <p:ext uri="{BB962C8B-B14F-4D97-AF65-F5344CB8AC3E}">
        <p14:creationId xmlns:p14="http://schemas.microsoft.com/office/powerpoint/2010/main" val="318331920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C789E9C-6550-50F6-2FFD-F534146F3D6F}"/>
              </a:ext>
            </a:extLst>
          </p:cNvPr>
          <p:cNvSpPr>
            <a:spLocks noGrp="1"/>
          </p:cNvSpPr>
          <p:nvPr>
            <p:ph type="body" sz="quarter" idx="12"/>
          </p:nvPr>
        </p:nvSpPr>
        <p:spPr>
          <a:xfrm>
            <a:off x="287337" y="269882"/>
            <a:ext cx="11615278" cy="5002212"/>
          </a:xfrm>
        </p:spPr>
        <p:txBody>
          <a:bodyPr/>
          <a:lstStyle>
            <a:lvl1pPr>
              <a:lnSpc>
                <a:spcPct val="80000"/>
              </a:lnSpc>
              <a:defRPr sz="7400" b="0" i="0">
                <a:solidFill>
                  <a:schemeClr val="accent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3" name="Footer Placeholder 2">
            <a:extLst>
              <a:ext uri="{FF2B5EF4-FFF2-40B4-BE49-F238E27FC236}">
                <a16:creationId xmlns:a16="http://schemas.microsoft.com/office/drawing/2014/main" id="{1ED9562A-759F-B207-3B94-4C0D83136FDD}"/>
              </a:ext>
            </a:extLst>
          </p:cNvPr>
          <p:cNvSpPr>
            <a:spLocks noGrp="1"/>
          </p:cNvSpPr>
          <p:nvPr>
            <p:ph type="ftr" sz="quarter" idx="10"/>
          </p:nvPr>
        </p:nvSpPr>
        <p:spPr/>
        <p:txBody>
          <a:bodyPr/>
          <a:lstStyle/>
          <a:p>
            <a:pPr>
              <a:spcBef>
                <a:spcPts val="0"/>
              </a:spcBef>
              <a:spcAft>
                <a:spcPts val="300"/>
              </a:spcAft>
            </a:pPr>
            <a:r>
              <a:rPr lang="en-US" b="0" i="0">
                <a:effectLst/>
              </a:rPr>
              <a:t>Job Aid and Guidance Document still under review.</a:t>
            </a:r>
          </a:p>
        </p:txBody>
      </p:sp>
      <p:sp>
        <p:nvSpPr>
          <p:cNvPr id="4" name="Slide Number Placeholder 3">
            <a:extLst>
              <a:ext uri="{FF2B5EF4-FFF2-40B4-BE49-F238E27FC236}">
                <a16:creationId xmlns:a16="http://schemas.microsoft.com/office/drawing/2014/main" id="{A7336B88-A821-CF31-A937-209EE62E0A19}"/>
              </a:ext>
            </a:extLst>
          </p:cNvPr>
          <p:cNvSpPr>
            <a:spLocks noGrp="1"/>
          </p:cNvSpPr>
          <p:nvPr>
            <p:ph type="sldNum" sz="quarter" idx="11"/>
          </p:nvPr>
        </p:nvSpPr>
        <p:spPr/>
        <p:txBody>
          <a:bodyPr/>
          <a:lstStyle/>
          <a:p>
            <a:fld id="{AEC8D767-5246-2244-A4A3-B8AFB218393C}" type="slidenum">
              <a:rPr lang="en-GB" smtClean="0"/>
              <a:pPr/>
              <a:t>‹#›</a:t>
            </a:fld>
            <a:endParaRPr lang="en-GB"/>
          </a:p>
        </p:txBody>
      </p:sp>
    </p:spTree>
    <p:extLst>
      <p:ext uri="{BB962C8B-B14F-4D97-AF65-F5344CB8AC3E}">
        <p14:creationId xmlns:p14="http://schemas.microsoft.com/office/powerpoint/2010/main" val="372956899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Key Numbers">
    <p:bg>
      <p:bgPr>
        <a:solidFill>
          <a:schemeClr val="tx2"/>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429BCB1-0FF2-B8E0-831A-4C2A0BEF189C}"/>
              </a:ext>
            </a:extLst>
          </p:cNvPr>
          <p:cNvSpPr>
            <a:spLocks noGrp="1"/>
          </p:cNvSpPr>
          <p:nvPr>
            <p:ph type="title"/>
          </p:nvPr>
        </p:nvSpPr>
        <p:spPr>
          <a:xfrm>
            <a:off x="288303" y="273600"/>
            <a:ext cx="1811959" cy="392415"/>
          </a:xfrm>
        </p:spPr>
        <p:txBody>
          <a:bodyPr/>
          <a:lstStyle>
            <a:lvl1pPr>
              <a:lnSpc>
                <a:spcPct val="85000"/>
              </a:lnSpc>
              <a:defRPr sz="1500" b="1" i="0">
                <a:solidFill>
                  <a:schemeClr val="bg1"/>
                </a:solidFill>
                <a:latin typeface="+mn-lt"/>
              </a:defRPr>
            </a:lvl1pPr>
          </a:lstStyle>
          <a:p>
            <a:r>
              <a:rPr lang="zh-CN" altLang="en-US"/>
              <a:t>单击此处编辑母版标题样式</a:t>
            </a:r>
            <a:endParaRPr lang="en-GB"/>
          </a:p>
        </p:txBody>
      </p:sp>
      <p:sp>
        <p:nvSpPr>
          <p:cNvPr id="8" name="Picture Placeholder 91">
            <a:extLst>
              <a:ext uri="{FF2B5EF4-FFF2-40B4-BE49-F238E27FC236}">
                <a16:creationId xmlns:a16="http://schemas.microsoft.com/office/drawing/2014/main" id="{1B8E6F68-BB92-3741-A271-A507454209A8}"/>
              </a:ext>
            </a:extLst>
          </p:cNvPr>
          <p:cNvSpPr>
            <a:spLocks noGrp="1"/>
          </p:cNvSpPr>
          <p:nvPr>
            <p:ph type="pic" sz="quarter" idx="55" hasCustomPrompt="1"/>
          </p:nvPr>
        </p:nvSpPr>
        <p:spPr>
          <a:xfrm>
            <a:off x="3225799" y="291037"/>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00"/>
            </a:lvl1pPr>
          </a:lstStyle>
          <a:p>
            <a:pPr lvl="8"/>
            <a:r>
              <a:rPr lang="en-GB"/>
              <a:t> </a:t>
            </a:r>
          </a:p>
        </p:txBody>
      </p:sp>
      <p:sp>
        <p:nvSpPr>
          <p:cNvPr id="15" name="Text Placeholder 14">
            <a:extLst>
              <a:ext uri="{FF2B5EF4-FFF2-40B4-BE49-F238E27FC236}">
                <a16:creationId xmlns:a16="http://schemas.microsoft.com/office/drawing/2014/main" id="{63F40DC3-5F4F-C397-5C6A-8A62BC1F78B1}"/>
              </a:ext>
            </a:extLst>
          </p:cNvPr>
          <p:cNvSpPr>
            <a:spLocks noGrp="1"/>
          </p:cNvSpPr>
          <p:nvPr>
            <p:ph type="body" sz="quarter" idx="60"/>
          </p:nvPr>
        </p:nvSpPr>
        <p:spPr>
          <a:xfrm>
            <a:off x="8124824" y="527050"/>
            <a:ext cx="3775075" cy="14986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a:t>单击此处编辑母版文本样式</a:t>
            </a:r>
          </a:p>
          <a:p>
            <a:pPr lvl="1"/>
            <a:r>
              <a:rPr lang="zh-CN" altLang="en-US"/>
              <a:t>二级</a:t>
            </a:r>
          </a:p>
          <a:p>
            <a:pPr lvl="2"/>
            <a:r>
              <a:rPr lang="zh-CN" altLang="en-US"/>
              <a:t>三级</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lvl1pPr>
              <a:defRPr>
                <a:solidFill>
                  <a:schemeClr val="bg1"/>
                </a:solidFill>
              </a:defRPr>
            </a:lvl1pPr>
          </a:lstStyle>
          <a:p>
            <a:pPr>
              <a:spcBef>
                <a:spcPts val="0"/>
              </a:spcBef>
              <a:spcAft>
                <a:spcPts val="300"/>
              </a:spcAft>
            </a:pPr>
            <a:r>
              <a:rPr lang="en-US"/>
              <a:t>Job Aid and Guidance Document still under review.</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14" name="Picture Placeholder 91">
            <a:extLst>
              <a:ext uri="{FF2B5EF4-FFF2-40B4-BE49-F238E27FC236}">
                <a16:creationId xmlns:a16="http://schemas.microsoft.com/office/drawing/2014/main" id="{A11547F3-AA53-B6CF-CC36-9B7EBC562F8C}"/>
              </a:ext>
            </a:extLst>
          </p:cNvPr>
          <p:cNvSpPr>
            <a:spLocks noGrp="1"/>
          </p:cNvSpPr>
          <p:nvPr>
            <p:ph type="pic" sz="quarter" idx="67" hasCustomPrompt="1"/>
          </p:nvPr>
        </p:nvSpPr>
        <p:spPr>
          <a:xfrm>
            <a:off x="3225799" y="2282397"/>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00"/>
            </a:lvl1pPr>
          </a:lstStyle>
          <a:p>
            <a:pPr lvl="8"/>
            <a:r>
              <a:rPr lang="en-GB"/>
              <a:t> </a:t>
            </a:r>
          </a:p>
        </p:txBody>
      </p:sp>
      <p:sp>
        <p:nvSpPr>
          <p:cNvPr id="17" name="Text Placeholder 14">
            <a:extLst>
              <a:ext uri="{FF2B5EF4-FFF2-40B4-BE49-F238E27FC236}">
                <a16:creationId xmlns:a16="http://schemas.microsoft.com/office/drawing/2014/main" id="{BBE84450-4088-E9E0-0359-34BD23A3925E}"/>
              </a:ext>
            </a:extLst>
          </p:cNvPr>
          <p:cNvSpPr>
            <a:spLocks noGrp="1"/>
          </p:cNvSpPr>
          <p:nvPr>
            <p:ph type="body" sz="quarter" idx="69"/>
          </p:nvPr>
        </p:nvSpPr>
        <p:spPr>
          <a:xfrm>
            <a:off x="8124824" y="2518410"/>
            <a:ext cx="3775075" cy="14986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a:t>单击此处编辑母版文本样式</a:t>
            </a:r>
          </a:p>
          <a:p>
            <a:pPr lvl="1"/>
            <a:r>
              <a:rPr lang="zh-CN" altLang="en-US"/>
              <a:t>二级</a:t>
            </a:r>
          </a:p>
          <a:p>
            <a:pPr lvl="2"/>
            <a:r>
              <a:rPr lang="zh-CN" altLang="en-US"/>
              <a:t>三级</a:t>
            </a:r>
          </a:p>
        </p:txBody>
      </p:sp>
      <p:sp>
        <p:nvSpPr>
          <p:cNvPr id="18" name="Picture Placeholder 91">
            <a:extLst>
              <a:ext uri="{FF2B5EF4-FFF2-40B4-BE49-F238E27FC236}">
                <a16:creationId xmlns:a16="http://schemas.microsoft.com/office/drawing/2014/main" id="{62C4BF17-AF9C-A4E5-F1BF-718B90E42E20}"/>
              </a:ext>
            </a:extLst>
          </p:cNvPr>
          <p:cNvSpPr>
            <a:spLocks noGrp="1"/>
          </p:cNvSpPr>
          <p:nvPr>
            <p:ph type="pic" sz="quarter" idx="70" hasCustomPrompt="1"/>
          </p:nvPr>
        </p:nvSpPr>
        <p:spPr>
          <a:xfrm>
            <a:off x="3225799" y="428646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00"/>
            </a:lvl1pPr>
          </a:lstStyle>
          <a:p>
            <a:pPr lvl="8"/>
            <a:r>
              <a:rPr lang="en-GB"/>
              <a:t> </a:t>
            </a:r>
          </a:p>
        </p:txBody>
      </p:sp>
      <p:sp>
        <p:nvSpPr>
          <p:cNvPr id="22" name="Text Placeholder 14">
            <a:extLst>
              <a:ext uri="{FF2B5EF4-FFF2-40B4-BE49-F238E27FC236}">
                <a16:creationId xmlns:a16="http://schemas.microsoft.com/office/drawing/2014/main" id="{F33A7DDF-B16D-DE86-59A6-3E4EE10AF950}"/>
              </a:ext>
            </a:extLst>
          </p:cNvPr>
          <p:cNvSpPr>
            <a:spLocks noGrp="1"/>
          </p:cNvSpPr>
          <p:nvPr>
            <p:ph type="body" sz="quarter" idx="72"/>
          </p:nvPr>
        </p:nvSpPr>
        <p:spPr>
          <a:xfrm>
            <a:off x="8124824" y="4522482"/>
            <a:ext cx="3775075" cy="14986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a:t>单击此处编辑母版文本样式</a:t>
            </a:r>
          </a:p>
          <a:p>
            <a:pPr lvl="1"/>
            <a:r>
              <a:rPr lang="zh-CN" altLang="en-US"/>
              <a:t>二级</a:t>
            </a:r>
          </a:p>
          <a:p>
            <a:pPr lvl="2"/>
            <a:r>
              <a:rPr lang="zh-CN" altLang="en-US"/>
              <a:t>三级</a:t>
            </a:r>
          </a:p>
        </p:txBody>
      </p:sp>
      <p:sp>
        <p:nvSpPr>
          <p:cNvPr id="23" name="Picture Placeholder 91">
            <a:extLst>
              <a:ext uri="{FF2B5EF4-FFF2-40B4-BE49-F238E27FC236}">
                <a16:creationId xmlns:a16="http://schemas.microsoft.com/office/drawing/2014/main" id="{485FA38D-16CA-1001-19BE-594DCF6B57AA}"/>
              </a:ext>
            </a:extLst>
          </p:cNvPr>
          <p:cNvSpPr>
            <a:spLocks noGrp="1"/>
          </p:cNvSpPr>
          <p:nvPr>
            <p:ph type="pic" sz="quarter" idx="73" hasCustomPrompt="1"/>
          </p:nvPr>
        </p:nvSpPr>
        <p:spPr>
          <a:xfrm>
            <a:off x="3225799" y="628798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00"/>
            </a:lvl1pPr>
          </a:lstStyle>
          <a:p>
            <a:pPr lvl="8"/>
            <a:r>
              <a:rPr lang="en-GB"/>
              <a:t> </a:t>
            </a:r>
          </a:p>
        </p:txBody>
      </p:sp>
      <p:sp>
        <p:nvSpPr>
          <p:cNvPr id="27" name="Text Placeholder 26">
            <a:extLst>
              <a:ext uri="{FF2B5EF4-FFF2-40B4-BE49-F238E27FC236}">
                <a16:creationId xmlns:a16="http://schemas.microsoft.com/office/drawing/2014/main" id="{8A5E5282-C048-99E1-5F1B-6B9961066184}"/>
              </a:ext>
            </a:extLst>
          </p:cNvPr>
          <p:cNvSpPr>
            <a:spLocks noGrp="1"/>
          </p:cNvSpPr>
          <p:nvPr>
            <p:ph type="body" sz="quarter" idx="74" hasCustomPrompt="1"/>
          </p:nvPr>
        </p:nvSpPr>
        <p:spPr>
          <a:xfrm>
            <a:off x="3225800" y="111125"/>
            <a:ext cx="3776663" cy="1789113"/>
          </a:xfrm>
        </p:spPr>
        <p:txBody>
          <a:bodyPr/>
          <a:lstStyle>
            <a:lvl1pPr>
              <a:defRPr sz="11000">
                <a:solidFill>
                  <a:schemeClr val="bg1"/>
                </a:solidFill>
                <a:latin typeface="+mj-lt"/>
              </a:defRPr>
            </a:lvl1pPr>
          </a:lstStyle>
          <a:p>
            <a:pPr lvl="0"/>
            <a:r>
              <a:rPr lang="en-GB"/>
              <a:t>00</a:t>
            </a:r>
          </a:p>
        </p:txBody>
      </p:sp>
      <p:sp>
        <p:nvSpPr>
          <p:cNvPr id="28" name="Text Placeholder 26">
            <a:extLst>
              <a:ext uri="{FF2B5EF4-FFF2-40B4-BE49-F238E27FC236}">
                <a16:creationId xmlns:a16="http://schemas.microsoft.com/office/drawing/2014/main" id="{CBBE869E-D65F-3F80-8F9D-6DF327B97D4B}"/>
              </a:ext>
            </a:extLst>
          </p:cNvPr>
          <p:cNvSpPr>
            <a:spLocks noGrp="1"/>
          </p:cNvSpPr>
          <p:nvPr>
            <p:ph type="body" sz="quarter" idx="75" hasCustomPrompt="1"/>
          </p:nvPr>
        </p:nvSpPr>
        <p:spPr>
          <a:xfrm>
            <a:off x="3225800" y="2102616"/>
            <a:ext cx="3776663" cy="1789113"/>
          </a:xfrm>
        </p:spPr>
        <p:txBody>
          <a:bodyPr/>
          <a:lstStyle>
            <a:lvl1pPr>
              <a:defRPr sz="11000">
                <a:solidFill>
                  <a:schemeClr val="bg1"/>
                </a:solidFill>
                <a:latin typeface="+mj-lt"/>
              </a:defRPr>
            </a:lvl1pPr>
          </a:lstStyle>
          <a:p>
            <a:pPr lvl="0"/>
            <a:r>
              <a:rPr lang="en-GB"/>
              <a:t>00</a:t>
            </a:r>
          </a:p>
        </p:txBody>
      </p:sp>
      <p:sp>
        <p:nvSpPr>
          <p:cNvPr id="29" name="Text Placeholder 26">
            <a:extLst>
              <a:ext uri="{FF2B5EF4-FFF2-40B4-BE49-F238E27FC236}">
                <a16:creationId xmlns:a16="http://schemas.microsoft.com/office/drawing/2014/main" id="{BAA28741-F83E-3E15-A9FB-99668766D898}"/>
              </a:ext>
            </a:extLst>
          </p:cNvPr>
          <p:cNvSpPr>
            <a:spLocks noGrp="1"/>
          </p:cNvSpPr>
          <p:nvPr>
            <p:ph type="body" sz="quarter" idx="76" hasCustomPrompt="1"/>
          </p:nvPr>
        </p:nvSpPr>
        <p:spPr>
          <a:xfrm>
            <a:off x="3225800" y="4106128"/>
            <a:ext cx="3776663" cy="1789113"/>
          </a:xfrm>
        </p:spPr>
        <p:txBody>
          <a:bodyPr/>
          <a:lstStyle>
            <a:lvl1pPr>
              <a:defRPr sz="11000">
                <a:solidFill>
                  <a:schemeClr val="bg1"/>
                </a:solidFill>
                <a:latin typeface="+mj-lt"/>
              </a:defRPr>
            </a:lvl1pPr>
          </a:lstStyle>
          <a:p>
            <a:pPr lvl="0"/>
            <a:r>
              <a:rPr lang="en-GB"/>
              <a:t>00</a:t>
            </a:r>
          </a:p>
        </p:txBody>
      </p:sp>
      <p:sp>
        <p:nvSpPr>
          <p:cNvPr id="2" name="Graphic 8">
            <a:extLst>
              <a:ext uri="{FF2B5EF4-FFF2-40B4-BE49-F238E27FC236}">
                <a16:creationId xmlns:a16="http://schemas.microsoft.com/office/drawing/2014/main" id="{87803E29-408D-BDC5-463B-8562EADCC69D}"/>
              </a:ext>
            </a:extLst>
          </p:cNvPr>
          <p:cNvSpPr>
            <a:spLocks noChangeAspect="1"/>
          </p:cNvSpPr>
          <p:nvPr/>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a:p>
        </p:txBody>
      </p:sp>
      <p:sp>
        <p:nvSpPr>
          <p:cNvPr id="3" name="Footer Placeholder 4">
            <a:extLst>
              <a:ext uri="{FF2B5EF4-FFF2-40B4-BE49-F238E27FC236}">
                <a16:creationId xmlns:a16="http://schemas.microsoft.com/office/drawing/2014/main" id="{2DDBFCEB-2CCD-02B9-438A-571CE83069AB}"/>
              </a:ext>
            </a:extLst>
          </p:cNvPr>
          <p:cNvSpPr txBox="1">
            <a:spLocks/>
          </p:cNvSpPr>
          <p:nvPr/>
        </p:nvSpPr>
        <p:spPr>
          <a:xfrm>
            <a:off x="9772073" y="6424023"/>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0" i="0" kern="1200">
                <a:solidFill>
                  <a:schemeClr val="bg1"/>
                </a:solidFill>
                <a:latin typeface="+mn-lt"/>
                <a:ea typeface="+mn-ea"/>
                <a:cs typeface="+mn-cs"/>
              </a:rPr>
              <a:t>HEALTH CARE COMPLIANCE</a:t>
            </a:r>
          </a:p>
        </p:txBody>
      </p:sp>
      <p:sp>
        <p:nvSpPr>
          <p:cNvPr id="6" name="Graphic 8">
            <a:extLst>
              <a:ext uri="{FF2B5EF4-FFF2-40B4-BE49-F238E27FC236}">
                <a16:creationId xmlns:a16="http://schemas.microsoft.com/office/drawing/2014/main" id="{5628E44A-C0F9-B380-B662-BEB55D976F95}"/>
              </a:ext>
            </a:extLst>
          </p:cNvPr>
          <p:cNvSpPr>
            <a:spLocks noChangeAspect="1"/>
          </p:cNvSpPr>
          <p:nvPr userDrawn="1"/>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a:p>
        </p:txBody>
      </p:sp>
    </p:spTree>
    <p:extLst>
      <p:ext uri="{BB962C8B-B14F-4D97-AF65-F5344CB8AC3E}">
        <p14:creationId xmlns:p14="http://schemas.microsoft.com/office/powerpoint/2010/main" val="424278940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Key Numbers [Accessible Version]">
    <p:bg>
      <p:bgPr>
        <a:solidFill>
          <a:srgbClr val="F6F3F2"/>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429BCB1-0FF2-B8E0-831A-4C2A0BEF189C}"/>
              </a:ext>
            </a:extLst>
          </p:cNvPr>
          <p:cNvSpPr>
            <a:spLocks noGrp="1"/>
          </p:cNvSpPr>
          <p:nvPr>
            <p:ph type="title"/>
          </p:nvPr>
        </p:nvSpPr>
        <p:spPr>
          <a:xfrm>
            <a:off x="288303" y="273600"/>
            <a:ext cx="1811959" cy="397032"/>
          </a:xfrm>
        </p:spPr>
        <p:txBody>
          <a:bodyPr/>
          <a:lstStyle>
            <a:lvl1pPr>
              <a:lnSpc>
                <a:spcPct val="85000"/>
              </a:lnSpc>
              <a:defRPr sz="1500" b="1" i="0">
                <a:solidFill>
                  <a:schemeClr val="tx1"/>
                </a:solidFill>
                <a:latin typeface="Johnson Text" pitchFamily="2" charset="77"/>
              </a:defRPr>
            </a:lvl1pPr>
          </a:lstStyle>
          <a:p>
            <a:r>
              <a:rPr lang="zh-CN" altLang="en-US"/>
              <a:t>单击此处编辑母版标题样式</a:t>
            </a:r>
            <a:endParaRPr lang="en-GB"/>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lvl1pPr>
              <a:defRPr>
                <a:solidFill>
                  <a:schemeClr val="tx1"/>
                </a:solidFill>
              </a:defRPr>
            </a:lvl1pPr>
          </a:lstStyle>
          <a:p>
            <a:pPr>
              <a:spcBef>
                <a:spcPts val="0"/>
              </a:spcBef>
              <a:spcAft>
                <a:spcPts val="300"/>
              </a:spcAft>
            </a:pPr>
            <a:r>
              <a:rPr lang="en-US"/>
              <a:t>Job Aid and Guidance Document still under review.</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lvl1pPr>
              <a:defRPr>
                <a:solidFill>
                  <a:schemeClr val="tx1"/>
                </a:solidFill>
              </a:defRPr>
            </a:lvl1pPr>
          </a:lstStyle>
          <a:p>
            <a:fld id="{AEC8D767-5246-2244-A4A3-B8AFB218393C}" type="slidenum">
              <a:rPr lang="en-GB" smtClean="0"/>
              <a:pPr/>
              <a:t>‹#›</a:t>
            </a:fld>
            <a:endParaRPr lang="en-GB"/>
          </a:p>
        </p:txBody>
      </p:sp>
      <p:sp>
        <p:nvSpPr>
          <p:cNvPr id="2" name="Picture Placeholder 91">
            <a:extLst>
              <a:ext uri="{FF2B5EF4-FFF2-40B4-BE49-F238E27FC236}">
                <a16:creationId xmlns:a16="http://schemas.microsoft.com/office/drawing/2014/main" id="{26B4C449-2487-DF2A-7645-8218B023E592}"/>
              </a:ext>
            </a:extLst>
          </p:cNvPr>
          <p:cNvSpPr>
            <a:spLocks noGrp="1"/>
          </p:cNvSpPr>
          <p:nvPr>
            <p:ph type="pic" sz="quarter" idx="55" hasCustomPrompt="1"/>
          </p:nvPr>
        </p:nvSpPr>
        <p:spPr>
          <a:xfrm>
            <a:off x="3225799" y="291037"/>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vl9pPr>
              <a:defRPr>
                <a:solidFill>
                  <a:schemeClr val="tx1"/>
                </a:solidFill>
              </a:defRPr>
            </a:lvl9pPr>
          </a:lstStyle>
          <a:p>
            <a:pPr lvl="8"/>
            <a:r>
              <a:rPr lang="en-GB"/>
              <a:t> </a:t>
            </a:r>
          </a:p>
        </p:txBody>
      </p:sp>
      <p:sp>
        <p:nvSpPr>
          <p:cNvPr id="6" name="Text Placeholder 14">
            <a:extLst>
              <a:ext uri="{FF2B5EF4-FFF2-40B4-BE49-F238E27FC236}">
                <a16:creationId xmlns:a16="http://schemas.microsoft.com/office/drawing/2014/main" id="{D7090765-328D-D615-6AFB-B0F523075373}"/>
              </a:ext>
            </a:extLst>
          </p:cNvPr>
          <p:cNvSpPr>
            <a:spLocks noGrp="1"/>
          </p:cNvSpPr>
          <p:nvPr>
            <p:ph type="body" sz="quarter" idx="60"/>
          </p:nvPr>
        </p:nvSpPr>
        <p:spPr>
          <a:xfrm>
            <a:off x="8124824" y="527050"/>
            <a:ext cx="3775075" cy="1498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zh-CN" altLang="en-US"/>
              <a:t>单击此处编辑母版文本样式</a:t>
            </a:r>
          </a:p>
          <a:p>
            <a:pPr lvl="1"/>
            <a:r>
              <a:rPr lang="zh-CN" altLang="en-US"/>
              <a:t>二级</a:t>
            </a:r>
          </a:p>
          <a:p>
            <a:pPr lvl="2"/>
            <a:r>
              <a:rPr lang="zh-CN" altLang="en-US"/>
              <a:t>三级</a:t>
            </a:r>
          </a:p>
        </p:txBody>
      </p:sp>
      <p:sp>
        <p:nvSpPr>
          <p:cNvPr id="12" name="Picture Placeholder 91">
            <a:extLst>
              <a:ext uri="{FF2B5EF4-FFF2-40B4-BE49-F238E27FC236}">
                <a16:creationId xmlns:a16="http://schemas.microsoft.com/office/drawing/2014/main" id="{04E11CE5-CC63-4DF3-91BC-7D123FA2380B}"/>
              </a:ext>
            </a:extLst>
          </p:cNvPr>
          <p:cNvSpPr>
            <a:spLocks noGrp="1"/>
          </p:cNvSpPr>
          <p:nvPr>
            <p:ph type="pic" sz="quarter" idx="67" hasCustomPrompt="1"/>
          </p:nvPr>
        </p:nvSpPr>
        <p:spPr>
          <a:xfrm>
            <a:off x="3225799" y="2282397"/>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vl9pPr>
              <a:defRPr>
                <a:solidFill>
                  <a:schemeClr val="tx1"/>
                </a:solidFill>
              </a:defRPr>
            </a:lvl9pPr>
          </a:lstStyle>
          <a:p>
            <a:pPr lvl="8"/>
            <a:r>
              <a:rPr lang="en-GB"/>
              <a:t> </a:t>
            </a:r>
          </a:p>
        </p:txBody>
      </p:sp>
      <p:sp>
        <p:nvSpPr>
          <p:cNvPr id="16" name="Text Placeholder 14">
            <a:extLst>
              <a:ext uri="{FF2B5EF4-FFF2-40B4-BE49-F238E27FC236}">
                <a16:creationId xmlns:a16="http://schemas.microsoft.com/office/drawing/2014/main" id="{89F6050B-0591-0406-0A2B-C58DB12244B1}"/>
              </a:ext>
            </a:extLst>
          </p:cNvPr>
          <p:cNvSpPr>
            <a:spLocks noGrp="1"/>
          </p:cNvSpPr>
          <p:nvPr>
            <p:ph type="body" sz="quarter" idx="69"/>
          </p:nvPr>
        </p:nvSpPr>
        <p:spPr>
          <a:xfrm>
            <a:off x="8124824" y="2518410"/>
            <a:ext cx="3775075" cy="1498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zh-CN" altLang="en-US"/>
              <a:t>单击此处编辑母版文本样式</a:t>
            </a:r>
          </a:p>
          <a:p>
            <a:pPr lvl="1"/>
            <a:r>
              <a:rPr lang="zh-CN" altLang="en-US"/>
              <a:t>二级</a:t>
            </a:r>
          </a:p>
          <a:p>
            <a:pPr lvl="2"/>
            <a:r>
              <a:rPr lang="zh-CN" altLang="en-US"/>
              <a:t>三级</a:t>
            </a:r>
          </a:p>
        </p:txBody>
      </p:sp>
      <p:sp>
        <p:nvSpPr>
          <p:cNvPr id="17" name="Picture Placeholder 91">
            <a:extLst>
              <a:ext uri="{FF2B5EF4-FFF2-40B4-BE49-F238E27FC236}">
                <a16:creationId xmlns:a16="http://schemas.microsoft.com/office/drawing/2014/main" id="{95D4FFE4-0D64-5F30-AD0F-100BD6D65389}"/>
              </a:ext>
            </a:extLst>
          </p:cNvPr>
          <p:cNvSpPr>
            <a:spLocks noGrp="1"/>
          </p:cNvSpPr>
          <p:nvPr>
            <p:ph type="pic" sz="quarter" idx="70" hasCustomPrompt="1"/>
          </p:nvPr>
        </p:nvSpPr>
        <p:spPr>
          <a:xfrm>
            <a:off x="3225799" y="428646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vl9pPr>
              <a:defRPr>
                <a:solidFill>
                  <a:schemeClr val="tx1"/>
                </a:solidFill>
              </a:defRPr>
            </a:lvl9pPr>
          </a:lstStyle>
          <a:p>
            <a:pPr lvl="8"/>
            <a:r>
              <a:rPr lang="en-GB"/>
              <a:t> </a:t>
            </a:r>
          </a:p>
        </p:txBody>
      </p:sp>
      <p:sp>
        <p:nvSpPr>
          <p:cNvPr id="21" name="Text Placeholder 14">
            <a:extLst>
              <a:ext uri="{FF2B5EF4-FFF2-40B4-BE49-F238E27FC236}">
                <a16:creationId xmlns:a16="http://schemas.microsoft.com/office/drawing/2014/main" id="{C4F52E6D-F9EF-905D-6975-963F7D958ED5}"/>
              </a:ext>
            </a:extLst>
          </p:cNvPr>
          <p:cNvSpPr>
            <a:spLocks noGrp="1"/>
          </p:cNvSpPr>
          <p:nvPr>
            <p:ph type="body" sz="quarter" idx="72"/>
          </p:nvPr>
        </p:nvSpPr>
        <p:spPr>
          <a:xfrm>
            <a:off x="8124824" y="4522482"/>
            <a:ext cx="3775075" cy="1498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zh-CN" altLang="en-US"/>
              <a:t>单击此处编辑母版文本样式</a:t>
            </a:r>
          </a:p>
          <a:p>
            <a:pPr lvl="1"/>
            <a:r>
              <a:rPr lang="zh-CN" altLang="en-US"/>
              <a:t>二级</a:t>
            </a:r>
          </a:p>
          <a:p>
            <a:pPr lvl="2"/>
            <a:r>
              <a:rPr lang="zh-CN" altLang="en-US"/>
              <a:t>三级</a:t>
            </a:r>
          </a:p>
        </p:txBody>
      </p:sp>
      <p:sp>
        <p:nvSpPr>
          <p:cNvPr id="22" name="Picture Placeholder 91">
            <a:extLst>
              <a:ext uri="{FF2B5EF4-FFF2-40B4-BE49-F238E27FC236}">
                <a16:creationId xmlns:a16="http://schemas.microsoft.com/office/drawing/2014/main" id="{02D2CE40-9732-D3AB-4F10-762299122CE1}"/>
              </a:ext>
            </a:extLst>
          </p:cNvPr>
          <p:cNvSpPr>
            <a:spLocks noGrp="1"/>
          </p:cNvSpPr>
          <p:nvPr>
            <p:ph type="pic" sz="quarter" idx="73" hasCustomPrompt="1"/>
          </p:nvPr>
        </p:nvSpPr>
        <p:spPr>
          <a:xfrm>
            <a:off x="3225799" y="628798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vl9pPr>
              <a:defRPr>
                <a:solidFill>
                  <a:schemeClr val="tx1"/>
                </a:solidFill>
              </a:defRPr>
            </a:lvl9pPr>
          </a:lstStyle>
          <a:p>
            <a:pPr lvl="8"/>
            <a:r>
              <a:rPr lang="en-GB"/>
              <a:t> </a:t>
            </a:r>
          </a:p>
        </p:txBody>
      </p:sp>
      <p:sp>
        <p:nvSpPr>
          <p:cNvPr id="23" name="Text Placeholder 26">
            <a:extLst>
              <a:ext uri="{FF2B5EF4-FFF2-40B4-BE49-F238E27FC236}">
                <a16:creationId xmlns:a16="http://schemas.microsoft.com/office/drawing/2014/main" id="{C4A7D748-90AF-308A-44E9-BE56492932EB}"/>
              </a:ext>
            </a:extLst>
          </p:cNvPr>
          <p:cNvSpPr>
            <a:spLocks noGrp="1"/>
          </p:cNvSpPr>
          <p:nvPr>
            <p:ph type="body" sz="quarter" idx="74" hasCustomPrompt="1"/>
          </p:nvPr>
        </p:nvSpPr>
        <p:spPr>
          <a:xfrm>
            <a:off x="3225800" y="111125"/>
            <a:ext cx="3776663" cy="1789113"/>
          </a:xfrm>
        </p:spPr>
        <p:txBody>
          <a:bodyPr/>
          <a:lstStyle>
            <a:lvl1pPr>
              <a:defRPr sz="11000">
                <a:solidFill>
                  <a:schemeClr val="tx2"/>
                </a:solidFill>
                <a:latin typeface="+mj-lt"/>
              </a:defRPr>
            </a:lvl1pPr>
          </a:lstStyle>
          <a:p>
            <a:pPr lvl="0"/>
            <a:r>
              <a:rPr lang="en-GB"/>
              <a:t>00</a:t>
            </a:r>
          </a:p>
        </p:txBody>
      </p:sp>
      <p:sp>
        <p:nvSpPr>
          <p:cNvPr id="26" name="Text Placeholder 26">
            <a:extLst>
              <a:ext uri="{FF2B5EF4-FFF2-40B4-BE49-F238E27FC236}">
                <a16:creationId xmlns:a16="http://schemas.microsoft.com/office/drawing/2014/main" id="{ED360C76-27A8-44D1-6730-F7FA8D1EC543}"/>
              </a:ext>
            </a:extLst>
          </p:cNvPr>
          <p:cNvSpPr>
            <a:spLocks noGrp="1"/>
          </p:cNvSpPr>
          <p:nvPr>
            <p:ph type="body" sz="quarter" idx="75" hasCustomPrompt="1"/>
          </p:nvPr>
        </p:nvSpPr>
        <p:spPr>
          <a:xfrm>
            <a:off x="3225800" y="2102616"/>
            <a:ext cx="3776663" cy="1789113"/>
          </a:xfrm>
        </p:spPr>
        <p:txBody>
          <a:bodyPr/>
          <a:lstStyle>
            <a:lvl1pPr>
              <a:defRPr sz="11000">
                <a:solidFill>
                  <a:schemeClr val="tx2"/>
                </a:solidFill>
                <a:latin typeface="+mj-lt"/>
              </a:defRPr>
            </a:lvl1pPr>
          </a:lstStyle>
          <a:p>
            <a:pPr lvl="0"/>
            <a:r>
              <a:rPr lang="en-GB"/>
              <a:t>00</a:t>
            </a:r>
          </a:p>
        </p:txBody>
      </p:sp>
      <p:sp>
        <p:nvSpPr>
          <p:cNvPr id="27" name="Text Placeholder 26">
            <a:extLst>
              <a:ext uri="{FF2B5EF4-FFF2-40B4-BE49-F238E27FC236}">
                <a16:creationId xmlns:a16="http://schemas.microsoft.com/office/drawing/2014/main" id="{28863499-99BA-9382-A790-8823B96ABCDE}"/>
              </a:ext>
            </a:extLst>
          </p:cNvPr>
          <p:cNvSpPr>
            <a:spLocks noGrp="1"/>
          </p:cNvSpPr>
          <p:nvPr>
            <p:ph type="body" sz="quarter" idx="76" hasCustomPrompt="1"/>
          </p:nvPr>
        </p:nvSpPr>
        <p:spPr>
          <a:xfrm>
            <a:off x="3225800" y="4106128"/>
            <a:ext cx="3776663" cy="1789113"/>
          </a:xfrm>
        </p:spPr>
        <p:txBody>
          <a:bodyPr/>
          <a:lstStyle>
            <a:lvl1pPr>
              <a:defRPr sz="11000">
                <a:solidFill>
                  <a:schemeClr val="tx2"/>
                </a:solidFill>
                <a:latin typeface="+mj-lt"/>
              </a:defRPr>
            </a:lvl1pPr>
          </a:lstStyle>
          <a:p>
            <a:pPr lvl="0"/>
            <a:r>
              <a:rPr lang="en-GB"/>
              <a:t>00</a:t>
            </a:r>
          </a:p>
        </p:txBody>
      </p:sp>
    </p:spTree>
    <p:extLst>
      <p:ext uri="{BB962C8B-B14F-4D97-AF65-F5344CB8AC3E}">
        <p14:creationId xmlns:p14="http://schemas.microsoft.com/office/powerpoint/2010/main" val="45169184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and Right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6F6140-34D9-F6B3-6BCD-3A50DD37FE45}"/>
              </a:ext>
            </a:extLst>
          </p:cNvPr>
          <p:cNvSpPr>
            <a:spLocks noGrp="1"/>
          </p:cNvSpPr>
          <p:nvPr>
            <p:ph type="title" hasCustomPrompt="1"/>
          </p:nvPr>
        </p:nvSpPr>
        <p:spPr>
          <a:xfrm>
            <a:off x="288303" y="262267"/>
            <a:ext cx="5733084" cy="468590"/>
          </a:xfrm>
        </p:spPr>
        <p:txBody>
          <a:bodyPr/>
          <a:lstStyle/>
          <a:p>
            <a:r>
              <a:rPr lang="en-GB"/>
              <a:t>Master title style</a:t>
            </a:r>
          </a:p>
        </p:txBody>
      </p:sp>
      <p:sp>
        <p:nvSpPr>
          <p:cNvPr id="7" name="Content Placeholder 6">
            <a:extLst>
              <a:ext uri="{FF2B5EF4-FFF2-40B4-BE49-F238E27FC236}">
                <a16:creationId xmlns:a16="http://schemas.microsoft.com/office/drawing/2014/main" id="{BA7EE611-EA9F-2CB5-2ACF-EF4D756FF28C}"/>
              </a:ext>
            </a:extLst>
          </p:cNvPr>
          <p:cNvSpPr>
            <a:spLocks noGrp="1"/>
          </p:cNvSpPr>
          <p:nvPr>
            <p:ph sz="quarter" idx="14"/>
          </p:nvPr>
        </p:nvSpPr>
        <p:spPr>
          <a:xfrm>
            <a:off x="6166800" y="270000"/>
            <a:ext cx="5737225" cy="6008358"/>
          </a:xfrm>
        </p:spPr>
        <p:txBody>
          <a:bodyPr/>
          <a:lstStyle>
            <a:lvl1pPr>
              <a:defRPr sz="1800"/>
            </a:lvl1pPr>
            <a:lvl2pPr>
              <a:defRPr sz="1800"/>
            </a:lvl2pPr>
            <a:lvl3pPr>
              <a:defRPr sz="1600"/>
            </a:lvl3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9" name="Text Placeholder 7">
            <a:extLst>
              <a:ext uri="{FF2B5EF4-FFF2-40B4-BE49-F238E27FC236}">
                <a16:creationId xmlns:a16="http://schemas.microsoft.com/office/drawing/2014/main" id="{9781BB63-AF6A-9F70-47D8-BF333C16188A}"/>
              </a:ext>
            </a:extLst>
          </p:cNvPr>
          <p:cNvSpPr>
            <a:spLocks noGrp="1"/>
          </p:cNvSpPr>
          <p:nvPr>
            <p:ph type="body" sz="quarter" idx="15"/>
          </p:nvPr>
        </p:nvSpPr>
        <p:spPr>
          <a:xfrm>
            <a:off x="288925" y="4416523"/>
            <a:ext cx="3778250" cy="1816002"/>
          </a:xfrm>
        </p:spPr>
        <p:txBody>
          <a:bodyPr/>
          <a:lstStyle/>
          <a:p>
            <a:pPr lvl="0"/>
            <a:r>
              <a:rPr lang="zh-CN" altLang="en-US"/>
              <a:t>单击此处编辑母版文本样式</a:t>
            </a:r>
          </a:p>
          <a:p>
            <a:pPr lvl="1"/>
            <a:r>
              <a:rPr lang="zh-CN" altLang="en-US"/>
              <a:t>二级</a:t>
            </a:r>
          </a:p>
          <a:p>
            <a:pPr lvl="2"/>
            <a:r>
              <a:rPr lang="zh-CN" altLang="en-US"/>
              <a:t>三级</a:t>
            </a:r>
          </a:p>
        </p:txBody>
      </p:sp>
      <p:sp>
        <p:nvSpPr>
          <p:cNvPr id="5" name="Footer Placeholder 4">
            <a:extLst>
              <a:ext uri="{FF2B5EF4-FFF2-40B4-BE49-F238E27FC236}">
                <a16:creationId xmlns:a16="http://schemas.microsoft.com/office/drawing/2014/main" id="{A9E0D3F3-D407-76CD-22B7-F52045970808}"/>
              </a:ext>
            </a:extLst>
          </p:cNvPr>
          <p:cNvSpPr>
            <a:spLocks noGrp="1"/>
          </p:cNvSpPr>
          <p:nvPr>
            <p:ph type="ftr" sz="quarter" idx="11"/>
          </p:nvPr>
        </p:nvSpPr>
        <p:spPr/>
        <p:txBody>
          <a:bodyPr/>
          <a:lstStyle/>
          <a:p>
            <a:pPr>
              <a:spcBef>
                <a:spcPts val="0"/>
              </a:spcBef>
              <a:spcAft>
                <a:spcPts val="300"/>
              </a:spcAft>
            </a:pPr>
            <a:r>
              <a:rPr lang="en-US" b="0" i="0">
                <a:effectLst/>
              </a:rPr>
              <a:t>Job Aid and Guidance Document still under review.</a:t>
            </a:r>
          </a:p>
        </p:txBody>
      </p:sp>
      <p:sp>
        <p:nvSpPr>
          <p:cNvPr id="6" name="Slide Number Placeholder 5">
            <a:extLst>
              <a:ext uri="{FF2B5EF4-FFF2-40B4-BE49-F238E27FC236}">
                <a16:creationId xmlns:a16="http://schemas.microsoft.com/office/drawing/2014/main" id="{3FB68AB9-3222-3CF5-BF4D-DB291E974D21}"/>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8" name="Subtitle 2">
            <a:extLst>
              <a:ext uri="{FF2B5EF4-FFF2-40B4-BE49-F238E27FC236}">
                <a16:creationId xmlns:a16="http://schemas.microsoft.com/office/drawing/2014/main" id="{7093E36D-AA36-08D5-DD80-6469123BEA1A}"/>
              </a:ext>
            </a:extLst>
          </p:cNvPr>
          <p:cNvSpPr>
            <a:spLocks noGrp="1"/>
          </p:cNvSpPr>
          <p:nvPr>
            <p:ph type="subTitle" idx="1" hasCustomPrompt="1"/>
          </p:nvPr>
        </p:nvSpPr>
        <p:spPr>
          <a:xfrm>
            <a:off x="288302" y="713620"/>
            <a:ext cx="5733083" cy="274691"/>
          </a:xfrm>
        </p:spPr>
        <p:txBody>
          <a:bodyPr wrap="square" anchor="t">
            <a:spAutoFit/>
          </a:bodyPr>
          <a:lstStyle>
            <a:lvl1pPr marL="0" indent="0" algn="l">
              <a:lnSpc>
                <a:spcPct val="110000"/>
              </a:lnSpc>
              <a:spcBef>
                <a:spcPts val="0"/>
              </a:spcBef>
              <a:spcAft>
                <a:spcPts val="0"/>
              </a:spcAft>
              <a:buNone/>
              <a:tabLst/>
              <a:defRPr lang="en-GB" sz="18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Subtitle goes here if required</a:t>
            </a:r>
          </a:p>
        </p:txBody>
      </p:sp>
    </p:spTree>
    <p:extLst>
      <p:ext uri="{BB962C8B-B14F-4D97-AF65-F5344CB8AC3E}">
        <p14:creationId xmlns:p14="http://schemas.microsoft.com/office/powerpoint/2010/main" val="94934569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标题和内容">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AC08568-CB34-FA3A-354B-5E34EE1B1FD2}"/>
              </a:ext>
            </a:extLst>
          </p:cNvPr>
          <p:cNvSpPr>
            <a:spLocks noGrp="1"/>
          </p:cNvSpPr>
          <p:nvPr>
            <p:ph type="title"/>
          </p:nvPr>
        </p:nvSpPr>
        <p:spPr>
          <a:xfrm>
            <a:off x="288303" y="262267"/>
            <a:ext cx="6713538" cy="457818"/>
          </a:xfrm>
        </p:spPr>
        <p:txBody>
          <a:bodyPr/>
          <a:lstStyle/>
          <a:p>
            <a:r>
              <a:rPr lang="zh-CN" altLang="en-US"/>
              <a:t>单击此处编辑母版标题样式</a:t>
            </a:r>
            <a:endParaRPr lang="en-GB"/>
          </a:p>
        </p:txBody>
      </p:sp>
      <p:sp>
        <p:nvSpPr>
          <p:cNvPr id="3" name="Content Placeholder 2">
            <a:extLst>
              <a:ext uri="{FF2B5EF4-FFF2-40B4-BE49-F238E27FC236}">
                <a16:creationId xmlns:a16="http://schemas.microsoft.com/office/drawing/2014/main" id="{980450DE-2BB5-2901-3769-3BBFA07946C8}"/>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7" name="Text Placeholder 7">
            <a:extLst>
              <a:ext uri="{FF2B5EF4-FFF2-40B4-BE49-F238E27FC236}">
                <a16:creationId xmlns:a16="http://schemas.microsoft.com/office/drawing/2014/main" id="{65B587F7-0E47-48EC-A5BC-5623F62D615C}"/>
              </a:ext>
            </a:extLst>
          </p:cNvPr>
          <p:cNvSpPr>
            <a:spLocks noGrp="1"/>
          </p:cNvSpPr>
          <p:nvPr>
            <p:ph type="body" sz="quarter" idx="14"/>
          </p:nvPr>
        </p:nvSpPr>
        <p:spPr>
          <a:xfrm>
            <a:off x="8124825" y="295200"/>
            <a:ext cx="3778250" cy="876375"/>
          </a:xfrm>
        </p:spPr>
        <p:txBody>
          <a:bodyPr/>
          <a:lstStyle>
            <a:lvl1pPr>
              <a:defRPr sz="1400"/>
            </a:lvl1pPr>
            <a:lvl2pPr>
              <a:defRPr sz="1400"/>
            </a:lvl2pPr>
            <a:lvl3pPr>
              <a:defRPr sz="1200"/>
            </a:lvl3pPr>
          </a:lstStyle>
          <a:p>
            <a:pPr lvl="0"/>
            <a:r>
              <a:rPr lang="zh-CN" altLang="en-US"/>
              <a:t>单击此处编辑母版文本样式</a:t>
            </a:r>
          </a:p>
          <a:p>
            <a:pPr lvl="1"/>
            <a:r>
              <a:rPr lang="zh-CN" altLang="en-US"/>
              <a:t>二级</a:t>
            </a:r>
          </a:p>
          <a:p>
            <a:pPr lvl="2"/>
            <a:r>
              <a:rPr lang="zh-CN" altLang="en-US"/>
              <a:t>三级</a:t>
            </a:r>
          </a:p>
        </p:txBody>
      </p:sp>
      <p:sp>
        <p:nvSpPr>
          <p:cNvPr id="5" name="Footer Placeholder 4">
            <a:extLst>
              <a:ext uri="{FF2B5EF4-FFF2-40B4-BE49-F238E27FC236}">
                <a16:creationId xmlns:a16="http://schemas.microsoft.com/office/drawing/2014/main" id="{A9E0D3F3-D407-76CD-22B7-F52045970808}"/>
              </a:ext>
            </a:extLst>
          </p:cNvPr>
          <p:cNvSpPr>
            <a:spLocks noGrp="1"/>
          </p:cNvSpPr>
          <p:nvPr>
            <p:ph type="ftr" sz="quarter" idx="11"/>
          </p:nvPr>
        </p:nvSpPr>
        <p:spPr/>
        <p:txBody>
          <a:bodyPr/>
          <a:lstStyle/>
          <a:p>
            <a:pPr>
              <a:spcBef>
                <a:spcPts val="0"/>
              </a:spcBef>
              <a:spcAft>
                <a:spcPts val="300"/>
              </a:spcAft>
            </a:pPr>
            <a:r>
              <a:rPr lang="en-US" b="0" i="0">
                <a:effectLst/>
              </a:rPr>
              <a:t>Job Aid and Guidance Document still under review.</a:t>
            </a:r>
          </a:p>
        </p:txBody>
      </p:sp>
      <p:sp>
        <p:nvSpPr>
          <p:cNvPr id="6" name="Slide Number Placeholder 5">
            <a:extLst>
              <a:ext uri="{FF2B5EF4-FFF2-40B4-BE49-F238E27FC236}">
                <a16:creationId xmlns:a16="http://schemas.microsoft.com/office/drawing/2014/main" id="{3FB68AB9-3222-3CF5-BF4D-DB291E974D21}"/>
              </a:ext>
            </a:extLst>
          </p:cNvPr>
          <p:cNvSpPr>
            <a:spLocks noGrp="1"/>
          </p:cNvSpPr>
          <p:nvPr>
            <p:ph type="sldNum" sz="quarter" idx="12"/>
          </p:nvPr>
        </p:nvSpPr>
        <p:spPr/>
        <p:txBody>
          <a:bodyPr/>
          <a:lstStyle/>
          <a:p>
            <a:fld id="{AEC8D767-5246-2244-A4A3-B8AFB218393C}" type="slidenum">
              <a:rPr lang="en-GB" smtClean="0"/>
              <a:pPr/>
              <a:t>‹#›</a:t>
            </a:fld>
            <a:endParaRPr lang="en-GB"/>
          </a:p>
        </p:txBody>
      </p:sp>
      <p:sp>
        <p:nvSpPr>
          <p:cNvPr id="4" name="Subtitle 2">
            <a:extLst>
              <a:ext uri="{FF2B5EF4-FFF2-40B4-BE49-F238E27FC236}">
                <a16:creationId xmlns:a16="http://schemas.microsoft.com/office/drawing/2014/main" id="{443DEE11-107C-6B66-46B9-BE5E88B65B71}"/>
              </a:ext>
            </a:extLst>
          </p:cNvPr>
          <p:cNvSpPr>
            <a:spLocks noGrp="1"/>
          </p:cNvSpPr>
          <p:nvPr>
            <p:ph type="subTitle" idx="15" hasCustomPrompt="1"/>
          </p:nvPr>
        </p:nvSpPr>
        <p:spPr>
          <a:xfrm>
            <a:off x="288302" y="713620"/>
            <a:ext cx="5733083" cy="292965"/>
          </a:xfrm>
        </p:spPr>
        <p:txBody>
          <a:bodyPr wrap="square" anchor="t">
            <a:spAutoFit/>
          </a:bodyPr>
          <a:lstStyle>
            <a:lvl1pPr marL="0" indent="0" algn="l">
              <a:lnSpc>
                <a:spcPct val="110000"/>
              </a:lnSpc>
              <a:spcBef>
                <a:spcPts val="0"/>
              </a:spcBef>
              <a:spcAft>
                <a:spcPts val="0"/>
              </a:spcAft>
              <a:buNone/>
              <a:tabLst/>
              <a:defRPr lang="en-GB" sz="18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Subtitle goes here if required</a:t>
            </a:r>
          </a:p>
        </p:txBody>
      </p:sp>
    </p:spTree>
    <p:extLst>
      <p:ext uri="{BB962C8B-B14F-4D97-AF65-F5344CB8AC3E}">
        <p14:creationId xmlns:p14="http://schemas.microsoft.com/office/powerpoint/2010/main" val="224507228"/>
      </p:ext>
    </p:extLst>
  </p:cSld>
  <p:clrMapOvr>
    <a:masterClrMapping/>
  </p:clrMapOvr>
  <p:hf hdr="0" dt="0"/>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两栏内容">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4D7FB2-B0CA-4C96-0E9E-CB4BA9057AF8}"/>
              </a:ext>
            </a:extLst>
          </p:cNvPr>
          <p:cNvSpPr>
            <a:spLocks noGrp="1"/>
          </p:cNvSpPr>
          <p:nvPr>
            <p:ph type="title"/>
          </p:nvPr>
        </p:nvSpPr>
        <p:spPr>
          <a:xfrm>
            <a:off x="288303" y="262267"/>
            <a:ext cx="6713538" cy="457818"/>
          </a:xfrm>
        </p:spPr>
        <p:txBody>
          <a:bodyPr/>
          <a:lstStyle/>
          <a:p>
            <a:r>
              <a:rPr lang="zh-CN" altLang="en-US"/>
              <a:t>单击此处编辑母版标题样式</a:t>
            </a:r>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822449"/>
            <a:ext cx="5732003" cy="444817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6165851" y="1822450"/>
            <a:ext cx="5734049" cy="4448174"/>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10" name="Text Placeholder 7">
            <a:extLst>
              <a:ext uri="{FF2B5EF4-FFF2-40B4-BE49-F238E27FC236}">
                <a16:creationId xmlns:a16="http://schemas.microsoft.com/office/drawing/2014/main" id="{F80BC13B-177D-A0D3-7A97-8F3C3A8E7391}"/>
              </a:ext>
            </a:extLst>
          </p:cNvPr>
          <p:cNvSpPr>
            <a:spLocks noGrp="1"/>
          </p:cNvSpPr>
          <p:nvPr>
            <p:ph type="body" sz="quarter" idx="14"/>
          </p:nvPr>
        </p:nvSpPr>
        <p:spPr>
          <a:xfrm>
            <a:off x="8124825" y="295200"/>
            <a:ext cx="3778250" cy="876375"/>
          </a:xfrm>
        </p:spPr>
        <p:txBody>
          <a:bodyPr/>
          <a:lstStyle>
            <a:lvl1pPr>
              <a:defRPr sz="1400"/>
            </a:lvl1pPr>
            <a:lvl2pPr>
              <a:defRPr sz="1400"/>
            </a:lvl2pPr>
            <a:lvl3pPr>
              <a:defRPr sz="1200"/>
            </a:lvl3pPr>
          </a:lstStyle>
          <a:p>
            <a:pPr lvl="0"/>
            <a:r>
              <a:rPr lang="zh-CN" altLang="en-US"/>
              <a:t>单击此处编辑母版文本样式</a:t>
            </a:r>
          </a:p>
          <a:p>
            <a:pPr lvl="1"/>
            <a:r>
              <a:rPr lang="zh-CN" altLang="en-US"/>
              <a:t>二级</a:t>
            </a:r>
          </a:p>
          <a:p>
            <a:pPr lvl="2"/>
            <a:r>
              <a:rPr lang="zh-CN" altLang="en-US"/>
              <a:t>三级</a:t>
            </a:r>
          </a:p>
        </p:txBody>
      </p:sp>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pPr>
              <a:spcBef>
                <a:spcPts val="0"/>
              </a:spcBef>
              <a:spcAft>
                <a:spcPts val="300"/>
              </a:spcAft>
            </a:pPr>
            <a:r>
              <a:rPr lang="en-US" b="0" i="0">
                <a:effectLst/>
              </a:rPr>
              <a:t>Job Aid and Guidance Document still under review.</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pPr/>
              <a:t>‹#›</a:t>
            </a:fld>
            <a:endParaRPr lang="en-GB"/>
          </a:p>
        </p:txBody>
      </p:sp>
      <p:sp>
        <p:nvSpPr>
          <p:cNvPr id="2" name="Subtitle 2">
            <a:extLst>
              <a:ext uri="{FF2B5EF4-FFF2-40B4-BE49-F238E27FC236}">
                <a16:creationId xmlns:a16="http://schemas.microsoft.com/office/drawing/2014/main" id="{56361D27-85D4-45EB-31D3-6D805D2E106E}"/>
              </a:ext>
            </a:extLst>
          </p:cNvPr>
          <p:cNvSpPr>
            <a:spLocks noGrp="1"/>
          </p:cNvSpPr>
          <p:nvPr>
            <p:ph type="subTitle" idx="15" hasCustomPrompt="1"/>
          </p:nvPr>
        </p:nvSpPr>
        <p:spPr>
          <a:xfrm>
            <a:off x="288302" y="713620"/>
            <a:ext cx="6713538"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3972798240"/>
      </p:ext>
    </p:extLst>
  </p:cSld>
  <p:clrMapOvr>
    <a:masterClrMapping/>
  </p:clrMapOvr>
  <p:hf hdr="0" dt="0"/>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BC8828CA-7D5C-3E61-D35B-06A376A834B0}"/>
              </a:ext>
            </a:extLst>
          </p:cNvPr>
          <p:cNvSpPr>
            <a:spLocks noGrp="1"/>
          </p:cNvSpPr>
          <p:nvPr>
            <p:ph type="title"/>
          </p:nvPr>
        </p:nvSpPr>
        <p:spPr>
          <a:xfrm>
            <a:off x="288303" y="262267"/>
            <a:ext cx="6713538" cy="457818"/>
          </a:xfrm>
        </p:spPr>
        <p:txBody>
          <a:bodyPr/>
          <a:lstStyle/>
          <a:p>
            <a:r>
              <a:rPr lang="zh-CN" altLang="en-US"/>
              <a:t>单击此处编辑母版标题样式</a:t>
            </a:r>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822451"/>
            <a:ext cx="3773029" cy="4448174"/>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4208923" y="1822451"/>
            <a:ext cx="3773028" cy="4448174"/>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3" name="Content Placeholder 2">
            <a:extLst>
              <a:ext uri="{FF2B5EF4-FFF2-40B4-BE49-F238E27FC236}">
                <a16:creationId xmlns:a16="http://schemas.microsoft.com/office/drawing/2014/main" id="{2D07DFA4-9148-416B-352F-29E5676A6A00}"/>
              </a:ext>
            </a:extLst>
          </p:cNvPr>
          <p:cNvSpPr>
            <a:spLocks noGrp="1"/>
          </p:cNvSpPr>
          <p:nvPr>
            <p:ph idx="14"/>
          </p:nvPr>
        </p:nvSpPr>
        <p:spPr>
          <a:xfrm>
            <a:off x="8129587" y="1822451"/>
            <a:ext cx="3773028" cy="4448174"/>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pPr>
              <a:spcBef>
                <a:spcPts val="0"/>
              </a:spcBef>
              <a:spcAft>
                <a:spcPts val="300"/>
              </a:spcAft>
            </a:pPr>
            <a:r>
              <a:rPr lang="en-US" b="0" i="0">
                <a:effectLst/>
              </a:rPr>
              <a:t>Job Aid and Guidance Document still under review.</a:t>
            </a:r>
          </a:p>
        </p:txBody>
      </p:sp>
      <p:sp>
        <p:nvSpPr>
          <p:cNvPr id="4" name="Text Placeholder 7">
            <a:extLst>
              <a:ext uri="{FF2B5EF4-FFF2-40B4-BE49-F238E27FC236}">
                <a16:creationId xmlns:a16="http://schemas.microsoft.com/office/drawing/2014/main" id="{66A26018-CD47-11D0-838D-A1A2D71C4DE9}"/>
              </a:ext>
            </a:extLst>
          </p:cNvPr>
          <p:cNvSpPr>
            <a:spLocks noGrp="1"/>
          </p:cNvSpPr>
          <p:nvPr>
            <p:ph type="body" sz="quarter" idx="15"/>
          </p:nvPr>
        </p:nvSpPr>
        <p:spPr>
          <a:xfrm>
            <a:off x="8125200" y="295200"/>
            <a:ext cx="3773488" cy="876375"/>
          </a:xfrm>
        </p:spPr>
        <p:txBody>
          <a:bodyPr/>
          <a:lstStyle>
            <a:lvl1pPr>
              <a:defRPr sz="1400"/>
            </a:lvl1pPr>
            <a:lvl2pPr>
              <a:defRPr sz="1400"/>
            </a:lvl2pPr>
            <a:lvl3pPr>
              <a:defRPr sz="1200"/>
            </a:lvl3pPr>
          </a:lstStyle>
          <a:p>
            <a:pPr lvl="0"/>
            <a:r>
              <a:rPr lang="zh-CN" altLang="en-US"/>
              <a:t>单击此处编辑母版文本样式</a:t>
            </a:r>
          </a:p>
          <a:p>
            <a:pPr lvl="1"/>
            <a:r>
              <a:rPr lang="zh-CN" altLang="en-US"/>
              <a:t>二级</a:t>
            </a:r>
          </a:p>
          <a:p>
            <a:pPr lvl="2"/>
            <a:r>
              <a:rPr lang="zh-CN" altLang="en-US"/>
              <a:t>三级</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5" name="Subtitle 2">
            <a:extLst>
              <a:ext uri="{FF2B5EF4-FFF2-40B4-BE49-F238E27FC236}">
                <a16:creationId xmlns:a16="http://schemas.microsoft.com/office/drawing/2014/main" id="{D960C6BF-F9C7-01C8-7601-5B209FAE017D}"/>
              </a:ext>
            </a:extLst>
          </p:cNvPr>
          <p:cNvSpPr>
            <a:spLocks noGrp="1"/>
          </p:cNvSpPr>
          <p:nvPr>
            <p:ph type="subTitle" idx="16" hasCustomPrompt="1"/>
          </p:nvPr>
        </p:nvSpPr>
        <p:spPr>
          <a:xfrm>
            <a:off x="288302" y="713620"/>
            <a:ext cx="6713538"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407838205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hree Images and Text">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FD914B4A-06B9-EB7A-743E-14A6560485EF}"/>
              </a:ext>
            </a:extLst>
          </p:cNvPr>
          <p:cNvSpPr>
            <a:spLocks noGrp="1"/>
          </p:cNvSpPr>
          <p:nvPr>
            <p:ph type="title"/>
          </p:nvPr>
        </p:nvSpPr>
        <p:spPr>
          <a:xfrm>
            <a:off x="288303" y="262267"/>
            <a:ext cx="6713538" cy="457818"/>
          </a:xfrm>
        </p:spPr>
        <p:txBody>
          <a:bodyPr/>
          <a:lstStyle/>
          <a:p>
            <a:r>
              <a:rPr lang="zh-CN" altLang="en-US"/>
              <a:t>单击此处编辑母版标题样式</a:t>
            </a:r>
            <a:endParaRPr lang="en-GB"/>
          </a:p>
        </p:txBody>
      </p:sp>
      <p:sp>
        <p:nvSpPr>
          <p:cNvPr id="4" name="Picture Placeholder 3">
            <a:extLst>
              <a:ext uri="{FF2B5EF4-FFF2-40B4-BE49-F238E27FC236}">
                <a16:creationId xmlns:a16="http://schemas.microsoft.com/office/drawing/2014/main" id="{A2903A13-6903-3CAB-953B-86997724B440}"/>
              </a:ext>
            </a:extLst>
          </p:cNvPr>
          <p:cNvSpPr>
            <a:spLocks noGrp="1"/>
          </p:cNvSpPr>
          <p:nvPr>
            <p:ph type="pic" sz="quarter" idx="15" hasCustomPrompt="1"/>
          </p:nvPr>
        </p:nvSpPr>
        <p:spPr>
          <a:xfrm>
            <a:off x="292099" y="1306514"/>
            <a:ext cx="3770314" cy="1908174"/>
          </a:xfrm>
          <a:solidFill>
            <a:srgbClr val="F6F3F2"/>
          </a:solidFill>
        </p:spPr>
        <p:txBody>
          <a:bodyPr vert="horz" lIns="0" tIns="0" rIns="0" bIns="0" rtlCol="0">
            <a:noAutofit/>
          </a:bodyPr>
          <a:lstStyle>
            <a:lvl1pPr>
              <a:defRPr lang="en-GB" dirty="0">
                <a:solidFill>
                  <a:schemeClr val="tx1"/>
                </a:solidFill>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0" name="Picture Placeholder 3">
            <a:extLst>
              <a:ext uri="{FF2B5EF4-FFF2-40B4-BE49-F238E27FC236}">
                <a16:creationId xmlns:a16="http://schemas.microsoft.com/office/drawing/2014/main" id="{1B5E5492-00A8-B509-4464-956D8959E92C}"/>
              </a:ext>
            </a:extLst>
          </p:cNvPr>
          <p:cNvSpPr>
            <a:spLocks noGrp="1"/>
          </p:cNvSpPr>
          <p:nvPr>
            <p:ph type="pic" sz="quarter" idx="16" hasCustomPrompt="1"/>
          </p:nvPr>
        </p:nvSpPr>
        <p:spPr>
          <a:xfrm>
            <a:off x="4206876" y="1306514"/>
            <a:ext cx="3775076" cy="1908174"/>
          </a:xfrm>
          <a:solidFill>
            <a:srgbClr val="F6F3F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1" name="Picture Placeholder 3">
            <a:extLst>
              <a:ext uri="{FF2B5EF4-FFF2-40B4-BE49-F238E27FC236}">
                <a16:creationId xmlns:a16="http://schemas.microsoft.com/office/drawing/2014/main" id="{5230A832-8B14-0097-7902-DB48A4A889E3}"/>
              </a:ext>
            </a:extLst>
          </p:cNvPr>
          <p:cNvSpPr>
            <a:spLocks noGrp="1"/>
          </p:cNvSpPr>
          <p:nvPr>
            <p:ph type="pic" sz="quarter" idx="17" hasCustomPrompt="1"/>
          </p:nvPr>
        </p:nvSpPr>
        <p:spPr>
          <a:xfrm>
            <a:off x="8124824" y="1306514"/>
            <a:ext cx="3775075" cy="1908174"/>
          </a:xfrm>
          <a:solidFill>
            <a:srgbClr val="F6F3F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3" name="Text Placeholder 7">
            <a:extLst>
              <a:ext uri="{FF2B5EF4-FFF2-40B4-BE49-F238E27FC236}">
                <a16:creationId xmlns:a16="http://schemas.microsoft.com/office/drawing/2014/main" id="{8C00D127-E34B-E7AD-7F27-D3CB55135083}"/>
              </a:ext>
            </a:extLst>
          </p:cNvPr>
          <p:cNvSpPr>
            <a:spLocks noGrp="1"/>
          </p:cNvSpPr>
          <p:nvPr>
            <p:ph type="body" sz="quarter" idx="18"/>
          </p:nvPr>
        </p:nvSpPr>
        <p:spPr>
          <a:xfrm>
            <a:off x="8124205" y="295200"/>
            <a:ext cx="3778870" cy="876375"/>
          </a:xfrm>
        </p:spPr>
        <p:txBody>
          <a:bodyPr/>
          <a:lstStyle>
            <a:lvl1pPr>
              <a:defRPr sz="1400"/>
            </a:lvl1pPr>
            <a:lvl2pPr>
              <a:defRPr sz="1400"/>
            </a:lvl2pPr>
            <a:lvl3pPr>
              <a:defRPr sz="1200"/>
            </a:lvl3pPr>
          </a:lstStyle>
          <a:p>
            <a:pPr lvl="0"/>
            <a:r>
              <a:rPr lang="zh-CN" altLang="en-US"/>
              <a:t>单击此处编辑母版文本样式</a:t>
            </a:r>
          </a:p>
          <a:p>
            <a:pPr lvl="1"/>
            <a:r>
              <a:rPr lang="zh-CN" altLang="en-US"/>
              <a:t>二级</a:t>
            </a:r>
          </a:p>
          <a:p>
            <a:pPr lvl="2"/>
            <a:r>
              <a:rPr lang="zh-CN" altLang="en-US"/>
              <a:t>三级</a:t>
            </a:r>
          </a:p>
        </p:txBody>
      </p:sp>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pPr>
              <a:spcBef>
                <a:spcPts val="0"/>
              </a:spcBef>
              <a:spcAft>
                <a:spcPts val="300"/>
              </a:spcAft>
            </a:pPr>
            <a:r>
              <a:rPr lang="en-US" b="0" i="0">
                <a:effectLst/>
              </a:rPr>
              <a:t>Job Aid and Guidance Document still under review.</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2" name="Subtitle 2">
            <a:extLst>
              <a:ext uri="{FF2B5EF4-FFF2-40B4-BE49-F238E27FC236}">
                <a16:creationId xmlns:a16="http://schemas.microsoft.com/office/drawing/2014/main" id="{A957F58C-3461-45A3-5C7B-FEC0AE9787AA}"/>
              </a:ext>
            </a:extLst>
          </p:cNvPr>
          <p:cNvSpPr>
            <a:spLocks noGrp="1"/>
          </p:cNvSpPr>
          <p:nvPr>
            <p:ph type="subTitle" idx="19" hasCustomPrompt="1"/>
          </p:nvPr>
        </p:nvSpPr>
        <p:spPr>
          <a:xfrm>
            <a:off x="288302" y="713620"/>
            <a:ext cx="6713538"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
        <p:nvSpPr>
          <p:cNvPr id="12" name="Text Placeholder 11">
            <a:extLst>
              <a:ext uri="{FF2B5EF4-FFF2-40B4-BE49-F238E27FC236}">
                <a16:creationId xmlns:a16="http://schemas.microsoft.com/office/drawing/2014/main" id="{C0E54879-16D3-D32C-7096-C2022A52D2DF}"/>
              </a:ext>
            </a:extLst>
          </p:cNvPr>
          <p:cNvSpPr>
            <a:spLocks noGrp="1"/>
          </p:cNvSpPr>
          <p:nvPr>
            <p:ph type="body" sz="quarter" idx="20"/>
          </p:nvPr>
        </p:nvSpPr>
        <p:spPr>
          <a:xfrm>
            <a:off x="288925" y="3357563"/>
            <a:ext cx="3769200" cy="2919412"/>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15" name="Text Placeholder 11">
            <a:extLst>
              <a:ext uri="{FF2B5EF4-FFF2-40B4-BE49-F238E27FC236}">
                <a16:creationId xmlns:a16="http://schemas.microsoft.com/office/drawing/2014/main" id="{111B2AEB-EC1B-D6B6-2A0C-C42A73F419DD}"/>
              </a:ext>
            </a:extLst>
          </p:cNvPr>
          <p:cNvSpPr>
            <a:spLocks noGrp="1"/>
          </p:cNvSpPr>
          <p:nvPr>
            <p:ph type="body" sz="quarter" idx="21"/>
          </p:nvPr>
        </p:nvSpPr>
        <p:spPr>
          <a:xfrm>
            <a:off x="4206876" y="3357563"/>
            <a:ext cx="3776400" cy="2919412"/>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16" name="Text Placeholder 11">
            <a:extLst>
              <a:ext uri="{FF2B5EF4-FFF2-40B4-BE49-F238E27FC236}">
                <a16:creationId xmlns:a16="http://schemas.microsoft.com/office/drawing/2014/main" id="{604DF7D6-F323-CF70-9E5E-634416CD4FA3}"/>
              </a:ext>
            </a:extLst>
          </p:cNvPr>
          <p:cNvSpPr>
            <a:spLocks noGrp="1"/>
          </p:cNvSpPr>
          <p:nvPr>
            <p:ph type="body" sz="quarter" idx="22"/>
          </p:nvPr>
        </p:nvSpPr>
        <p:spPr>
          <a:xfrm>
            <a:off x="8124824" y="3357563"/>
            <a:ext cx="3776400" cy="2919412"/>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Tree>
    <p:extLst>
      <p:ext uri="{BB962C8B-B14F-4D97-AF65-F5344CB8AC3E}">
        <p14:creationId xmlns:p14="http://schemas.microsoft.com/office/powerpoint/2010/main" val="280437382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F7510D54-8AF6-FB56-756F-08A956F574D9}"/>
              </a:ext>
            </a:extLst>
          </p:cNvPr>
          <p:cNvSpPr>
            <a:spLocks noGrp="1"/>
          </p:cNvSpPr>
          <p:nvPr>
            <p:ph type="title"/>
          </p:nvPr>
        </p:nvSpPr>
        <p:spPr>
          <a:xfrm>
            <a:off x="288303" y="262267"/>
            <a:ext cx="6713538" cy="457818"/>
          </a:xfrm>
        </p:spPr>
        <p:txBody>
          <a:bodyPr/>
          <a:lstStyle/>
          <a:p>
            <a:r>
              <a:rPr lang="zh-CN" altLang="en-US"/>
              <a:t>单击此处编辑母版标题样式</a:t>
            </a:r>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822449"/>
            <a:ext cx="2793541" cy="444817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6165853" y="1822450"/>
            <a:ext cx="2795586" cy="4448174"/>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3" name="Content Placeholder 2">
            <a:extLst>
              <a:ext uri="{FF2B5EF4-FFF2-40B4-BE49-F238E27FC236}">
                <a16:creationId xmlns:a16="http://schemas.microsoft.com/office/drawing/2014/main" id="{73E966BC-48D6-0237-3D83-9F8CB77DC975}"/>
              </a:ext>
            </a:extLst>
          </p:cNvPr>
          <p:cNvSpPr>
            <a:spLocks noGrp="1"/>
          </p:cNvSpPr>
          <p:nvPr>
            <p:ph idx="14"/>
          </p:nvPr>
        </p:nvSpPr>
        <p:spPr>
          <a:xfrm>
            <a:off x="3225801" y="1822450"/>
            <a:ext cx="2793542" cy="4448174"/>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4" name="Content Placeholder 2">
            <a:extLst>
              <a:ext uri="{FF2B5EF4-FFF2-40B4-BE49-F238E27FC236}">
                <a16:creationId xmlns:a16="http://schemas.microsoft.com/office/drawing/2014/main" id="{48B10B95-D320-4FA6-98CE-883417C5DC22}"/>
              </a:ext>
            </a:extLst>
          </p:cNvPr>
          <p:cNvSpPr>
            <a:spLocks noGrp="1"/>
          </p:cNvSpPr>
          <p:nvPr>
            <p:ph idx="15"/>
          </p:nvPr>
        </p:nvSpPr>
        <p:spPr>
          <a:xfrm>
            <a:off x="9104313" y="1822450"/>
            <a:ext cx="2795587" cy="4448174"/>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5" name="Text Placeholder 7">
            <a:extLst>
              <a:ext uri="{FF2B5EF4-FFF2-40B4-BE49-F238E27FC236}">
                <a16:creationId xmlns:a16="http://schemas.microsoft.com/office/drawing/2014/main" id="{E3C7D5F1-8B5D-5312-7A0B-9754F64800D3}"/>
              </a:ext>
            </a:extLst>
          </p:cNvPr>
          <p:cNvSpPr>
            <a:spLocks noGrp="1"/>
          </p:cNvSpPr>
          <p:nvPr>
            <p:ph type="body" sz="quarter" idx="16"/>
          </p:nvPr>
        </p:nvSpPr>
        <p:spPr>
          <a:xfrm>
            <a:off x="8124205" y="295200"/>
            <a:ext cx="3778870" cy="876375"/>
          </a:xfrm>
        </p:spPr>
        <p:txBody>
          <a:bodyPr/>
          <a:lstStyle>
            <a:lvl1pPr>
              <a:defRPr sz="1400"/>
            </a:lvl1pPr>
            <a:lvl2pPr>
              <a:defRPr sz="1400"/>
            </a:lvl2pPr>
            <a:lvl3pPr>
              <a:defRPr sz="1200"/>
            </a:lvl3pPr>
          </a:lstStyle>
          <a:p>
            <a:pPr lvl="0"/>
            <a:r>
              <a:rPr lang="zh-CN" altLang="en-US"/>
              <a:t>单击此处编辑母版文本样式</a:t>
            </a:r>
          </a:p>
          <a:p>
            <a:pPr lvl="1"/>
            <a:r>
              <a:rPr lang="zh-CN" altLang="en-US"/>
              <a:t>二级</a:t>
            </a:r>
          </a:p>
          <a:p>
            <a:pPr lvl="2"/>
            <a:r>
              <a:rPr lang="zh-CN" altLang="en-US"/>
              <a:t>三级</a:t>
            </a:r>
          </a:p>
        </p:txBody>
      </p:sp>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pPr>
              <a:spcBef>
                <a:spcPts val="0"/>
              </a:spcBef>
              <a:spcAft>
                <a:spcPts val="300"/>
              </a:spcAft>
            </a:pPr>
            <a:r>
              <a:rPr lang="en-US" b="0" i="0">
                <a:effectLst/>
              </a:rPr>
              <a:t>Job Aid and Guidance Document still under review.</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2" name="Subtitle 2">
            <a:extLst>
              <a:ext uri="{FF2B5EF4-FFF2-40B4-BE49-F238E27FC236}">
                <a16:creationId xmlns:a16="http://schemas.microsoft.com/office/drawing/2014/main" id="{722B44CB-D9B7-ACB7-EC09-74A55C85B1AA}"/>
              </a:ext>
            </a:extLst>
          </p:cNvPr>
          <p:cNvSpPr>
            <a:spLocks noGrp="1"/>
          </p:cNvSpPr>
          <p:nvPr>
            <p:ph type="subTitle" idx="17" hasCustomPrompt="1"/>
          </p:nvPr>
        </p:nvSpPr>
        <p:spPr>
          <a:xfrm>
            <a:off x="288302" y="713620"/>
            <a:ext cx="6713538"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1265060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Four Content with Image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5EFD4EAF-3D60-DC5D-9020-CF7FB8FB51D2}"/>
              </a:ext>
            </a:extLst>
          </p:cNvPr>
          <p:cNvSpPr>
            <a:spLocks noGrp="1"/>
          </p:cNvSpPr>
          <p:nvPr>
            <p:ph type="title"/>
          </p:nvPr>
        </p:nvSpPr>
        <p:spPr>
          <a:xfrm>
            <a:off x="288303" y="262267"/>
            <a:ext cx="6713538" cy="457818"/>
          </a:xfrm>
        </p:spPr>
        <p:txBody>
          <a:bodyPr/>
          <a:lstStyle/>
          <a:p>
            <a:r>
              <a:rPr lang="zh-CN" altLang="en-US"/>
              <a:t>单击此处编辑母版标题样式</a:t>
            </a:r>
            <a:endParaRPr lang="en-GB"/>
          </a:p>
        </p:txBody>
      </p:sp>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pPr>
              <a:spcBef>
                <a:spcPts val="0"/>
              </a:spcBef>
              <a:spcAft>
                <a:spcPts val="300"/>
              </a:spcAft>
            </a:pPr>
            <a:r>
              <a:rPr lang="en-US" b="0" i="0">
                <a:effectLst/>
              </a:rPr>
              <a:t>Job Aid and Guidance Document still under review.</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10" name="Picture Placeholder 3">
            <a:extLst>
              <a:ext uri="{FF2B5EF4-FFF2-40B4-BE49-F238E27FC236}">
                <a16:creationId xmlns:a16="http://schemas.microsoft.com/office/drawing/2014/main" id="{4E9C5E07-6992-3F19-1B3D-971FA4CAA6E9}"/>
              </a:ext>
            </a:extLst>
          </p:cNvPr>
          <p:cNvSpPr>
            <a:spLocks noGrp="1"/>
          </p:cNvSpPr>
          <p:nvPr>
            <p:ph type="pic" sz="quarter" idx="16" hasCustomPrompt="1"/>
          </p:nvPr>
        </p:nvSpPr>
        <p:spPr>
          <a:xfrm>
            <a:off x="292100" y="1306514"/>
            <a:ext cx="2790825" cy="1908174"/>
          </a:xfrm>
          <a:solidFill>
            <a:srgbClr val="F6F3F2"/>
          </a:solidFill>
        </p:spPr>
        <p:txBody>
          <a:bodyPr vert="horz" lIns="0" tIns="0" rIns="0" bIns="0" rtlCol="0">
            <a:noAutofit/>
          </a:bodyPr>
          <a:lstStyle>
            <a:lvl1pPr>
              <a:defRPr lang="en-GB">
                <a:solidFill>
                  <a:schemeClr val="tx1"/>
                </a:solidFill>
                <a:latin typeface="+mn-lt"/>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1" name="Picture Placeholder 3">
            <a:extLst>
              <a:ext uri="{FF2B5EF4-FFF2-40B4-BE49-F238E27FC236}">
                <a16:creationId xmlns:a16="http://schemas.microsoft.com/office/drawing/2014/main" id="{1DFC9CD2-F9F0-5542-03DE-0F1FE57839DE}"/>
              </a:ext>
            </a:extLst>
          </p:cNvPr>
          <p:cNvSpPr>
            <a:spLocks noGrp="1"/>
          </p:cNvSpPr>
          <p:nvPr>
            <p:ph type="pic" sz="quarter" idx="17" hasCustomPrompt="1"/>
          </p:nvPr>
        </p:nvSpPr>
        <p:spPr>
          <a:xfrm>
            <a:off x="3225800" y="1306515"/>
            <a:ext cx="2795588" cy="1906586"/>
          </a:xfrm>
          <a:solidFill>
            <a:srgbClr val="F6F3F2"/>
          </a:solidFill>
        </p:spPr>
        <p:txBody>
          <a:bodyPr vert="horz" lIns="0" tIns="0" rIns="0" bIns="0" rtlCol="0">
            <a:noAutofit/>
          </a:bodyPr>
          <a:lstStyle>
            <a:lvl1pPr>
              <a:defRPr lang="en-GB" dirty="0">
                <a:solidFill>
                  <a:schemeClr val="tx1"/>
                </a:solidFill>
                <a:latin typeface="+mn-lt"/>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2" name="Picture Placeholder 3">
            <a:extLst>
              <a:ext uri="{FF2B5EF4-FFF2-40B4-BE49-F238E27FC236}">
                <a16:creationId xmlns:a16="http://schemas.microsoft.com/office/drawing/2014/main" id="{D5E872F4-C139-6D56-50F9-7D21C3B1C8C0}"/>
              </a:ext>
            </a:extLst>
          </p:cNvPr>
          <p:cNvSpPr>
            <a:spLocks noGrp="1"/>
          </p:cNvSpPr>
          <p:nvPr>
            <p:ph type="pic" sz="quarter" idx="18" hasCustomPrompt="1"/>
          </p:nvPr>
        </p:nvSpPr>
        <p:spPr>
          <a:xfrm>
            <a:off x="6165850" y="1306513"/>
            <a:ext cx="2795588" cy="1908175"/>
          </a:xfrm>
          <a:solidFill>
            <a:srgbClr val="F6F3F2"/>
          </a:solidFill>
        </p:spPr>
        <p:txBody>
          <a:bodyPr vert="horz" lIns="0" tIns="0" rIns="0" bIns="0" rtlCol="0">
            <a:noAutofit/>
          </a:bodyPr>
          <a:lstStyle>
            <a:lvl1pPr>
              <a:defRPr lang="en-GB">
                <a:solidFill>
                  <a:schemeClr val="tx1"/>
                </a:solidFill>
                <a:latin typeface="+mn-lt"/>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3" name="Picture Placeholder 3">
            <a:extLst>
              <a:ext uri="{FF2B5EF4-FFF2-40B4-BE49-F238E27FC236}">
                <a16:creationId xmlns:a16="http://schemas.microsoft.com/office/drawing/2014/main" id="{84712E5D-D603-F9AE-3C3A-D37795F75238}"/>
              </a:ext>
            </a:extLst>
          </p:cNvPr>
          <p:cNvSpPr>
            <a:spLocks noGrp="1"/>
          </p:cNvSpPr>
          <p:nvPr>
            <p:ph type="pic" sz="quarter" idx="19" hasCustomPrompt="1"/>
          </p:nvPr>
        </p:nvSpPr>
        <p:spPr>
          <a:xfrm>
            <a:off x="9104313" y="1306513"/>
            <a:ext cx="2799890" cy="1906588"/>
          </a:xfrm>
          <a:solidFill>
            <a:srgbClr val="F6F3F2"/>
          </a:solidFill>
        </p:spPr>
        <p:txBody>
          <a:bodyPr vert="horz" lIns="0" tIns="0" rIns="0" bIns="0" rtlCol="0">
            <a:noAutofit/>
          </a:bodyPr>
          <a:lstStyle>
            <a:lvl1pPr>
              <a:defRPr lang="en-GB" dirty="0">
                <a:solidFill>
                  <a:schemeClr val="tx1"/>
                </a:solidFill>
                <a:latin typeface="+mn-lt"/>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5" name="Text Placeholder 7">
            <a:extLst>
              <a:ext uri="{FF2B5EF4-FFF2-40B4-BE49-F238E27FC236}">
                <a16:creationId xmlns:a16="http://schemas.microsoft.com/office/drawing/2014/main" id="{19D9921F-F7C4-B7B7-7BFB-FFFA54F89ACB}"/>
              </a:ext>
            </a:extLst>
          </p:cNvPr>
          <p:cNvSpPr>
            <a:spLocks noGrp="1"/>
          </p:cNvSpPr>
          <p:nvPr>
            <p:ph type="body" sz="quarter" idx="20"/>
          </p:nvPr>
        </p:nvSpPr>
        <p:spPr>
          <a:xfrm>
            <a:off x="8124205" y="295200"/>
            <a:ext cx="3778870" cy="876375"/>
          </a:xfrm>
        </p:spPr>
        <p:txBody>
          <a:bodyPr/>
          <a:lstStyle>
            <a:lvl1pPr>
              <a:defRPr sz="1400"/>
            </a:lvl1pPr>
            <a:lvl2pPr>
              <a:defRPr sz="1400"/>
            </a:lvl2pPr>
            <a:lvl3pPr>
              <a:defRPr sz="1200"/>
            </a:lvl3pPr>
          </a:lstStyle>
          <a:p>
            <a:pPr lvl="0"/>
            <a:r>
              <a:rPr lang="zh-CN" altLang="en-US"/>
              <a:t>单击此处编辑母版文本样式</a:t>
            </a:r>
          </a:p>
          <a:p>
            <a:pPr lvl="1"/>
            <a:r>
              <a:rPr lang="zh-CN" altLang="en-US"/>
              <a:t>二级</a:t>
            </a:r>
          </a:p>
          <a:p>
            <a:pPr lvl="2"/>
            <a:r>
              <a:rPr lang="zh-CN" altLang="en-US"/>
              <a:t>三级</a:t>
            </a:r>
          </a:p>
        </p:txBody>
      </p:sp>
      <p:sp>
        <p:nvSpPr>
          <p:cNvPr id="2" name="Subtitle 2">
            <a:extLst>
              <a:ext uri="{FF2B5EF4-FFF2-40B4-BE49-F238E27FC236}">
                <a16:creationId xmlns:a16="http://schemas.microsoft.com/office/drawing/2014/main" id="{A6811233-C261-B7A8-9BF5-E6DBD474B2D8}"/>
              </a:ext>
            </a:extLst>
          </p:cNvPr>
          <p:cNvSpPr>
            <a:spLocks noGrp="1"/>
          </p:cNvSpPr>
          <p:nvPr>
            <p:ph type="subTitle" idx="21" hasCustomPrompt="1"/>
          </p:nvPr>
        </p:nvSpPr>
        <p:spPr>
          <a:xfrm>
            <a:off x="288302" y="713620"/>
            <a:ext cx="6713538"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
        <p:nvSpPr>
          <p:cNvPr id="14" name="Text Placeholder 11">
            <a:extLst>
              <a:ext uri="{FF2B5EF4-FFF2-40B4-BE49-F238E27FC236}">
                <a16:creationId xmlns:a16="http://schemas.microsoft.com/office/drawing/2014/main" id="{AB473CBC-7605-D3E8-783C-F925B286C464}"/>
              </a:ext>
            </a:extLst>
          </p:cNvPr>
          <p:cNvSpPr>
            <a:spLocks noGrp="1"/>
          </p:cNvSpPr>
          <p:nvPr>
            <p:ph type="body" sz="quarter" idx="22"/>
          </p:nvPr>
        </p:nvSpPr>
        <p:spPr>
          <a:xfrm>
            <a:off x="288925" y="3357563"/>
            <a:ext cx="2790825" cy="2919412"/>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16" name="Text Placeholder 11">
            <a:extLst>
              <a:ext uri="{FF2B5EF4-FFF2-40B4-BE49-F238E27FC236}">
                <a16:creationId xmlns:a16="http://schemas.microsoft.com/office/drawing/2014/main" id="{D5F5363E-BC98-62D0-50C8-BB47491FC9D2}"/>
              </a:ext>
            </a:extLst>
          </p:cNvPr>
          <p:cNvSpPr>
            <a:spLocks noGrp="1"/>
          </p:cNvSpPr>
          <p:nvPr>
            <p:ph type="body" sz="quarter" idx="23"/>
          </p:nvPr>
        </p:nvSpPr>
        <p:spPr>
          <a:xfrm>
            <a:off x="3233115" y="3357563"/>
            <a:ext cx="2796156" cy="2919412"/>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17" name="Text Placeholder 11">
            <a:extLst>
              <a:ext uri="{FF2B5EF4-FFF2-40B4-BE49-F238E27FC236}">
                <a16:creationId xmlns:a16="http://schemas.microsoft.com/office/drawing/2014/main" id="{2CFDC76E-CB6A-2A48-41EF-35223633C7FE}"/>
              </a:ext>
            </a:extLst>
          </p:cNvPr>
          <p:cNvSpPr>
            <a:spLocks noGrp="1"/>
          </p:cNvSpPr>
          <p:nvPr>
            <p:ph type="body" sz="quarter" idx="24"/>
          </p:nvPr>
        </p:nvSpPr>
        <p:spPr>
          <a:xfrm>
            <a:off x="6175321" y="3357563"/>
            <a:ext cx="2796156" cy="2919412"/>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18" name="Text Placeholder 11">
            <a:extLst>
              <a:ext uri="{FF2B5EF4-FFF2-40B4-BE49-F238E27FC236}">
                <a16:creationId xmlns:a16="http://schemas.microsoft.com/office/drawing/2014/main" id="{12E56C66-93E1-5486-DC8D-DDF4C1E184CC}"/>
              </a:ext>
            </a:extLst>
          </p:cNvPr>
          <p:cNvSpPr>
            <a:spLocks noGrp="1"/>
          </p:cNvSpPr>
          <p:nvPr>
            <p:ph type="body" sz="quarter" idx="25"/>
          </p:nvPr>
        </p:nvSpPr>
        <p:spPr>
          <a:xfrm>
            <a:off x="9104313" y="3357563"/>
            <a:ext cx="2800800" cy="2919412"/>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Tree>
    <p:extLst>
      <p:ext uri="{BB962C8B-B14F-4D97-AF65-F5344CB8AC3E}">
        <p14:creationId xmlns:p14="http://schemas.microsoft.com/office/powerpoint/2010/main" val="31481030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C789E9C-6550-50F6-2FFD-F534146F3D6F}"/>
              </a:ext>
            </a:extLst>
          </p:cNvPr>
          <p:cNvSpPr>
            <a:spLocks noGrp="1"/>
          </p:cNvSpPr>
          <p:nvPr>
            <p:ph type="body" sz="quarter" idx="12"/>
          </p:nvPr>
        </p:nvSpPr>
        <p:spPr>
          <a:xfrm>
            <a:off x="287337" y="269882"/>
            <a:ext cx="11615278" cy="5002212"/>
          </a:xfrm>
        </p:spPr>
        <p:txBody>
          <a:bodyPr/>
          <a:lstStyle>
            <a:lvl1pPr>
              <a:lnSpc>
                <a:spcPct val="80000"/>
              </a:lnSpc>
              <a:defRPr sz="7400" b="0" i="0">
                <a:solidFill>
                  <a:schemeClr val="accent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1ED9562A-759F-B207-3B94-4C0D83136FDD}"/>
              </a:ext>
            </a:extLst>
          </p:cNvPr>
          <p:cNvSpPr>
            <a:spLocks noGrp="1"/>
          </p:cNvSpPr>
          <p:nvPr>
            <p:ph type="ftr" sz="quarter" idx="10"/>
          </p:nvPr>
        </p:nvSpPr>
        <p:spPr/>
        <p:txBody>
          <a:bodyPr/>
          <a:lstStyle/>
          <a:p>
            <a:r>
              <a:rPr lang="en-US"/>
              <a:t>Job Aid and Guidance Document still under review.</a:t>
            </a:r>
            <a:endParaRPr lang="en-GB"/>
          </a:p>
        </p:txBody>
      </p:sp>
      <p:sp>
        <p:nvSpPr>
          <p:cNvPr id="4" name="Slide Number Placeholder 3">
            <a:extLst>
              <a:ext uri="{FF2B5EF4-FFF2-40B4-BE49-F238E27FC236}">
                <a16:creationId xmlns:a16="http://schemas.microsoft.com/office/drawing/2014/main" id="{A7336B88-A821-CF31-A937-209EE62E0A19}"/>
              </a:ext>
            </a:extLst>
          </p:cNvPr>
          <p:cNvSpPr>
            <a:spLocks noGrp="1"/>
          </p:cNvSpPr>
          <p:nvPr>
            <p:ph type="sldNum" sz="quarter" idx="11"/>
          </p:nvPr>
        </p:nvSpPr>
        <p:spPr/>
        <p:txBody>
          <a:bodyPr/>
          <a:lstStyle/>
          <a:p>
            <a:fld id="{AEC8D767-5246-2244-A4A3-B8AFB218393C}" type="slidenum">
              <a:rPr lang="en-GB" smtClean="0"/>
              <a:pPr/>
              <a:t>‹#›</a:t>
            </a:fld>
            <a:endParaRPr lang="en-GB"/>
          </a:p>
        </p:txBody>
      </p:sp>
    </p:spTree>
    <p:extLst>
      <p:ext uri="{BB962C8B-B14F-4D97-AF65-F5344CB8AC3E}">
        <p14:creationId xmlns:p14="http://schemas.microsoft.com/office/powerpoint/2010/main" val="14790385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Eight Conten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pPr>
              <a:spcBef>
                <a:spcPts val="0"/>
              </a:spcBef>
              <a:spcAft>
                <a:spcPts val="300"/>
              </a:spcAft>
            </a:pPr>
            <a:r>
              <a:rPr lang="en-US" b="0" i="0">
                <a:effectLst/>
              </a:rPr>
              <a:t>Job Aid and Guidance Document still under review.</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831294"/>
            <a:ext cx="2793541" cy="1893888"/>
          </a:xfrm>
        </p:spPr>
        <p:txBody>
          <a:bodyPr/>
          <a:lstStyle>
            <a:lvl1pPr>
              <a:defRPr sz="1400"/>
            </a:lvl1pPr>
            <a:lvl2pPr>
              <a:defRPr sz="1400"/>
            </a:lvl2pPr>
            <a:lvl3pPr>
              <a:defRPr sz="1200"/>
            </a:lvl3pPr>
            <a:lvl4pPr>
              <a:defRPr sz="3200"/>
            </a:lvl4pPr>
            <a:lvl5pPr>
              <a:defRPr sz="600"/>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6165852" y="1831294"/>
            <a:ext cx="2793542" cy="1893888"/>
          </a:xfrm>
        </p:spPr>
        <p:txBody>
          <a:bodyPr/>
          <a:lstStyle>
            <a:lvl1pPr>
              <a:defRPr sz="1400"/>
            </a:lvl1pPr>
            <a:lvl2pPr>
              <a:defRPr sz="1400"/>
            </a:lvl2pPr>
            <a:lvl3pPr>
              <a:defRPr sz="1200"/>
            </a:lvl3pPr>
            <a:lvl4pPr>
              <a:defRPr lang="en-GB" sz="3200" b="0" i="0" kern="1200">
                <a:solidFill>
                  <a:schemeClr val="tx2"/>
                </a:solidFill>
                <a:latin typeface="Johnson Display" pitchFamily="2" charset="77"/>
                <a:ea typeface="+mn-ea"/>
                <a:cs typeface="+mn-cs"/>
              </a:defRPr>
            </a:lvl4pPr>
            <a:lvl5pPr>
              <a:defRPr sz="600"/>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3" name="Content Placeholder 2">
            <a:extLst>
              <a:ext uri="{FF2B5EF4-FFF2-40B4-BE49-F238E27FC236}">
                <a16:creationId xmlns:a16="http://schemas.microsoft.com/office/drawing/2014/main" id="{73E966BC-48D6-0237-3D83-9F8CB77DC975}"/>
              </a:ext>
            </a:extLst>
          </p:cNvPr>
          <p:cNvSpPr>
            <a:spLocks noGrp="1"/>
          </p:cNvSpPr>
          <p:nvPr>
            <p:ph idx="14"/>
          </p:nvPr>
        </p:nvSpPr>
        <p:spPr>
          <a:xfrm>
            <a:off x="3225800" y="1831294"/>
            <a:ext cx="2803525" cy="1893888"/>
          </a:xfrm>
        </p:spPr>
        <p:txBody>
          <a:bodyPr/>
          <a:lstStyle>
            <a:lvl1pPr>
              <a:defRPr sz="1400"/>
            </a:lvl1pPr>
            <a:lvl2pPr>
              <a:defRPr sz="1400"/>
            </a:lvl2pPr>
            <a:lvl3pPr>
              <a:defRPr sz="1200"/>
            </a:lvl3pPr>
            <a:lvl4pPr>
              <a:defRPr lang="en-GB" sz="3200" b="0" i="0" kern="1200" dirty="0">
                <a:solidFill>
                  <a:schemeClr val="tx2"/>
                </a:solidFill>
                <a:latin typeface="Johnson Display" pitchFamily="2" charset="77"/>
                <a:ea typeface="+mn-ea"/>
                <a:cs typeface="+mn-cs"/>
              </a:defRPr>
            </a:lvl4pPr>
            <a:lvl5pPr>
              <a:defRPr sz="600"/>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4" name="Content Placeholder 2">
            <a:extLst>
              <a:ext uri="{FF2B5EF4-FFF2-40B4-BE49-F238E27FC236}">
                <a16:creationId xmlns:a16="http://schemas.microsoft.com/office/drawing/2014/main" id="{48B10B95-D320-4FA6-98CE-883417C5DC22}"/>
              </a:ext>
            </a:extLst>
          </p:cNvPr>
          <p:cNvSpPr>
            <a:spLocks noGrp="1"/>
          </p:cNvSpPr>
          <p:nvPr>
            <p:ph idx="15"/>
          </p:nvPr>
        </p:nvSpPr>
        <p:spPr>
          <a:xfrm>
            <a:off x="9105903" y="1831294"/>
            <a:ext cx="2793997" cy="1893888"/>
          </a:xfrm>
        </p:spPr>
        <p:txBody>
          <a:bodyPr/>
          <a:lstStyle>
            <a:lvl1pPr>
              <a:defRPr sz="1400"/>
            </a:lvl1pPr>
            <a:lvl2pPr>
              <a:defRPr sz="1400"/>
            </a:lvl2pPr>
            <a:lvl3pPr>
              <a:defRPr sz="1200"/>
            </a:lvl3pPr>
            <a:lvl4pPr>
              <a:defRPr lang="en-GB" sz="3200" b="0" i="0" kern="1200">
                <a:solidFill>
                  <a:schemeClr val="tx2"/>
                </a:solidFill>
                <a:latin typeface="Johnson Display" pitchFamily="2" charset="77"/>
                <a:ea typeface="+mn-ea"/>
                <a:cs typeface="+mn-cs"/>
              </a:defRPr>
            </a:lvl4pPr>
            <a:lvl5pPr>
              <a:defRPr sz="600"/>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10" name="Content Placeholder 2">
            <a:extLst>
              <a:ext uri="{FF2B5EF4-FFF2-40B4-BE49-F238E27FC236}">
                <a16:creationId xmlns:a16="http://schemas.microsoft.com/office/drawing/2014/main" id="{F837F62A-0DBC-5C4E-10B1-0A4CD4ADF81F}"/>
              </a:ext>
            </a:extLst>
          </p:cNvPr>
          <p:cNvSpPr>
            <a:spLocks noGrp="1"/>
          </p:cNvSpPr>
          <p:nvPr>
            <p:ph idx="16"/>
          </p:nvPr>
        </p:nvSpPr>
        <p:spPr>
          <a:xfrm>
            <a:off x="289384" y="3871912"/>
            <a:ext cx="2793541" cy="1893887"/>
          </a:xfrm>
        </p:spPr>
        <p:txBody>
          <a:bodyPr/>
          <a:lstStyle>
            <a:lvl1pPr>
              <a:defRPr sz="1400"/>
            </a:lvl1pPr>
            <a:lvl2pPr>
              <a:defRPr sz="1400"/>
            </a:lvl2pPr>
            <a:lvl3pPr>
              <a:defRPr sz="1200"/>
            </a:lvl3pPr>
            <a:lvl4pPr>
              <a:defRPr lang="en-GB" sz="3200" b="0" i="0" kern="1200">
                <a:solidFill>
                  <a:schemeClr val="tx2"/>
                </a:solidFill>
                <a:latin typeface="Johnson Display" pitchFamily="2" charset="77"/>
                <a:ea typeface="+mn-ea"/>
                <a:cs typeface="+mn-cs"/>
              </a:defRPr>
            </a:lvl4pPr>
            <a:lvl5pPr>
              <a:defRPr sz="600"/>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11" name="Content Placeholder 2">
            <a:extLst>
              <a:ext uri="{FF2B5EF4-FFF2-40B4-BE49-F238E27FC236}">
                <a16:creationId xmlns:a16="http://schemas.microsoft.com/office/drawing/2014/main" id="{D19C36C2-D521-FEE7-A6AC-5710B0CDB350}"/>
              </a:ext>
            </a:extLst>
          </p:cNvPr>
          <p:cNvSpPr>
            <a:spLocks noGrp="1"/>
          </p:cNvSpPr>
          <p:nvPr>
            <p:ph idx="17"/>
          </p:nvPr>
        </p:nvSpPr>
        <p:spPr>
          <a:xfrm>
            <a:off x="6165851" y="3871912"/>
            <a:ext cx="2795588" cy="1893888"/>
          </a:xfrm>
        </p:spPr>
        <p:txBody>
          <a:bodyPr/>
          <a:lstStyle>
            <a:lvl1pPr>
              <a:defRPr sz="1400"/>
            </a:lvl1pPr>
            <a:lvl2pPr>
              <a:defRPr sz="1400"/>
            </a:lvl2pPr>
            <a:lvl3pPr>
              <a:defRPr sz="1200"/>
            </a:lvl3pPr>
            <a:lvl4pPr>
              <a:defRPr lang="en-GB" sz="3200" b="0" i="0" kern="1200">
                <a:solidFill>
                  <a:schemeClr val="tx2"/>
                </a:solidFill>
                <a:latin typeface="Johnson Display" pitchFamily="2" charset="77"/>
                <a:ea typeface="+mn-ea"/>
                <a:cs typeface="+mn-cs"/>
              </a:defRPr>
            </a:lvl4pPr>
            <a:lvl5pPr>
              <a:defRPr sz="600"/>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12" name="Content Placeholder 2">
            <a:extLst>
              <a:ext uri="{FF2B5EF4-FFF2-40B4-BE49-F238E27FC236}">
                <a16:creationId xmlns:a16="http://schemas.microsoft.com/office/drawing/2014/main" id="{FB6994DE-2295-D9C1-5B16-D2099A816416}"/>
              </a:ext>
            </a:extLst>
          </p:cNvPr>
          <p:cNvSpPr>
            <a:spLocks noGrp="1"/>
          </p:cNvSpPr>
          <p:nvPr>
            <p:ph idx="18"/>
          </p:nvPr>
        </p:nvSpPr>
        <p:spPr>
          <a:xfrm>
            <a:off x="3225801" y="3871912"/>
            <a:ext cx="2795588" cy="1893887"/>
          </a:xfrm>
        </p:spPr>
        <p:txBody>
          <a:bodyPr/>
          <a:lstStyle>
            <a:lvl1pPr>
              <a:defRPr sz="1400"/>
            </a:lvl1pPr>
            <a:lvl2pPr>
              <a:defRPr sz="1400"/>
            </a:lvl2pPr>
            <a:lvl3pPr>
              <a:defRPr sz="1200"/>
            </a:lvl3pPr>
            <a:lvl4pPr>
              <a:defRPr lang="en-GB" sz="3200" b="0" i="0" kern="1200">
                <a:solidFill>
                  <a:schemeClr val="tx2"/>
                </a:solidFill>
                <a:latin typeface="Johnson Display" pitchFamily="2" charset="77"/>
                <a:ea typeface="+mn-ea"/>
                <a:cs typeface="+mn-cs"/>
              </a:defRPr>
            </a:lvl4pPr>
            <a:lvl5pPr>
              <a:defRPr sz="600"/>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13" name="Content Placeholder 2">
            <a:extLst>
              <a:ext uri="{FF2B5EF4-FFF2-40B4-BE49-F238E27FC236}">
                <a16:creationId xmlns:a16="http://schemas.microsoft.com/office/drawing/2014/main" id="{35D14BC0-5573-6189-1430-BDA9443B2652}"/>
              </a:ext>
            </a:extLst>
          </p:cNvPr>
          <p:cNvSpPr>
            <a:spLocks noGrp="1"/>
          </p:cNvSpPr>
          <p:nvPr>
            <p:ph idx="19"/>
          </p:nvPr>
        </p:nvSpPr>
        <p:spPr>
          <a:xfrm>
            <a:off x="9104313" y="3871912"/>
            <a:ext cx="2795587" cy="1893888"/>
          </a:xfrm>
        </p:spPr>
        <p:txBody>
          <a:bodyPr/>
          <a:lstStyle>
            <a:lvl1pPr>
              <a:defRPr sz="1400"/>
            </a:lvl1pPr>
            <a:lvl2pPr>
              <a:defRPr sz="1400"/>
            </a:lvl2pPr>
            <a:lvl3pPr>
              <a:defRPr sz="1200"/>
            </a:lvl3pPr>
            <a:lvl4pPr>
              <a:defRPr lang="en-GB" sz="3200" b="0" i="0" kern="1200">
                <a:solidFill>
                  <a:schemeClr val="tx2"/>
                </a:solidFill>
                <a:latin typeface="Johnson Display" pitchFamily="2" charset="77"/>
                <a:ea typeface="+mn-ea"/>
                <a:cs typeface="+mn-cs"/>
              </a:defRPr>
            </a:lvl4pPr>
            <a:lvl5pPr>
              <a:defRPr sz="600"/>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5" name="Text Placeholder 7">
            <a:extLst>
              <a:ext uri="{FF2B5EF4-FFF2-40B4-BE49-F238E27FC236}">
                <a16:creationId xmlns:a16="http://schemas.microsoft.com/office/drawing/2014/main" id="{18166EB3-B625-A7A5-5E35-6D81B2C4EAAA}"/>
              </a:ext>
            </a:extLst>
          </p:cNvPr>
          <p:cNvSpPr>
            <a:spLocks noGrp="1"/>
          </p:cNvSpPr>
          <p:nvPr>
            <p:ph type="body" sz="quarter" idx="20"/>
          </p:nvPr>
        </p:nvSpPr>
        <p:spPr>
          <a:xfrm>
            <a:off x="8124205" y="295200"/>
            <a:ext cx="3778870" cy="876375"/>
          </a:xfrm>
        </p:spPr>
        <p:txBody>
          <a:bodyPr/>
          <a:lstStyle>
            <a:lvl1pPr>
              <a:defRPr sz="1400"/>
            </a:lvl1pPr>
            <a:lvl2pPr>
              <a:defRPr sz="1400"/>
            </a:lvl2pPr>
            <a:lvl3pPr>
              <a:defRPr sz="1200"/>
            </a:lvl3pPr>
          </a:lstStyle>
          <a:p>
            <a:pPr lvl="0"/>
            <a:r>
              <a:rPr lang="zh-CN" altLang="en-US"/>
              <a:t>单击此处编辑母版文本样式</a:t>
            </a:r>
          </a:p>
          <a:p>
            <a:pPr lvl="1"/>
            <a:r>
              <a:rPr lang="zh-CN" altLang="en-US"/>
              <a:t>二级</a:t>
            </a:r>
          </a:p>
          <a:p>
            <a:pPr lvl="2"/>
            <a:r>
              <a:rPr lang="zh-CN" altLang="en-US"/>
              <a:t>三级</a:t>
            </a:r>
          </a:p>
        </p:txBody>
      </p:sp>
      <p:sp>
        <p:nvSpPr>
          <p:cNvPr id="15" name="Title 14">
            <a:extLst>
              <a:ext uri="{FF2B5EF4-FFF2-40B4-BE49-F238E27FC236}">
                <a16:creationId xmlns:a16="http://schemas.microsoft.com/office/drawing/2014/main" id="{EC560DE3-3204-EFCC-1AF1-2D91CA826E4F}"/>
              </a:ext>
            </a:extLst>
          </p:cNvPr>
          <p:cNvSpPr>
            <a:spLocks noGrp="1"/>
          </p:cNvSpPr>
          <p:nvPr>
            <p:ph type="title"/>
          </p:nvPr>
        </p:nvSpPr>
        <p:spPr>
          <a:xfrm>
            <a:off x="288303" y="262267"/>
            <a:ext cx="6713538" cy="457818"/>
          </a:xfrm>
        </p:spPr>
        <p:txBody>
          <a:bodyPr/>
          <a:lstStyle/>
          <a:p>
            <a:r>
              <a:rPr lang="zh-CN" altLang="en-US"/>
              <a:t>单击此处编辑母版标题样式</a:t>
            </a:r>
            <a:endParaRPr lang="en-GB"/>
          </a:p>
        </p:txBody>
      </p:sp>
      <p:sp>
        <p:nvSpPr>
          <p:cNvPr id="2" name="Subtitle 2">
            <a:extLst>
              <a:ext uri="{FF2B5EF4-FFF2-40B4-BE49-F238E27FC236}">
                <a16:creationId xmlns:a16="http://schemas.microsoft.com/office/drawing/2014/main" id="{09115CA6-F35D-BB63-6BE4-D7293F65797E}"/>
              </a:ext>
            </a:extLst>
          </p:cNvPr>
          <p:cNvSpPr>
            <a:spLocks noGrp="1"/>
          </p:cNvSpPr>
          <p:nvPr>
            <p:ph type="subTitle" idx="21" hasCustomPrompt="1"/>
          </p:nvPr>
        </p:nvSpPr>
        <p:spPr>
          <a:xfrm>
            <a:off x="288302" y="713620"/>
            <a:ext cx="6713538"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341089854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ext and Chart">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pPr>
              <a:spcBef>
                <a:spcPts val="0"/>
              </a:spcBef>
              <a:spcAft>
                <a:spcPts val="300"/>
              </a:spcAft>
            </a:pPr>
            <a:r>
              <a:rPr lang="en-US" b="0" i="0">
                <a:effectLst/>
              </a:rPr>
              <a:t>Job Aid and Guidance Document still under review.</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306513"/>
            <a:ext cx="5732003" cy="4964111"/>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4" name="Chart Placeholder 3">
            <a:extLst>
              <a:ext uri="{FF2B5EF4-FFF2-40B4-BE49-F238E27FC236}">
                <a16:creationId xmlns:a16="http://schemas.microsoft.com/office/drawing/2014/main" id="{538B81BC-7790-A8A7-F32D-C3F126E7C5D3}"/>
              </a:ext>
            </a:extLst>
          </p:cNvPr>
          <p:cNvSpPr>
            <a:spLocks noGrp="1"/>
          </p:cNvSpPr>
          <p:nvPr>
            <p:ph type="chart" sz="quarter" idx="15"/>
          </p:nvPr>
        </p:nvSpPr>
        <p:spPr>
          <a:xfrm>
            <a:off x="6165850" y="1306513"/>
            <a:ext cx="5737225" cy="4964112"/>
          </a:xfrm>
          <a:solidFill>
            <a:schemeClr val="bg1"/>
          </a:solidFill>
        </p:spPr>
        <p:txBody>
          <a:bodyPr/>
          <a:lstStyle/>
          <a:p>
            <a:r>
              <a:rPr lang="zh-CN" altLang="en-US"/>
              <a:t>单击图标添加图表</a:t>
            </a:r>
            <a:endParaRPr lang="en-US"/>
          </a:p>
        </p:txBody>
      </p:sp>
      <p:sp>
        <p:nvSpPr>
          <p:cNvPr id="11" name="Text Placeholder 3">
            <a:extLst>
              <a:ext uri="{FF2B5EF4-FFF2-40B4-BE49-F238E27FC236}">
                <a16:creationId xmlns:a16="http://schemas.microsoft.com/office/drawing/2014/main" id="{58257768-4CDB-6207-FCBD-946306C93DAD}"/>
              </a:ext>
            </a:extLst>
          </p:cNvPr>
          <p:cNvSpPr>
            <a:spLocks noGrp="1"/>
          </p:cNvSpPr>
          <p:nvPr>
            <p:ph type="body" sz="quarter" idx="14"/>
          </p:nvPr>
        </p:nvSpPr>
        <p:spPr>
          <a:xfrm>
            <a:off x="10083801" y="330199"/>
            <a:ext cx="1816100" cy="841376"/>
          </a:xfrm>
        </p:spPr>
        <p:txBody>
          <a:bodyPr/>
          <a:lstStyle>
            <a:lvl1pPr>
              <a:spcBef>
                <a:spcPts val="0"/>
              </a:spcBef>
              <a:spcAft>
                <a:spcPts val="300"/>
              </a:spcAft>
              <a:defRPr sz="800" b="0" i="0">
                <a:latin typeface="+mn-lt"/>
              </a:defRPr>
            </a:lvl1pPr>
            <a:lvl2pPr marL="93663" indent="-93663">
              <a:spcBef>
                <a:spcPts val="0"/>
              </a:spcBef>
              <a:spcAft>
                <a:spcPts val="300"/>
              </a:spcAft>
              <a:tabLst/>
              <a:defRPr sz="800" b="0" i="0">
                <a:latin typeface="+mn-lt"/>
              </a:defRPr>
            </a:lvl2pPr>
            <a:lvl3pPr marL="179388" indent="-85725">
              <a:spcBef>
                <a:spcPts val="0"/>
              </a:spcBef>
              <a:spcAft>
                <a:spcPts val="300"/>
              </a:spcAft>
              <a:tabLst/>
              <a:defRPr sz="800" b="0" i="0">
                <a:latin typeface="+mn-lt"/>
              </a:defRPr>
            </a:lvl3pPr>
            <a:lvl4pPr>
              <a:defRPr sz="1000"/>
            </a:lvl4pPr>
            <a:lvl5pPr>
              <a:defRPr sz="1000"/>
            </a:lvl5pPr>
          </a:lstStyle>
          <a:p>
            <a:pPr lvl="0"/>
            <a:r>
              <a:rPr lang="zh-CN" altLang="en-US"/>
              <a:t>单击此处编辑母版文本样式</a:t>
            </a:r>
          </a:p>
          <a:p>
            <a:pPr lvl="1"/>
            <a:r>
              <a:rPr lang="zh-CN" altLang="en-US"/>
              <a:t>二级</a:t>
            </a:r>
          </a:p>
          <a:p>
            <a:pPr lvl="2"/>
            <a:r>
              <a:rPr lang="zh-CN" altLang="en-US"/>
              <a:t>三级</a:t>
            </a:r>
          </a:p>
        </p:txBody>
      </p:sp>
      <p:sp>
        <p:nvSpPr>
          <p:cNvPr id="9" name="Title 8">
            <a:extLst>
              <a:ext uri="{FF2B5EF4-FFF2-40B4-BE49-F238E27FC236}">
                <a16:creationId xmlns:a16="http://schemas.microsoft.com/office/drawing/2014/main" id="{6E77B21E-A040-7CC6-4F9B-B89C94289E89}"/>
              </a:ext>
            </a:extLst>
          </p:cNvPr>
          <p:cNvSpPr>
            <a:spLocks noGrp="1"/>
          </p:cNvSpPr>
          <p:nvPr>
            <p:ph type="title"/>
          </p:nvPr>
        </p:nvSpPr>
        <p:spPr>
          <a:xfrm>
            <a:off x="288303" y="262267"/>
            <a:ext cx="6713538" cy="457818"/>
          </a:xfrm>
        </p:spPr>
        <p:txBody>
          <a:bodyPr/>
          <a:lstStyle/>
          <a:p>
            <a:r>
              <a:rPr lang="zh-CN" altLang="en-US"/>
              <a:t>单击此处编辑母版标题样式</a:t>
            </a:r>
            <a:endParaRPr lang="en-GB"/>
          </a:p>
        </p:txBody>
      </p:sp>
      <p:sp>
        <p:nvSpPr>
          <p:cNvPr id="3" name="Subtitle 2">
            <a:extLst>
              <a:ext uri="{FF2B5EF4-FFF2-40B4-BE49-F238E27FC236}">
                <a16:creationId xmlns:a16="http://schemas.microsoft.com/office/drawing/2014/main" id="{F725C5CD-1985-D608-1D27-9FBC395FE641}"/>
              </a:ext>
            </a:extLst>
          </p:cNvPr>
          <p:cNvSpPr>
            <a:spLocks noGrp="1"/>
          </p:cNvSpPr>
          <p:nvPr>
            <p:ph type="subTitle" idx="16" hasCustomPrompt="1"/>
          </p:nvPr>
        </p:nvSpPr>
        <p:spPr>
          <a:xfrm>
            <a:off x="288302" y="713620"/>
            <a:ext cx="6713538"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303299618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hree Chart">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pPr>
              <a:spcBef>
                <a:spcPts val="0"/>
              </a:spcBef>
              <a:spcAft>
                <a:spcPts val="300"/>
              </a:spcAft>
            </a:pPr>
            <a:r>
              <a:rPr lang="en-US" b="0" i="0">
                <a:effectLst/>
              </a:rPr>
              <a:t>Job Aid and Guidance Document still under review.</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4" name="Text Placeholder 7">
            <a:extLst>
              <a:ext uri="{FF2B5EF4-FFF2-40B4-BE49-F238E27FC236}">
                <a16:creationId xmlns:a16="http://schemas.microsoft.com/office/drawing/2014/main" id="{66A26018-CD47-11D0-838D-A1A2D71C4DE9}"/>
              </a:ext>
            </a:extLst>
          </p:cNvPr>
          <p:cNvSpPr>
            <a:spLocks noGrp="1"/>
          </p:cNvSpPr>
          <p:nvPr>
            <p:ph type="body" sz="quarter" idx="15"/>
          </p:nvPr>
        </p:nvSpPr>
        <p:spPr>
          <a:xfrm>
            <a:off x="8124205" y="293525"/>
            <a:ext cx="3778870" cy="878050"/>
          </a:xfrm>
        </p:spPr>
        <p:txBody>
          <a:bodyPr/>
          <a:lstStyle>
            <a:lvl1pPr>
              <a:defRPr sz="1400"/>
            </a:lvl1pPr>
            <a:lvl2pPr>
              <a:defRPr sz="1400"/>
            </a:lvl2pPr>
            <a:lvl3pPr>
              <a:defRPr sz="1200"/>
            </a:lvl3pPr>
          </a:lstStyle>
          <a:p>
            <a:pPr lvl="0"/>
            <a:r>
              <a:rPr lang="zh-CN" altLang="en-US"/>
              <a:t>单击此处编辑母版文本样式</a:t>
            </a:r>
          </a:p>
          <a:p>
            <a:pPr lvl="1"/>
            <a:r>
              <a:rPr lang="zh-CN" altLang="en-US"/>
              <a:t>二级</a:t>
            </a:r>
          </a:p>
          <a:p>
            <a:pPr lvl="2"/>
            <a:r>
              <a:rPr lang="zh-CN" altLang="en-US"/>
              <a:t>三级</a:t>
            </a:r>
          </a:p>
        </p:txBody>
      </p:sp>
      <p:sp>
        <p:nvSpPr>
          <p:cNvPr id="11" name="Chart Placeholder 10">
            <a:extLst>
              <a:ext uri="{FF2B5EF4-FFF2-40B4-BE49-F238E27FC236}">
                <a16:creationId xmlns:a16="http://schemas.microsoft.com/office/drawing/2014/main" id="{698C230B-5408-E1A5-CFA9-2F383131120D}"/>
              </a:ext>
            </a:extLst>
          </p:cNvPr>
          <p:cNvSpPr>
            <a:spLocks noGrp="1"/>
          </p:cNvSpPr>
          <p:nvPr>
            <p:ph type="chart" sz="quarter" idx="16"/>
          </p:nvPr>
        </p:nvSpPr>
        <p:spPr>
          <a:xfrm>
            <a:off x="292100" y="1306512"/>
            <a:ext cx="3770313" cy="3944937"/>
          </a:xfrm>
          <a:solidFill>
            <a:schemeClr val="bg1"/>
          </a:solidFill>
        </p:spPr>
        <p:txBody>
          <a:bodyPr/>
          <a:lstStyle/>
          <a:p>
            <a:r>
              <a:rPr lang="zh-CN" altLang="en-US"/>
              <a:t>单击图标添加图表</a:t>
            </a:r>
            <a:endParaRPr lang="en-US"/>
          </a:p>
        </p:txBody>
      </p:sp>
      <p:sp>
        <p:nvSpPr>
          <p:cNvPr id="12" name="Text Placeholder 7">
            <a:extLst>
              <a:ext uri="{FF2B5EF4-FFF2-40B4-BE49-F238E27FC236}">
                <a16:creationId xmlns:a16="http://schemas.microsoft.com/office/drawing/2014/main" id="{6BA18FE4-4638-2816-D5EB-4ABC0612973F}"/>
              </a:ext>
            </a:extLst>
          </p:cNvPr>
          <p:cNvSpPr>
            <a:spLocks noGrp="1"/>
          </p:cNvSpPr>
          <p:nvPr>
            <p:ph type="body" sz="quarter" idx="17"/>
          </p:nvPr>
        </p:nvSpPr>
        <p:spPr>
          <a:xfrm>
            <a:off x="291480" y="5394325"/>
            <a:ext cx="3770934" cy="876300"/>
          </a:xfrm>
        </p:spPr>
        <p:txBody>
          <a:bodyPr/>
          <a:lstStyle>
            <a:lvl1pPr>
              <a:defRPr sz="1200"/>
            </a:lvl1pPr>
            <a:lvl2pPr>
              <a:defRPr sz="1200"/>
            </a:lvl2pPr>
            <a:lvl3pPr>
              <a:defRPr sz="1100"/>
            </a:lvl3pPr>
          </a:lstStyle>
          <a:p>
            <a:pPr lvl="0"/>
            <a:r>
              <a:rPr lang="zh-CN" altLang="en-US"/>
              <a:t>单击此处编辑母版文本样式</a:t>
            </a:r>
          </a:p>
          <a:p>
            <a:pPr lvl="1"/>
            <a:r>
              <a:rPr lang="zh-CN" altLang="en-US"/>
              <a:t>二级</a:t>
            </a:r>
          </a:p>
          <a:p>
            <a:pPr lvl="2"/>
            <a:r>
              <a:rPr lang="zh-CN" altLang="en-US"/>
              <a:t>三级</a:t>
            </a:r>
          </a:p>
        </p:txBody>
      </p:sp>
      <p:sp>
        <p:nvSpPr>
          <p:cNvPr id="13" name="Chart Placeholder 10">
            <a:extLst>
              <a:ext uri="{FF2B5EF4-FFF2-40B4-BE49-F238E27FC236}">
                <a16:creationId xmlns:a16="http://schemas.microsoft.com/office/drawing/2014/main" id="{446A3E25-507C-4190-4950-DA0C712EB336}"/>
              </a:ext>
            </a:extLst>
          </p:cNvPr>
          <p:cNvSpPr>
            <a:spLocks noGrp="1"/>
          </p:cNvSpPr>
          <p:nvPr>
            <p:ph type="chart" sz="quarter" idx="18"/>
          </p:nvPr>
        </p:nvSpPr>
        <p:spPr>
          <a:xfrm>
            <a:off x="4206875" y="1306513"/>
            <a:ext cx="3775076" cy="3944936"/>
          </a:xfrm>
          <a:solidFill>
            <a:schemeClr val="bg1"/>
          </a:solidFill>
        </p:spPr>
        <p:txBody>
          <a:bodyPr/>
          <a:lstStyle/>
          <a:p>
            <a:r>
              <a:rPr lang="zh-CN" altLang="en-US"/>
              <a:t>单击图标添加图表</a:t>
            </a:r>
            <a:endParaRPr lang="en-US"/>
          </a:p>
        </p:txBody>
      </p:sp>
      <p:sp>
        <p:nvSpPr>
          <p:cNvPr id="14" name="Text Placeholder 7">
            <a:extLst>
              <a:ext uri="{FF2B5EF4-FFF2-40B4-BE49-F238E27FC236}">
                <a16:creationId xmlns:a16="http://schemas.microsoft.com/office/drawing/2014/main" id="{DDD2F21A-FE62-6E81-6F5B-9A76691ED2EE}"/>
              </a:ext>
            </a:extLst>
          </p:cNvPr>
          <p:cNvSpPr>
            <a:spLocks noGrp="1"/>
          </p:cNvSpPr>
          <p:nvPr>
            <p:ph type="body" sz="quarter" idx="19"/>
          </p:nvPr>
        </p:nvSpPr>
        <p:spPr>
          <a:xfrm>
            <a:off x="4206874" y="5394325"/>
            <a:ext cx="3775076" cy="876300"/>
          </a:xfrm>
        </p:spPr>
        <p:txBody>
          <a:bodyPr/>
          <a:lstStyle>
            <a:lvl1pPr>
              <a:defRPr sz="1200"/>
            </a:lvl1pPr>
            <a:lvl2pPr>
              <a:defRPr sz="1200"/>
            </a:lvl2pPr>
            <a:lvl3pPr>
              <a:defRPr sz="1100"/>
            </a:lvl3pPr>
          </a:lstStyle>
          <a:p>
            <a:pPr lvl="0"/>
            <a:r>
              <a:rPr lang="zh-CN" altLang="en-US"/>
              <a:t>单击此处编辑母版文本样式</a:t>
            </a:r>
          </a:p>
          <a:p>
            <a:pPr lvl="1"/>
            <a:r>
              <a:rPr lang="zh-CN" altLang="en-US"/>
              <a:t>二级</a:t>
            </a:r>
          </a:p>
          <a:p>
            <a:pPr lvl="2"/>
            <a:r>
              <a:rPr lang="zh-CN" altLang="en-US"/>
              <a:t>三级</a:t>
            </a:r>
          </a:p>
        </p:txBody>
      </p:sp>
      <p:sp>
        <p:nvSpPr>
          <p:cNvPr id="15" name="Chart Placeholder 10">
            <a:extLst>
              <a:ext uri="{FF2B5EF4-FFF2-40B4-BE49-F238E27FC236}">
                <a16:creationId xmlns:a16="http://schemas.microsoft.com/office/drawing/2014/main" id="{94EF43E1-5534-96EF-52FD-3CD0B7B21E71}"/>
              </a:ext>
            </a:extLst>
          </p:cNvPr>
          <p:cNvSpPr>
            <a:spLocks noGrp="1"/>
          </p:cNvSpPr>
          <p:nvPr>
            <p:ph type="chart" sz="quarter" idx="20"/>
          </p:nvPr>
        </p:nvSpPr>
        <p:spPr>
          <a:xfrm>
            <a:off x="8124825" y="1306512"/>
            <a:ext cx="3770313" cy="3944937"/>
          </a:xfrm>
          <a:solidFill>
            <a:schemeClr val="bg1"/>
          </a:solidFill>
        </p:spPr>
        <p:txBody>
          <a:bodyPr/>
          <a:lstStyle/>
          <a:p>
            <a:r>
              <a:rPr lang="zh-CN" altLang="en-US"/>
              <a:t>单击图标添加图表</a:t>
            </a:r>
            <a:endParaRPr lang="en-US"/>
          </a:p>
        </p:txBody>
      </p:sp>
      <p:sp>
        <p:nvSpPr>
          <p:cNvPr id="16" name="Text Placeholder 7">
            <a:extLst>
              <a:ext uri="{FF2B5EF4-FFF2-40B4-BE49-F238E27FC236}">
                <a16:creationId xmlns:a16="http://schemas.microsoft.com/office/drawing/2014/main" id="{074660EF-5B4C-59FD-5DE9-C6AEEC3EA783}"/>
              </a:ext>
            </a:extLst>
          </p:cNvPr>
          <p:cNvSpPr>
            <a:spLocks noGrp="1"/>
          </p:cNvSpPr>
          <p:nvPr>
            <p:ph type="body" sz="quarter" idx="21"/>
          </p:nvPr>
        </p:nvSpPr>
        <p:spPr>
          <a:xfrm>
            <a:off x="8124205" y="5394325"/>
            <a:ext cx="3770934" cy="876300"/>
          </a:xfrm>
        </p:spPr>
        <p:txBody>
          <a:bodyPr/>
          <a:lstStyle>
            <a:lvl1pPr>
              <a:defRPr sz="1200"/>
            </a:lvl1pPr>
            <a:lvl2pPr>
              <a:defRPr sz="1200"/>
            </a:lvl2pPr>
            <a:lvl3pPr>
              <a:defRPr sz="1100"/>
            </a:lvl3pPr>
          </a:lstStyle>
          <a:p>
            <a:pPr lvl="0"/>
            <a:r>
              <a:rPr lang="zh-CN" altLang="en-US"/>
              <a:t>单击此处编辑母版文本样式</a:t>
            </a:r>
          </a:p>
          <a:p>
            <a:pPr lvl="1"/>
            <a:r>
              <a:rPr lang="zh-CN" altLang="en-US"/>
              <a:t>二级</a:t>
            </a:r>
          </a:p>
          <a:p>
            <a:pPr lvl="2"/>
            <a:r>
              <a:rPr lang="zh-CN" altLang="en-US"/>
              <a:t>三级</a:t>
            </a:r>
          </a:p>
        </p:txBody>
      </p:sp>
      <p:sp>
        <p:nvSpPr>
          <p:cNvPr id="9" name="Title 8">
            <a:extLst>
              <a:ext uri="{FF2B5EF4-FFF2-40B4-BE49-F238E27FC236}">
                <a16:creationId xmlns:a16="http://schemas.microsoft.com/office/drawing/2014/main" id="{5FD82D33-FC73-4137-A0A9-8EB43DA1A810}"/>
              </a:ext>
            </a:extLst>
          </p:cNvPr>
          <p:cNvSpPr>
            <a:spLocks noGrp="1"/>
          </p:cNvSpPr>
          <p:nvPr>
            <p:ph type="title"/>
          </p:nvPr>
        </p:nvSpPr>
        <p:spPr>
          <a:xfrm>
            <a:off x="288303" y="262267"/>
            <a:ext cx="6713538" cy="457818"/>
          </a:xfrm>
        </p:spPr>
        <p:txBody>
          <a:bodyPr/>
          <a:lstStyle/>
          <a:p>
            <a:r>
              <a:rPr lang="zh-CN" altLang="en-US"/>
              <a:t>单击此处编辑母版标题样式</a:t>
            </a:r>
            <a:endParaRPr lang="en-GB"/>
          </a:p>
        </p:txBody>
      </p:sp>
      <p:sp>
        <p:nvSpPr>
          <p:cNvPr id="3" name="Subtitle 2">
            <a:extLst>
              <a:ext uri="{FF2B5EF4-FFF2-40B4-BE49-F238E27FC236}">
                <a16:creationId xmlns:a16="http://schemas.microsoft.com/office/drawing/2014/main" id="{EA959997-A6D7-96D1-8672-5FCDE45DB7B3}"/>
              </a:ext>
            </a:extLst>
          </p:cNvPr>
          <p:cNvSpPr>
            <a:spLocks noGrp="1"/>
          </p:cNvSpPr>
          <p:nvPr>
            <p:ph type="subTitle" idx="22" hasCustomPrompt="1"/>
          </p:nvPr>
        </p:nvSpPr>
        <p:spPr>
          <a:xfrm>
            <a:off x="288302" y="713620"/>
            <a:ext cx="6713538"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282353433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able">
    <p:bg>
      <p:bgPr>
        <a:solidFill>
          <a:schemeClr val="bg1"/>
        </a:solidFill>
        <a:effectLst/>
      </p:bgPr>
    </p:bg>
    <p:spTree>
      <p:nvGrpSpPr>
        <p:cNvPr id="1" name=""/>
        <p:cNvGrpSpPr/>
        <p:nvPr/>
      </p:nvGrpSpPr>
      <p:grpSpPr>
        <a:xfrm>
          <a:off x="0" y="0"/>
          <a:ext cx="0" cy="0"/>
          <a:chOff x="0" y="0"/>
          <a:chExt cx="0" cy="0"/>
        </a:xfrm>
      </p:grpSpPr>
      <p:sp>
        <p:nvSpPr>
          <p:cNvPr id="7" name="Footer Placeholder 3">
            <a:extLst>
              <a:ext uri="{FF2B5EF4-FFF2-40B4-BE49-F238E27FC236}">
                <a16:creationId xmlns:a16="http://schemas.microsoft.com/office/drawing/2014/main" id="{B425E56B-E4E3-AAD1-76B4-3D67B284EB4B}"/>
              </a:ext>
            </a:extLst>
          </p:cNvPr>
          <p:cNvSpPr>
            <a:spLocks noGrp="1"/>
          </p:cNvSpPr>
          <p:nvPr>
            <p:ph type="ftr" sz="quarter" idx="11"/>
          </p:nvPr>
        </p:nvSpPr>
        <p:spPr>
          <a:xfrm>
            <a:off x="1266824" y="6413500"/>
            <a:ext cx="4754563" cy="153463"/>
          </a:xfrm>
        </p:spPr>
        <p:txBody>
          <a:bodyPr/>
          <a:lstStyle/>
          <a:p>
            <a:pPr>
              <a:spcBef>
                <a:spcPts val="0"/>
              </a:spcBef>
              <a:spcAft>
                <a:spcPts val="300"/>
              </a:spcAft>
            </a:pPr>
            <a:r>
              <a:rPr lang="en-US" b="0" i="0">
                <a:effectLst/>
              </a:rPr>
              <a:t>Job Aid and Guidance Document still under review.</a:t>
            </a:r>
          </a:p>
        </p:txBody>
      </p:sp>
      <p:sp>
        <p:nvSpPr>
          <p:cNvPr id="9" name="Slide Number Placeholder 4">
            <a:extLst>
              <a:ext uri="{FF2B5EF4-FFF2-40B4-BE49-F238E27FC236}">
                <a16:creationId xmlns:a16="http://schemas.microsoft.com/office/drawing/2014/main" id="{703E3838-150C-B34D-4F16-CEA95E3C0B04}"/>
              </a:ext>
            </a:extLst>
          </p:cNvPr>
          <p:cNvSpPr>
            <a:spLocks noGrp="1"/>
          </p:cNvSpPr>
          <p:nvPr>
            <p:ph type="sldNum" sz="quarter" idx="12"/>
          </p:nvPr>
        </p:nvSpPr>
        <p:spPr>
          <a:xfrm>
            <a:off x="11064874" y="6413500"/>
            <a:ext cx="837741" cy="153463"/>
          </a:xfrm>
        </p:spPr>
        <p:txBody>
          <a:bodyPr/>
          <a:lstStyle/>
          <a:p>
            <a:fld id="{AEC8D767-5246-2244-A4A3-B8AFB218393C}" type="slidenum">
              <a:rPr lang="en-GB" smtClean="0"/>
              <a:t>‹#›</a:t>
            </a:fld>
            <a:endParaRPr lang="en-GB"/>
          </a:p>
        </p:txBody>
      </p:sp>
      <p:sp>
        <p:nvSpPr>
          <p:cNvPr id="10" name="Table Placeholder 5">
            <a:extLst>
              <a:ext uri="{FF2B5EF4-FFF2-40B4-BE49-F238E27FC236}">
                <a16:creationId xmlns:a16="http://schemas.microsoft.com/office/drawing/2014/main" id="{AA00D851-11FE-02AE-0FE0-9A7CAC67EF7D}"/>
              </a:ext>
            </a:extLst>
          </p:cNvPr>
          <p:cNvSpPr>
            <a:spLocks noGrp="1"/>
          </p:cNvSpPr>
          <p:nvPr>
            <p:ph type="tbl" sz="quarter" idx="13"/>
          </p:nvPr>
        </p:nvSpPr>
        <p:spPr>
          <a:xfrm>
            <a:off x="292100" y="2847975"/>
            <a:ext cx="11610975" cy="3143518"/>
          </a:xfrm>
        </p:spPr>
        <p:txBody>
          <a:bodyPr/>
          <a:lstStyle/>
          <a:p>
            <a:r>
              <a:rPr lang="zh-CN" altLang="en-US"/>
              <a:t>单击图标添加表格</a:t>
            </a:r>
            <a:endParaRPr lang="en-GB"/>
          </a:p>
        </p:txBody>
      </p:sp>
      <p:sp>
        <p:nvSpPr>
          <p:cNvPr id="3" name="Title 2">
            <a:extLst>
              <a:ext uri="{FF2B5EF4-FFF2-40B4-BE49-F238E27FC236}">
                <a16:creationId xmlns:a16="http://schemas.microsoft.com/office/drawing/2014/main" id="{2CDD0AA4-DA06-999E-8621-24713C5D3AF7}"/>
              </a:ext>
            </a:extLst>
          </p:cNvPr>
          <p:cNvSpPr>
            <a:spLocks noGrp="1"/>
          </p:cNvSpPr>
          <p:nvPr>
            <p:ph type="title"/>
          </p:nvPr>
        </p:nvSpPr>
        <p:spPr>
          <a:xfrm>
            <a:off x="288303" y="262267"/>
            <a:ext cx="6713538" cy="457818"/>
          </a:xfrm>
        </p:spPr>
        <p:txBody>
          <a:bodyPr/>
          <a:lstStyle/>
          <a:p>
            <a:r>
              <a:rPr lang="zh-CN" altLang="en-US"/>
              <a:t>单击此处编辑母版标题样式</a:t>
            </a:r>
            <a:endParaRPr lang="en-GB"/>
          </a:p>
        </p:txBody>
      </p:sp>
      <p:sp>
        <p:nvSpPr>
          <p:cNvPr id="4" name="Text Placeholder 7">
            <a:extLst>
              <a:ext uri="{FF2B5EF4-FFF2-40B4-BE49-F238E27FC236}">
                <a16:creationId xmlns:a16="http://schemas.microsoft.com/office/drawing/2014/main" id="{AF1CADF7-2181-199A-E8E5-8BFDAFCB655B}"/>
              </a:ext>
            </a:extLst>
          </p:cNvPr>
          <p:cNvSpPr>
            <a:spLocks noGrp="1"/>
          </p:cNvSpPr>
          <p:nvPr>
            <p:ph type="body" sz="quarter" idx="15"/>
          </p:nvPr>
        </p:nvSpPr>
        <p:spPr>
          <a:xfrm>
            <a:off x="8124205" y="293525"/>
            <a:ext cx="3778870" cy="878050"/>
          </a:xfrm>
        </p:spPr>
        <p:txBody>
          <a:bodyPr/>
          <a:lstStyle>
            <a:lvl1pPr>
              <a:defRPr sz="1400"/>
            </a:lvl1pPr>
            <a:lvl2pPr>
              <a:defRPr sz="1400"/>
            </a:lvl2pPr>
            <a:lvl3pPr>
              <a:defRPr sz="1200"/>
            </a:lvl3pPr>
          </a:lstStyle>
          <a:p>
            <a:pPr lvl="0"/>
            <a:r>
              <a:rPr lang="zh-CN" altLang="en-US"/>
              <a:t>单击此处编辑母版文本样式</a:t>
            </a:r>
          </a:p>
          <a:p>
            <a:pPr lvl="1"/>
            <a:r>
              <a:rPr lang="zh-CN" altLang="en-US"/>
              <a:t>二级</a:t>
            </a:r>
          </a:p>
          <a:p>
            <a:pPr lvl="2"/>
            <a:r>
              <a:rPr lang="zh-CN" altLang="en-US"/>
              <a:t>三级</a:t>
            </a:r>
          </a:p>
        </p:txBody>
      </p:sp>
      <p:sp>
        <p:nvSpPr>
          <p:cNvPr id="5" name="Subtitle 2">
            <a:extLst>
              <a:ext uri="{FF2B5EF4-FFF2-40B4-BE49-F238E27FC236}">
                <a16:creationId xmlns:a16="http://schemas.microsoft.com/office/drawing/2014/main" id="{4BE7CDC5-71B1-1F0B-9FBF-16B0C3648775}"/>
              </a:ext>
            </a:extLst>
          </p:cNvPr>
          <p:cNvSpPr>
            <a:spLocks noGrp="1"/>
          </p:cNvSpPr>
          <p:nvPr>
            <p:ph type="subTitle" idx="16" hasCustomPrompt="1"/>
          </p:nvPr>
        </p:nvSpPr>
        <p:spPr>
          <a:xfrm>
            <a:off x="288302" y="713620"/>
            <a:ext cx="6713538"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253017858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仅标题">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pPr>
              <a:spcBef>
                <a:spcPts val="0"/>
              </a:spcBef>
              <a:spcAft>
                <a:spcPts val="300"/>
              </a:spcAft>
            </a:pPr>
            <a:r>
              <a:rPr lang="en-US" b="0" i="0">
                <a:effectLst/>
              </a:rPr>
              <a:t>Job Aid and Guidance Document still under review.</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pPr/>
              <a:t>‹#›</a:t>
            </a:fld>
            <a:endParaRPr lang="en-GB"/>
          </a:p>
        </p:txBody>
      </p:sp>
      <p:sp>
        <p:nvSpPr>
          <p:cNvPr id="3" name="Text Placeholder 7">
            <a:extLst>
              <a:ext uri="{FF2B5EF4-FFF2-40B4-BE49-F238E27FC236}">
                <a16:creationId xmlns:a16="http://schemas.microsoft.com/office/drawing/2014/main" id="{17F42810-DCAF-7A30-3A4F-E23EA682FA39}"/>
              </a:ext>
            </a:extLst>
          </p:cNvPr>
          <p:cNvSpPr>
            <a:spLocks noGrp="1"/>
          </p:cNvSpPr>
          <p:nvPr>
            <p:ph type="body" sz="quarter" idx="14"/>
          </p:nvPr>
        </p:nvSpPr>
        <p:spPr>
          <a:xfrm>
            <a:off x="8124825" y="293525"/>
            <a:ext cx="3778250" cy="878050"/>
          </a:xfrm>
        </p:spPr>
        <p:txBody>
          <a:bodyPr/>
          <a:lstStyle>
            <a:lvl1pPr>
              <a:defRPr sz="1400"/>
            </a:lvl1pPr>
            <a:lvl2pPr>
              <a:defRPr sz="1400"/>
            </a:lvl2pPr>
            <a:lvl3pPr>
              <a:defRPr sz="1200"/>
            </a:lvl3pPr>
          </a:lstStyle>
          <a:p>
            <a:pPr lvl="0"/>
            <a:r>
              <a:rPr lang="zh-CN" altLang="en-US"/>
              <a:t>单击此处编辑母版文本样式</a:t>
            </a:r>
          </a:p>
          <a:p>
            <a:pPr lvl="1"/>
            <a:r>
              <a:rPr lang="zh-CN" altLang="en-US"/>
              <a:t>二级</a:t>
            </a:r>
          </a:p>
          <a:p>
            <a:pPr lvl="2"/>
            <a:r>
              <a:rPr lang="zh-CN" altLang="en-US"/>
              <a:t>三级</a:t>
            </a:r>
          </a:p>
        </p:txBody>
      </p:sp>
      <p:sp>
        <p:nvSpPr>
          <p:cNvPr id="7" name="Title 6">
            <a:extLst>
              <a:ext uri="{FF2B5EF4-FFF2-40B4-BE49-F238E27FC236}">
                <a16:creationId xmlns:a16="http://schemas.microsoft.com/office/drawing/2014/main" id="{5373482F-4FA8-181D-CA6D-04D8D98AD13B}"/>
              </a:ext>
            </a:extLst>
          </p:cNvPr>
          <p:cNvSpPr>
            <a:spLocks noGrp="1"/>
          </p:cNvSpPr>
          <p:nvPr>
            <p:ph type="title"/>
          </p:nvPr>
        </p:nvSpPr>
        <p:spPr>
          <a:xfrm>
            <a:off x="288303" y="262267"/>
            <a:ext cx="6713538" cy="457818"/>
          </a:xfrm>
        </p:spPr>
        <p:txBody>
          <a:bodyPr/>
          <a:lstStyle/>
          <a:p>
            <a:r>
              <a:rPr lang="zh-CN" altLang="en-US"/>
              <a:t>单击此处编辑母版标题样式</a:t>
            </a:r>
            <a:endParaRPr lang="en-GB"/>
          </a:p>
        </p:txBody>
      </p:sp>
      <p:sp>
        <p:nvSpPr>
          <p:cNvPr id="6" name="Subtitle 2">
            <a:extLst>
              <a:ext uri="{FF2B5EF4-FFF2-40B4-BE49-F238E27FC236}">
                <a16:creationId xmlns:a16="http://schemas.microsoft.com/office/drawing/2014/main" id="{64BCB963-058E-5C5B-947F-AC1D9DD6C9FB}"/>
              </a:ext>
            </a:extLst>
          </p:cNvPr>
          <p:cNvSpPr>
            <a:spLocks noGrp="1"/>
          </p:cNvSpPr>
          <p:nvPr>
            <p:ph type="subTitle" idx="16" hasCustomPrompt="1"/>
          </p:nvPr>
        </p:nvSpPr>
        <p:spPr>
          <a:xfrm>
            <a:off x="288302" y="713620"/>
            <a:ext cx="6713538"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2906297841"/>
      </p:ext>
    </p:extLst>
  </p:cSld>
  <p:clrMapOvr>
    <a:masterClrMapping/>
  </p:clrMapOvr>
  <p:hf hdr="0" dt="0"/>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15D6A6F-0428-2EB9-8170-122B4D25678A}"/>
              </a:ext>
            </a:extLst>
          </p:cNvPr>
          <p:cNvSpPr>
            <a:spLocks noGrp="1"/>
          </p:cNvSpPr>
          <p:nvPr>
            <p:ph type="ftr" sz="quarter" idx="11"/>
          </p:nvPr>
        </p:nvSpPr>
        <p:spPr/>
        <p:txBody>
          <a:bodyPr/>
          <a:lstStyle/>
          <a:p>
            <a:pPr>
              <a:spcBef>
                <a:spcPts val="0"/>
              </a:spcBef>
              <a:spcAft>
                <a:spcPts val="300"/>
              </a:spcAft>
            </a:pPr>
            <a:r>
              <a:rPr lang="en-US" b="0" i="0">
                <a:effectLst/>
              </a:rPr>
              <a:t>Job Aid and Guidance Document still under review.</a:t>
            </a:r>
          </a:p>
        </p:txBody>
      </p:sp>
      <p:sp>
        <p:nvSpPr>
          <p:cNvPr id="4" name="Slide Number Placeholder 3">
            <a:extLst>
              <a:ext uri="{FF2B5EF4-FFF2-40B4-BE49-F238E27FC236}">
                <a16:creationId xmlns:a16="http://schemas.microsoft.com/office/drawing/2014/main" id="{6BF06E5F-8043-3DC0-2D79-119BF990830B}"/>
              </a:ext>
            </a:extLst>
          </p:cNvPr>
          <p:cNvSpPr>
            <a:spLocks noGrp="1"/>
          </p:cNvSpPr>
          <p:nvPr>
            <p:ph type="sldNum" sz="quarter" idx="12"/>
          </p:nvPr>
        </p:nvSpPr>
        <p:spPr/>
        <p:txBody>
          <a:bodyPr/>
          <a:lstStyle/>
          <a:p>
            <a:fld id="{AEC8D767-5246-2244-A4A3-B8AFB218393C}" type="slidenum">
              <a:rPr lang="en-GB" smtClean="0"/>
              <a:pPr/>
              <a:t>‹#›</a:t>
            </a:fld>
            <a:endParaRPr lang="en-GB"/>
          </a:p>
        </p:txBody>
      </p:sp>
    </p:spTree>
    <p:extLst>
      <p:ext uri="{BB962C8B-B14F-4D97-AF65-F5344CB8AC3E}">
        <p14:creationId xmlns:p14="http://schemas.microsoft.com/office/powerpoint/2010/main" val="3513248196"/>
      </p:ext>
    </p:extLst>
  </p:cSld>
  <p:clrMapOvr>
    <a:masterClrMapping/>
  </p:clrMapOvr>
  <p:hf hdr="0" dt="0"/>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Full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0" y="0"/>
            <a:ext cx="12192000" cy="6858000"/>
          </a:xfrm>
          <a:solidFill>
            <a:srgbClr val="F6F3F2"/>
          </a:solidFill>
        </p:spPr>
        <p:txBody>
          <a:bodyPr vert="horz" lIns="0" tIns="0" rIns="0" bIns="0" rtlCol="0" anchor="ctr">
            <a:noAutofit/>
          </a:bodyPr>
          <a:lstStyle>
            <a:lvl1pPr algn="ct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 If using a title or subtitle over the image ensure the text is legible.</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0" name="Freeform 29">
            <a:extLst>
              <a:ext uri="{FF2B5EF4-FFF2-40B4-BE49-F238E27FC236}">
                <a16:creationId xmlns:a16="http://schemas.microsoft.com/office/drawing/2014/main" id="{1B94300B-C77D-1F3F-A75F-F3E8D1A2D0B2}"/>
              </a:ext>
            </a:extLst>
          </p:cNvPr>
          <p:cNvSpPr txBox="1">
            <a:spLocks/>
          </p:cNvSpPr>
          <p:nvPr/>
        </p:nvSpPr>
        <p:spPr>
          <a:xfrm>
            <a:off x="114300" y="6096000"/>
            <a:ext cx="1009650" cy="660400"/>
          </a:xfrm>
          <a:custGeom>
            <a:avLst/>
            <a:gdLst>
              <a:gd name="connsiteX0" fmla="*/ 0 w 1009650"/>
              <a:gd name="connsiteY0" fmla="*/ 0 h 660400"/>
              <a:gd name="connsiteX1" fmla="*/ 1009650 w 1009650"/>
              <a:gd name="connsiteY1" fmla="*/ 0 h 660400"/>
              <a:gd name="connsiteX2" fmla="*/ 1009650 w 1009650"/>
              <a:gd name="connsiteY2" fmla="*/ 660400 h 660400"/>
              <a:gd name="connsiteX3" fmla="*/ 0 w 1009650"/>
              <a:gd name="connsiteY3" fmla="*/ 660400 h 660400"/>
              <a:gd name="connsiteX4" fmla="*/ 0 w 1009650"/>
              <a:gd name="connsiteY4" fmla="*/ 0 h 660400"/>
              <a:gd name="connsiteX5" fmla="*/ 334111 w 1009650"/>
              <a:gd name="connsiteY5" fmla="*/ 317500 h 660400"/>
              <a:gd name="connsiteX6" fmla="*/ 290920 w 1009650"/>
              <a:gd name="connsiteY6" fmla="*/ 353764 h 660400"/>
              <a:gd name="connsiteX7" fmla="*/ 307700 w 1009650"/>
              <a:gd name="connsiteY7" fmla="*/ 388779 h 660400"/>
              <a:gd name="connsiteX8" fmla="*/ 307903 w 1009650"/>
              <a:gd name="connsiteY8" fmla="*/ 389200 h 660400"/>
              <a:gd name="connsiteX9" fmla="*/ 277918 w 1009650"/>
              <a:gd name="connsiteY9" fmla="*/ 431331 h 660400"/>
              <a:gd name="connsiteX10" fmla="*/ 320063 w 1009650"/>
              <a:gd name="connsiteY10" fmla="*/ 470950 h 660400"/>
              <a:gd name="connsiteX11" fmla="*/ 367452 w 1009650"/>
              <a:gd name="connsiteY11" fmla="*/ 453972 h 660400"/>
              <a:gd name="connsiteX12" fmla="*/ 380033 w 1009650"/>
              <a:gd name="connsiteY12" fmla="*/ 467595 h 660400"/>
              <a:gd name="connsiteX13" fmla="*/ 412953 w 1009650"/>
              <a:gd name="connsiteY13" fmla="*/ 467595 h 660400"/>
              <a:gd name="connsiteX14" fmla="*/ 412953 w 1009650"/>
              <a:gd name="connsiteY14" fmla="*/ 466549 h 660400"/>
              <a:gd name="connsiteX15" fmla="*/ 386106 w 1009650"/>
              <a:gd name="connsiteY15" fmla="*/ 436995 h 660400"/>
              <a:gd name="connsiteX16" fmla="*/ 386120 w 1009650"/>
              <a:gd name="connsiteY16" fmla="*/ 436995 h 660400"/>
              <a:gd name="connsiteX17" fmla="*/ 403945 w 1009650"/>
              <a:gd name="connsiteY17" fmla="*/ 396113 h 660400"/>
              <a:gd name="connsiteX18" fmla="*/ 376474 w 1009650"/>
              <a:gd name="connsiteY18" fmla="*/ 369492 h 660400"/>
              <a:gd name="connsiteX19" fmla="*/ 351312 w 1009650"/>
              <a:gd name="connsiteY19" fmla="*/ 374518 h 660400"/>
              <a:gd name="connsiteX20" fmla="*/ 350891 w 1009650"/>
              <a:gd name="connsiteY20" fmla="*/ 373675 h 660400"/>
              <a:gd name="connsiteX21" fmla="*/ 373539 w 1009650"/>
              <a:gd name="connsiteY21" fmla="*/ 346009 h 660400"/>
              <a:gd name="connsiteX22" fmla="*/ 334111 w 1009650"/>
              <a:gd name="connsiteY22" fmla="*/ 317500 h 660400"/>
              <a:gd name="connsiteX23" fmla="*/ 494539 w 1009650"/>
              <a:gd name="connsiteY23" fmla="*/ 320869 h 660400"/>
              <a:gd name="connsiteX24" fmla="*/ 494539 w 1009650"/>
              <a:gd name="connsiteY24" fmla="*/ 429253 h 660400"/>
              <a:gd name="connsiteX25" fmla="*/ 471890 w 1009650"/>
              <a:gd name="connsiteY25" fmla="*/ 457341 h 660400"/>
              <a:gd name="connsiteX26" fmla="*/ 449242 w 1009650"/>
              <a:gd name="connsiteY26" fmla="*/ 427148 h 660400"/>
              <a:gd name="connsiteX27" fmla="*/ 449242 w 1009650"/>
              <a:gd name="connsiteY27" fmla="*/ 407019 h 660400"/>
              <a:gd name="connsiteX28" fmla="*/ 423238 w 1009650"/>
              <a:gd name="connsiteY28" fmla="*/ 413511 h 660400"/>
              <a:gd name="connsiteX29" fmla="*/ 423238 w 1009650"/>
              <a:gd name="connsiteY29" fmla="*/ 422530 h 660400"/>
              <a:gd name="connsiteX30" fmla="*/ 471890 w 1009650"/>
              <a:gd name="connsiteY30" fmla="*/ 470950 h 660400"/>
              <a:gd name="connsiteX31" fmla="*/ 471890 w 1009650"/>
              <a:gd name="connsiteY31" fmla="*/ 470963 h 660400"/>
              <a:gd name="connsiteX32" fmla="*/ 520543 w 1009650"/>
              <a:gd name="connsiteY32" fmla="*/ 422543 h 660400"/>
              <a:gd name="connsiteX33" fmla="*/ 520543 w 1009650"/>
              <a:gd name="connsiteY33" fmla="*/ 320869 h 660400"/>
              <a:gd name="connsiteX34" fmla="*/ 494539 w 1009650"/>
              <a:gd name="connsiteY34" fmla="*/ 320869 h 660400"/>
              <a:gd name="connsiteX35" fmla="*/ 231154 w 1009650"/>
              <a:gd name="connsiteY35" fmla="*/ 320869 h 660400"/>
              <a:gd name="connsiteX36" fmla="*/ 231154 w 1009650"/>
              <a:gd name="connsiteY36" fmla="*/ 429253 h 660400"/>
              <a:gd name="connsiteX37" fmla="*/ 208506 w 1009650"/>
              <a:gd name="connsiteY37" fmla="*/ 457341 h 660400"/>
              <a:gd name="connsiteX38" fmla="*/ 185857 w 1009650"/>
              <a:gd name="connsiteY38" fmla="*/ 427148 h 660400"/>
              <a:gd name="connsiteX39" fmla="*/ 185857 w 1009650"/>
              <a:gd name="connsiteY39" fmla="*/ 407019 h 660400"/>
              <a:gd name="connsiteX40" fmla="*/ 159853 w 1009650"/>
              <a:gd name="connsiteY40" fmla="*/ 413511 h 660400"/>
              <a:gd name="connsiteX41" fmla="*/ 159853 w 1009650"/>
              <a:gd name="connsiteY41" fmla="*/ 422530 h 660400"/>
              <a:gd name="connsiteX42" fmla="*/ 208506 w 1009650"/>
              <a:gd name="connsiteY42" fmla="*/ 470950 h 660400"/>
              <a:gd name="connsiteX43" fmla="*/ 257158 w 1009650"/>
              <a:gd name="connsiteY43" fmla="*/ 422530 h 660400"/>
              <a:gd name="connsiteX44" fmla="*/ 257158 w 1009650"/>
              <a:gd name="connsiteY44" fmla="*/ 320869 h 660400"/>
              <a:gd name="connsiteX45" fmla="*/ 231154 w 1009650"/>
              <a:gd name="connsiteY45" fmla="*/ 320869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9650" h="660400">
                <a:moveTo>
                  <a:pt x="0" y="0"/>
                </a:moveTo>
                <a:lnTo>
                  <a:pt x="1009650" y="0"/>
                </a:lnTo>
                <a:lnTo>
                  <a:pt x="1009650" y="660400"/>
                </a:lnTo>
                <a:lnTo>
                  <a:pt x="0" y="660400"/>
                </a:lnTo>
                <a:lnTo>
                  <a:pt x="0" y="0"/>
                </a:lnTo>
                <a:close/>
                <a:moveTo>
                  <a:pt x="334111" y="317500"/>
                </a:moveTo>
                <a:cubicBezTo>
                  <a:pt x="305173" y="317500"/>
                  <a:pt x="290920" y="333636"/>
                  <a:pt x="290920" y="353764"/>
                </a:cubicBezTo>
                <a:cubicBezTo>
                  <a:pt x="290920" y="364670"/>
                  <a:pt x="295540" y="375563"/>
                  <a:pt x="307700" y="388779"/>
                </a:cubicBezTo>
                <a:lnTo>
                  <a:pt x="307903" y="389200"/>
                </a:lnTo>
                <a:cubicBezTo>
                  <a:pt x="287347" y="399047"/>
                  <a:pt x="277918" y="414978"/>
                  <a:pt x="277918" y="431331"/>
                </a:cubicBezTo>
                <a:cubicBezTo>
                  <a:pt x="277918" y="452926"/>
                  <a:pt x="294480" y="470950"/>
                  <a:pt x="320063" y="470950"/>
                </a:cubicBezTo>
                <a:cubicBezTo>
                  <a:pt x="334736" y="470950"/>
                  <a:pt x="351937" y="464865"/>
                  <a:pt x="367452" y="453972"/>
                </a:cubicBezTo>
                <a:lnTo>
                  <a:pt x="380033" y="467595"/>
                </a:lnTo>
                <a:lnTo>
                  <a:pt x="412953" y="467595"/>
                </a:lnTo>
                <a:lnTo>
                  <a:pt x="412953" y="466549"/>
                </a:lnTo>
                <a:lnTo>
                  <a:pt x="386106" y="436995"/>
                </a:lnTo>
                <a:lnTo>
                  <a:pt x="386120" y="436995"/>
                </a:lnTo>
                <a:cubicBezTo>
                  <a:pt x="397437" y="423576"/>
                  <a:pt x="403945" y="408907"/>
                  <a:pt x="403945" y="396113"/>
                </a:cubicBezTo>
                <a:cubicBezTo>
                  <a:pt x="403945" y="380181"/>
                  <a:pt x="393253" y="369492"/>
                  <a:pt x="376474" y="369492"/>
                </a:cubicBezTo>
                <a:cubicBezTo>
                  <a:pt x="367670" y="369492"/>
                  <a:pt x="357806" y="372005"/>
                  <a:pt x="351312" y="374518"/>
                </a:cubicBezTo>
                <a:lnTo>
                  <a:pt x="350891" y="373675"/>
                </a:lnTo>
                <a:cubicBezTo>
                  <a:pt x="366827" y="365078"/>
                  <a:pt x="373539" y="357119"/>
                  <a:pt x="373539" y="346009"/>
                </a:cubicBezTo>
                <a:cubicBezTo>
                  <a:pt x="373539" y="330077"/>
                  <a:pt x="359273" y="317500"/>
                  <a:pt x="334111" y="317500"/>
                </a:cubicBezTo>
                <a:close/>
                <a:moveTo>
                  <a:pt x="494539" y="320869"/>
                </a:moveTo>
                <a:lnTo>
                  <a:pt x="494539" y="429253"/>
                </a:lnTo>
                <a:cubicBezTo>
                  <a:pt x="494539" y="446855"/>
                  <a:pt x="487827" y="457341"/>
                  <a:pt x="471890" y="457341"/>
                </a:cubicBezTo>
                <a:cubicBezTo>
                  <a:pt x="455954" y="457341"/>
                  <a:pt x="449242" y="446230"/>
                  <a:pt x="449242" y="427148"/>
                </a:cubicBezTo>
                <a:lnTo>
                  <a:pt x="449242" y="407019"/>
                </a:lnTo>
                <a:lnTo>
                  <a:pt x="423238" y="413511"/>
                </a:lnTo>
                <a:lnTo>
                  <a:pt x="423238" y="422530"/>
                </a:lnTo>
                <a:cubicBezTo>
                  <a:pt x="423238" y="449993"/>
                  <a:pt x="436865" y="470950"/>
                  <a:pt x="471890" y="470950"/>
                </a:cubicBezTo>
                <a:lnTo>
                  <a:pt x="471890" y="470963"/>
                </a:lnTo>
                <a:cubicBezTo>
                  <a:pt x="506916" y="470963"/>
                  <a:pt x="520543" y="450006"/>
                  <a:pt x="520543" y="422543"/>
                </a:cubicBezTo>
                <a:lnTo>
                  <a:pt x="520543" y="320869"/>
                </a:lnTo>
                <a:lnTo>
                  <a:pt x="494539" y="320869"/>
                </a:lnTo>
                <a:close/>
                <a:moveTo>
                  <a:pt x="231154" y="320869"/>
                </a:moveTo>
                <a:lnTo>
                  <a:pt x="231154" y="429253"/>
                </a:lnTo>
                <a:cubicBezTo>
                  <a:pt x="231154" y="446855"/>
                  <a:pt x="224443" y="457341"/>
                  <a:pt x="208506" y="457341"/>
                </a:cubicBezTo>
                <a:cubicBezTo>
                  <a:pt x="192569" y="457341"/>
                  <a:pt x="185857" y="446230"/>
                  <a:pt x="185857" y="427148"/>
                </a:cubicBezTo>
                <a:lnTo>
                  <a:pt x="185857" y="407019"/>
                </a:lnTo>
                <a:lnTo>
                  <a:pt x="159853" y="413511"/>
                </a:lnTo>
                <a:lnTo>
                  <a:pt x="159853" y="422530"/>
                </a:lnTo>
                <a:cubicBezTo>
                  <a:pt x="159853" y="449993"/>
                  <a:pt x="173480" y="470950"/>
                  <a:pt x="208506" y="470950"/>
                </a:cubicBezTo>
                <a:cubicBezTo>
                  <a:pt x="243531" y="470950"/>
                  <a:pt x="257158" y="449993"/>
                  <a:pt x="257158" y="422530"/>
                </a:cubicBezTo>
                <a:lnTo>
                  <a:pt x="257158" y="320869"/>
                </a:lnTo>
                <a:lnTo>
                  <a:pt x="231154" y="320869"/>
                </a:lnTo>
                <a:close/>
              </a:path>
            </a:pathLst>
          </a:custGeom>
        </p:spPr>
        <p:txBody>
          <a:bodyPr vert="horz" wrap="square"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sz="1400" kern="1200">
                <a:solidFill>
                  <a:schemeClr val="tx1"/>
                </a:solidFill>
                <a:latin typeface="Basel Grotesk" panose="020B0503020202020204" pitchFamily="34" charset="0"/>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400" kern="1200">
                <a:solidFill>
                  <a:schemeClr val="tx1"/>
                </a:solidFill>
                <a:latin typeface="Basel Grotesk" panose="020B0503020202020204" pitchFamily="34" charset="0"/>
                <a:ea typeface="+mn-ea"/>
                <a:cs typeface="+mn-cs"/>
              </a:defRPr>
            </a:lvl2pPr>
            <a:lvl3pPr marL="546100" indent="-260350" algn="l" defTabSz="914400" rtl="0" eaLnBrk="1" latinLnBrk="0" hangingPunct="1">
              <a:lnSpc>
                <a:spcPct val="110000"/>
              </a:lnSpc>
              <a:spcBef>
                <a:spcPts val="0"/>
              </a:spcBef>
              <a:spcAft>
                <a:spcPts val="600"/>
              </a:spcAft>
              <a:buFont typeface="Arial" panose="020B0604020202020204" pitchFamily="34" charset="0"/>
              <a:buChar char="•"/>
              <a:tabLst/>
              <a:defRPr sz="1200" kern="1200">
                <a:solidFill>
                  <a:schemeClr val="tx1"/>
                </a:solidFill>
                <a:latin typeface="Basel Grotesk" panose="020B0503020202020204" pitchFamily="34" charset="0"/>
                <a:ea typeface="+mn-ea"/>
                <a:cs typeface="+mn-cs"/>
              </a:defRPr>
            </a:lvl3pPr>
            <a:lvl4pPr marL="0" indent="0" algn="l" defTabSz="914400" rtl="0" eaLnBrk="1" latinLnBrk="0" hangingPunct="1">
              <a:lnSpc>
                <a:spcPct val="85000"/>
              </a:lnSpc>
              <a:spcBef>
                <a:spcPts val="600"/>
              </a:spcBef>
              <a:spcAft>
                <a:spcPts val="0"/>
              </a:spcAft>
              <a:buFont typeface="Arial" panose="020B0604020202020204" pitchFamily="34" charset="0"/>
              <a:buNone/>
              <a:tabLst/>
              <a:defRPr sz="4500" kern="1200">
                <a:solidFill>
                  <a:schemeClr val="tx2"/>
                </a:solidFill>
                <a:latin typeface="Johnson Display BETA Display" pitchFamily="2" charset="77"/>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1400" kern="1200">
                <a:solidFill>
                  <a:schemeClr val="tx1"/>
                </a:solidFill>
                <a:latin typeface="Basel Grotesk"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b="0" i="0">
              <a:latin typeface="Johnson Text" pitchFamily="2" charset="77"/>
            </a:endParaRPr>
          </a:p>
        </p:txBody>
      </p:sp>
      <p:sp>
        <p:nvSpPr>
          <p:cNvPr id="3" name="Title 2">
            <a:extLst>
              <a:ext uri="{FF2B5EF4-FFF2-40B4-BE49-F238E27FC236}">
                <a16:creationId xmlns:a16="http://schemas.microsoft.com/office/drawing/2014/main" id="{10079C00-CC52-F9ED-ED36-A8FC0573506A}"/>
              </a:ext>
            </a:extLst>
          </p:cNvPr>
          <p:cNvSpPr>
            <a:spLocks noGrp="1"/>
          </p:cNvSpPr>
          <p:nvPr>
            <p:ph type="title"/>
          </p:nvPr>
        </p:nvSpPr>
        <p:spPr/>
        <p:txBody>
          <a:bodyPr/>
          <a:lstStyle>
            <a:lvl1pPr>
              <a:defRPr>
                <a:solidFill>
                  <a:schemeClr val="tx1"/>
                </a:solidFill>
              </a:defRPr>
            </a:lvl1pPr>
          </a:lstStyle>
          <a:p>
            <a:r>
              <a:rPr lang="zh-CN" altLang="en-US"/>
              <a:t>单击此处编辑母版标题样式</a:t>
            </a:r>
            <a:endParaRPr lang="en-US"/>
          </a:p>
        </p:txBody>
      </p:sp>
      <p:sp>
        <p:nvSpPr>
          <p:cNvPr id="7" name="Subtitle 2">
            <a:extLst>
              <a:ext uri="{FF2B5EF4-FFF2-40B4-BE49-F238E27FC236}">
                <a16:creationId xmlns:a16="http://schemas.microsoft.com/office/drawing/2014/main" id="{295A4114-449A-5D28-03F8-03221E42A657}"/>
              </a:ext>
            </a:extLst>
          </p:cNvPr>
          <p:cNvSpPr>
            <a:spLocks noGrp="1"/>
          </p:cNvSpPr>
          <p:nvPr>
            <p:ph type="subTitle" idx="16" hasCustomPrompt="1"/>
          </p:nvPr>
        </p:nvSpPr>
        <p:spPr>
          <a:xfrm>
            <a:off x="288301" y="713620"/>
            <a:ext cx="9649445"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272784547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Image and Captio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3225800" y="0"/>
            <a:ext cx="8966200" cy="6858000"/>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289384" y="2338387"/>
            <a:ext cx="2793541" cy="3932237"/>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2" name="Title 1">
            <a:extLst>
              <a:ext uri="{FF2B5EF4-FFF2-40B4-BE49-F238E27FC236}">
                <a16:creationId xmlns:a16="http://schemas.microsoft.com/office/drawing/2014/main" id="{52A37889-B558-B868-1094-BA62A7B3E70A}"/>
              </a:ext>
            </a:extLst>
          </p:cNvPr>
          <p:cNvSpPr>
            <a:spLocks noGrp="1"/>
          </p:cNvSpPr>
          <p:nvPr>
            <p:ph type="title"/>
          </p:nvPr>
        </p:nvSpPr>
        <p:spPr>
          <a:xfrm>
            <a:off x="288303" y="262800"/>
            <a:ext cx="2793541" cy="1934833"/>
          </a:xfrm>
        </p:spPr>
        <p:txBody>
          <a:bodyPr/>
          <a:lstStyle/>
          <a:p>
            <a:r>
              <a:rPr lang="zh-CN" altLang="en-US"/>
              <a:t>单击此处编辑母版标题样式</a:t>
            </a:r>
            <a:endParaRPr lang="en-GB"/>
          </a:p>
        </p:txBody>
      </p:sp>
    </p:spTree>
    <p:extLst>
      <p:ext uri="{BB962C8B-B14F-4D97-AF65-F5344CB8AC3E}">
        <p14:creationId xmlns:p14="http://schemas.microsoft.com/office/powerpoint/2010/main" val="257925767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Image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6170614" y="0"/>
            <a:ext cx="6021385" cy="6858000"/>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r>
              <a:rPr lang="en-US"/>
              <a:t>Job Aid and Guidance Document still under review.</a:t>
            </a:r>
            <a:endParaRPr lang="en-GB"/>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289384" y="2338387"/>
            <a:ext cx="5732003" cy="3932237"/>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7" name="Subtitle 2">
            <a:extLst>
              <a:ext uri="{FF2B5EF4-FFF2-40B4-BE49-F238E27FC236}">
                <a16:creationId xmlns:a16="http://schemas.microsoft.com/office/drawing/2014/main" id="{42BB7518-D6BA-C538-D249-365B42C98C35}"/>
              </a:ext>
            </a:extLst>
          </p:cNvPr>
          <p:cNvSpPr>
            <a:spLocks noGrp="1"/>
          </p:cNvSpPr>
          <p:nvPr>
            <p:ph type="subTitle" idx="16" hasCustomPrompt="1"/>
          </p:nvPr>
        </p:nvSpPr>
        <p:spPr>
          <a:xfrm>
            <a:off x="288302" y="713620"/>
            <a:ext cx="5732003"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
        <p:nvSpPr>
          <p:cNvPr id="9" name="Title 8">
            <a:extLst>
              <a:ext uri="{FF2B5EF4-FFF2-40B4-BE49-F238E27FC236}">
                <a16:creationId xmlns:a16="http://schemas.microsoft.com/office/drawing/2014/main" id="{80AE2DF2-849C-72E8-013B-74CCFF6C4882}"/>
              </a:ext>
            </a:extLst>
          </p:cNvPr>
          <p:cNvSpPr>
            <a:spLocks noGrp="1"/>
          </p:cNvSpPr>
          <p:nvPr>
            <p:ph type="title" hasCustomPrompt="1"/>
          </p:nvPr>
        </p:nvSpPr>
        <p:spPr>
          <a:xfrm>
            <a:off x="288303" y="262267"/>
            <a:ext cx="5732002" cy="468590"/>
          </a:xfrm>
        </p:spPr>
        <p:txBody>
          <a:bodyPr/>
          <a:lstStyle/>
          <a:p>
            <a:r>
              <a:rPr lang="en-GB"/>
              <a:t>Master title style</a:t>
            </a:r>
          </a:p>
        </p:txBody>
      </p:sp>
    </p:spTree>
    <p:extLst>
      <p:ext uri="{BB962C8B-B14F-4D97-AF65-F5344CB8AC3E}">
        <p14:creationId xmlns:p14="http://schemas.microsoft.com/office/powerpoint/2010/main" val="394085098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Image and Content Right S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0" y="0"/>
            <a:ext cx="6021385" cy="6858000"/>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0" name="Freeform 29">
            <a:extLst>
              <a:ext uri="{FF2B5EF4-FFF2-40B4-BE49-F238E27FC236}">
                <a16:creationId xmlns:a16="http://schemas.microsoft.com/office/drawing/2014/main" id="{1B94300B-C77D-1F3F-A75F-F3E8D1A2D0B2}"/>
              </a:ext>
            </a:extLst>
          </p:cNvPr>
          <p:cNvSpPr txBox="1">
            <a:spLocks/>
          </p:cNvSpPr>
          <p:nvPr/>
        </p:nvSpPr>
        <p:spPr>
          <a:xfrm>
            <a:off x="114300" y="6096000"/>
            <a:ext cx="1009650" cy="660400"/>
          </a:xfrm>
          <a:custGeom>
            <a:avLst/>
            <a:gdLst>
              <a:gd name="connsiteX0" fmla="*/ 0 w 1009650"/>
              <a:gd name="connsiteY0" fmla="*/ 0 h 660400"/>
              <a:gd name="connsiteX1" fmla="*/ 1009650 w 1009650"/>
              <a:gd name="connsiteY1" fmla="*/ 0 h 660400"/>
              <a:gd name="connsiteX2" fmla="*/ 1009650 w 1009650"/>
              <a:gd name="connsiteY2" fmla="*/ 660400 h 660400"/>
              <a:gd name="connsiteX3" fmla="*/ 0 w 1009650"/>
              <a:gd name="connsiteY3" fmla="*/ 660400 h 660400"/>
              <a:gd name="connsiteX4" fmla="*/ 0 w 1009650"/>
              <a:gd name="connsiteY4" fmla="*/ 0 h 660400"/>
              <a:gd name="connsiteX5" fmla="*/ 334111 w 1009650"/>
              <a:gd name="connsiteY5" fmla="*/ 317500 h 660400"/>
              <a:gd name="connsiteX6" fmla="*/ 290920 w 1009650"/>
              <a:gd name="connsiteY6" fmla="*/ 353764 h 660400"/>
              <a:gd name="connsiteX7" fmla="*/ 307700 w 1009650"/>
              <a:gd name="connsiteY7" fmla="*/ 388779 h 660400"/>
              <a:gd name="connsiteX8" fmla="*/ 307903 w 1009650"/>
              <a:gd name="connsiteY8" fmla="*/ 389200 h 660400"/>
              <a:gd name="connsiteX9" fmla="*/ 277918 w 1009650"/>
              <a:gd name="connsiteY9" fmla="*/ 431331 h 660400"/>
              <a:gd name="connsiteX10" fmla="*/ 320063 w 1009650"/>
              <a:gd name="connsiteY10" fmla="*/ 470950 h 660400"/>
              <a:gd name="connsiteX11" fmla="*/ 367452 w 1009650"/>
              <a:gd name="connsiteY11" fmla="*/ 453972 h 660400"/>
              <a:gd name="connsiteX12" fmla="*/ 380033 w 1009650"/>
              <a:gd name="connsiteY12" fmla="*/ 467595 h 660400"/>
              <a:gd name="connsiteX13" fmla="*/ 412953 w 1009650"/>
              <a:gd name="connsiteY13" fmla="*/ 467595 h 660400"/>
              <a:gd name="connsiteX14" fmla="*/ 412953 w 1009650"/>
              <a:gd name="connsiteY14" fmla="*/ 466549 h 660400"/>
              <a:gd name="connsiteX15" fmla="*/ 386106 w 1009650"/>
              <a:gd name="connsiteY15" fmla="*/ 436995 h 660400"/>
              <a:gd name="connsiteX16" fmla="*/ 386120 w 1009650"/>
              <a:gd name="connsiteY16" fmla="*/ 436995 h 660400"/>
              <a:gd name="connsiteX17" fmla="*/ 403945 w 1009650"/>
              <a:gd name="connsiteY17" fmla="*/ 396113 h 660400"/>
              <a:gd name="connsiteX18" fmla="*/ 376474 w 1009650"/>
              <a:gd name="connsiteY18" fmla="*/ 369492 h 660400"/>
              <a:gd name="connsiteX19" fmla="*/ 351312 w 1009650"/>
              <a:gd name="connsiteY19" fmla="*/ 374518 h 660400"/>
              <a:gd name="connsiteX20" fmla="*/ 350891 w 1009650"/>
              <a:gd name="connsiteY20" fmla="*/ 373675 h 660400"/>
              <a:gd name="connsiteX21" fmla="*/ 373539 w 1009650"/>
              <a:gd name="connsiteY21" fmla="*/ 346009 h 660400"/>
              <a:gd name="connsiteX22" fmla="*/ 334111 w 1009650"/>
              <a:gd name="connsiteY22" fmla="*/ 317500 h 660400"/>
              <a:gd name="connsiteX23" fmla="*/ 494539 w 1009650"/>
              <a:gd name="connsiteY23" fmla="*/ 320869 h 660400"/>
              <a:gd name="connsiteX24" fmla="*/ 494539 w 1009650"/>
              <a:gd name="connsiteY24" fmla="*/ 429253 h 660400"/>
              <a:gd name="connsiteX25" fmla="*/ 471890 w 1009650"/>
              <a:gd name="connsiteY25" fmla="*/ 457341 h 660400"/>
              <a:gd name="connsiteX26" fmla="*/ 449242 w 1009650"/>
              <a:gd name="connsiteY26" fmla="*/ 427148 h 660400"/>
              <a:gd name="connsiteX27" fmla="*/ 449242 w 1009650"/>
              <a:gd name="connsiteY27" fmla="*/ 407019 h 660400"/>
              <a:gd name="connsiteX28" fmla="*/ 423238 w 1009650"/>
              <a:gd name="connsiteY28" fmla="*/ 413511 h 660400"/>
              <a:gd name="connsiteX29" fmla="*/ 423238 w 1009650"/>
              <a:gd name="connsiteY29" fmla="*/ 422530 h 660400"/>
              <a:gd name="connsiteX30" fmla="*/ 471890 w 1009650"/>
              <a:gd name="connsiteY30" fmla="*/ 470950 h 660400"/>
              <a:gd name="connsiteX31" fmla="*/ 471890 w 1009650"/>
              <a:gd name="connsiteY31" fmla="*/ 470963 h 660400"/>
              <a:gd name="connsiteX32" fmla="*/ 520543 w 1009650"/>
              <a:gd name="connsiteY32" fmla="*/ 422543 h 660400"/>
              <a:gd name="connsiteX33" fmla="*/ 520543 w 1009650"/>
              <a:gd name="connsiteY33" fmla="*/ 320869 h 660400"/>
              <a:gd name="connsiteX34" fmla="*/ 494539 w 1009650"/>
              <a:gd name="connsiteY34" fmla="*/ 320869 h 660400"/>
              <a:gd name="connsiteX35" fmla="*/ 231154 w 1009650"/>
              <a:gd name="connsiteY35" fmla="*/ 320869 h 660400"/>
              <a:gd name="connsiteX36" fmla="*/ 231154 w 1009650"/>
              <a:gd name="connsiteY36" fmla="*/ 429253 h 660400"/>
              <a:gd name="connsiteX37" fmla="*/ 208506 w 1009650"/>
              <a:gd name="connsiteY37" fmla="*/ 457341 h 660400"/>
              <a:gd name="connsiteX38" fmla="*/ 185857 w 1009650"/>
              <a:gd name="connsiteY38" fmla="*/ 427148 h 660400"/>
              <a:gd name="connsiteX39" fmla="*/ 185857 w 1009650"/>
              <a:gd name="connsiteY39" fmla="*/ 407019 h 660400"/>
              <a:gd name="connsiteX40" fmla="*/ 159853 w 1009650"/>
              <a:gd name="connsiteY40" fmla="*/ 413511 h 660400"/>
              <a:gd name="connsiteX41" fmla="*/ 159853 w 1009650"/>
              <a:gd name="connsiteY41" fmla="*/ 422530 h 660400"/>
              <a:gd name="connsiteX42" fmla="*/ 208506 w 1009650"/>
              <a:gd name="connsiteY42" fmla="*/ 470950 h 660400"/>
              <a:gd name="connsiteX43" fmla="*/ 257158 w 1009650"/>
              <a:gd name="connsiteY43" fmla="*/ 422530 h 660400"/>
              <a:gd name="connsiteX44" fmla="*/ 257158 w 1009650"/>
              <a:gd name="connsiteY44" fmla="*/ 320869 h 660400"/>
              <a:gd name="connsiteX45" fmla="*/ 231154 w 1009650"/>
              <a:gd name="connsiteY45" fmla="*/ 320869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9650" h="660400">
                <a:moveTo>
                  <a:pt x="0" y="0"/>
                </a:moveTo>
                <a:lnTo>
                  <a:pt x="1009650" y="0"/>
                </a:lnTo>
                <a:lnTo>
                  <a:pt x="1009650" y="660400"/>
                </a:lnTo>
                <a:lnTo>
                  <a:pt x="0" y="660400"/>
                </a:lnTo>
                <a:lnTo>
                  <a:pt x="0" y="0"/>
                </a:lnTo>
                <a:close/>
                <a:moveTo>
                  <a:pt x="334111" y="317500"/>
                </a:moveTo>
                <a:cubicBezTo>
                  <a:pt x="305173" y="317500"/>
                  <a:pt x="290920" y="333636"/>
                  <a:pt x="290920" y="353764"/>
                </a:cubicBezTo>
                <a:cubicBezTo>
                  <a:pt x="290920" y="364670"/>
                  <a:pt x="295540" y="375563"/>
                  <a:pt x="307700" y="388779"/>
                </a:cubicBezTo>
                <a:lnTo>
                  <a:pt x="307903" y="389200"/>
                </a:lnTo>
                <a:cubicBezTo>
                  <a:pt x="287347" y="399047"/>
                  <a:pt x="277918" y="414978"/>
                  <a:pt x="277918" y="431331"/>
                </a:cubicBezTo>
                <a:cubicBezTo>
                  <a:pt x="277918" y="452926"/>
                  <a:pt x="294480" y="470950"/>
                  <a:pt x="320063" y="470950"/>
                </a:cubicBezTo>
                <a:cubicBezTo>
                  <a:pt x="334736" y="470950"/>
                  <a:pt x="351937" y="464865"/>
                  <a:pt x="367452" y="453972"/>
                </a:cubicBezTo>
                <a:lnTo>
                  <a:pt x="380033" y="467595"/>
                </a:lnTo>
                <a:lnTo>
                  <a:pt x="412953" y="467595"/>
                </a:lnTo>
                <a:lnTo>
                  <a:pt x="412953" y="466549"/>
                </a:lnTo>
                <a:lnTo>
                  <a:pt x="386106" y="436995"/>
                </a:lnTo>
                <a:lnTo>
                  <a:pt x="386120" y="436995"/>
                </a:lnTo>
                <a:cubicBezTo>
                  <a:pt x="397437" y="423576"/>
                  <a:pt x="403945" y="408907"/>
                  <a:pt x="403945" y="396113"/>
                </a:cubicBezTo>
                <a:cubicBezTo>
                  <a:pt x="403945" y="380181"/>
                  <a:pt x="393253" y="369492"/>
                  <a:pt x="376474" y="369492"/>
                </a:cubicBezTo>
                <a:cubicBezTo>
                  <a:pt x="367670" y="369492"/>
                  <a:pt x="357806" y="372005"/>
                  <a:pt x="351312" y="374518"/>
                </a:cubicBezTo>
                <a:lnTo>
                  <a:pt x="350891" y="373675"/>
                </a:lnTo>
                <a:cubicBezTo>
                  <a:pt x="366827" y="365078"/>
                  <a:pt x="373539" y="357119"/>
                  <a:pt x="373539" y="346009"/>
                </a:cubicBezTo>
                <a:cubicBezTo>
                  <a:pt x="373539" y="330077"/>
                  <a:pt x="359273" y="317500"/>
                  <a:pt x="334111" y="317500"/>
                </a:cubicBezTo>
                <a:close/>
                <a:moveTo>
                  <a:pt x="494539" y="320869"/>
                </a:moveTo>
                <a:lnTo>
                  <a:pt x="494539" y="429253"/>
                </a:lnTo>
                <a:cubicBezTo>
                  <a:pt x="494539" y="446855"/>
                  <a:pt x="487827" y="457341"/>
                  <a:pt x="471890" y="457341"/>
                </a:cubicBezTo>
                <a:cubicBezTo>
                  <a:pt x="455954" y="457341"/>
                  <a:pt x="449242" y="446230"/>
                  <a:pt x="449242" y="427148"/>
                </a:cubicBezTo>
                <a:lnTo>
                  <a:pt x="449242" y="407019"/>
                </a:lnTo>
                <a:lnTo>
                  <a:pt x="423238" y="413511"/>
                </a:lnTo>
                <a:lnTo>
                  <a:pt x="423238" y="422530"/>
                </a:lnTo>
                <a:cubicBezTo>
                  <a:pt x="423238" y="449993"/>
                  <a:pt x="436865" y="470950"/>
                  <a:pt x="471890" y="470950"/>
                </a:cubicBezTo>
                <a:lnTo>
                  <a:pt x="471890" y="470963"/>
                </a:lnTo>
                <a:cubicBezTo>
                  <a:pt x="506916" y="470963"/>
                  <a:pt x="520543" y="450006"/>
                  <a:pt x="520543" y="422543"/>
                </a:cubicBezTo>
                <a:lnTo>
                  <a:pt x="520543" y="320869"/>
                </a:lnTo>
                <a:lnTo>
                  <a:pt x="494539" y="320869"/>
                </a:lnTo>
                <a:close/>
                <a:moveTo>
                  <a:pt x="231154" y="320869"/>
                </a:moveTo>
                <a:lnTo>
                  <a:pt x="231154" y="429253"/>
                </a:lnTo>
                <a:cubicBezTo>
                  <a:pt x="231154" y="446855"/>
                  <a:pt x="224443" y="457341"/>
                  <a:pt x="208506" y="457341"/>
                </a:cubicBezTo>
                <a:cubicBezTo>
                  <a:pt x="192569" y="457341"/>
                  <a:pt x="185857" y="446230"/>
                  <a:pt x="185857" y="427148"/>
                </a:cubicBezTo>
                <a:lnTo>
                  <a:pt x="185857" y="407019"/>
                </a:lnTo>
                <a:lnTo>
                  <a:pt x="159853" y="413511"/>
                </a:lnTo>
                <a:lnTo>
                  <a:pt x="159853" y="422530"/>
                </a:lnTo>
                <a:cubicBezTo>
                  <a:pt x="159853" y="449993"/>
                  <a:pt x="173480" y="470950"/>
                  <a:pt x="208506" y="470950"/>
                </a:cubicBezTo>
                <a:cubicBezTo>
                  <a:pt x="243531" y="470950"/>
                  <a:pt x="257158" y="449993"/>
                  <a:pt x="257158" y="422530"/>
                </a:cubicBezTo>
                <a:lnTo>
                  <a:pt x="257158" y="320869"/>
                </a:lnTo>
                <a:lnTo>
                  <a:pt x="231154" y="320869"/>
                </a:lnTo>
                <a:close/>
              </a:path>
            </a:pathLst>
          </a:custGeom>
        </p:spPr>
        <p:txBody>
          <a:bodyPr vert="horz" wrap="square"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sz="1400" kern="1200">
                <a:solidFill>
                  <a:schemeClr val="tx1"/>
                </a:solidFill>
                <a:latin typeface="Basel Grotesk" panose="020B0503020202020204" pitchFamily="34" charset="0"/>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400" kern="1200">
                <a:solidFill>
                  <a:schemeClr val="tx1"/>
                </a:solidFill>
                <a:latin typeface="Basel Grotesk" panose="020B0503020202020204" pitchFamily="34" charset="0"/>
                <a:ea typeface="+mn-ea"/>
                <a:cs typeface="+mn-cs"/>
              </a:defRPr>
            </a:lvl2pPr>
            <a:lvl3pPr marL="546100" indent="-260350" algn="l" defTabSz="914400" rtl="0" eaLnBrk="1" latinLnBrk="0" hangingPunct="1">
              <a:lnSpc>
                <a:spcPct val="110000"/>
              </a:lnSpc>
              <a:spcBef>
                <a:spcPts val="0"/>
              </a:spcBef>
              <a:spcAft>
                <a:spcPts val="600"/>
              </a:spcAft>
              <a:buFont typeface="Arial" panose="020B0604020202020204" pitchFamily="34" charset="0"/>
              <a:buChar char="•"/>
              <a:tabLst/>
              <a:defRPr sz="1200" kern="1200">
                <a:solidFill>
                  <a:schemeClr val="tx1"/>
                </a:solidFill>
                <a:latin typeface="Basel Grotesk" panose="020B0503020202020204" pitchFamily="34" charset="0"/>
                <a:ea typeface="+mn-ea"/>
                <a:cs typeface="+mn-cs"/>
              </a:defRPr>
            </a:lvl3pPr>
            <a:lvl4pPr marL="0" indent="0" algn="l" defTabSz="914400" rtl="0" eaLnBrk="1" latinLnBrk="0" hangingPunct="1">
              <a:lnSpc>
                <a:spcPct val="85000"/>
              </a:lnSpc>
              <a:spcBef>
                <a:spcPts val="600"/>
              </a:spcBef>
              <a:spcAft>
                <a:spcPts val="0"/>
              </a:spcAft>
              <a:buFont typeface="Arial" panose="020B0604020202020204" pitchFamily="34" charset="0"/>
              <a:buNone/>
              <a:tabLst/>
              <a:defRPr sz="4500" kern="1200">
                <a:solidFill>
                  <a:schemeClr val="tx2"/>
                </a:solidFill>
                <a:latin typeface="Johnson Display BETA Display" pitchFamily="2" charset="77"/>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1400" kern="1200">
                <a:solidFill>
                  <a:schemeClr val="tx1"/>
                </a:solidFill>
                <a:latin typeface="Basel Grotesk"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b="0" i="0">
              <a:latin typeface="Johnson Text" pitchFamily="2" charset="77"/>
            </a:endParaRPr>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6321758" y="4376738"/>
            <a:ext cx="5580856" cy="1893886"/>
          </a:xfrm>
        </p:spPr>
        <p:txBody>
          <a:bodyPr/>
          <a:lstStyle>
            <a:lvl4pPr>
              <a:defRPr sz="5000"/>
            </a:lvl4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7" name="Title 6">
            <a:extLst>
              <a:ext uri="{FF2B5EF4-FFF2-40B4-BE49-F238E27FC236}">
                <a16:creationId xmlns:a16="http://schemas.microsoft.com/office/drawing/2014/main" id="{57139A87-57BC-3EA5-1A50-C7A9DA1DB2C1}"/>
              </a:ext>
            </a:extLst>
          </p:cNvPr>
          <p:cNvSpPr>
            <a:spLocks noGrp="1"/>
          </p:cNvSpPr>
          <p:nvPr>
            <p:ph type="title"/>
          </p:nvPr>
        </p:nvSpPr>
        <p:spPr>
          <a:xfrm>
            <a:off x="6323798" y="279525"/>
            <a:ext cx="5578817" cy="2733056"/>
          </a:xfrm>
        </p:spPr>
        <p:txBody>
          <a:bodyPr/>
          <a:lstStyle>
            <a:lvl1pPr>
              <a:lnSpc>
                <a:spcPct val="80000"/>
              </a:lnSpc>
              <a:defRPr sz="7400"/>
            </a:lvl1pPr>
          </a:lstStyle>
          <a:p>
            <a:r>
              <a:rPr lang="zh-CN" altLang="en-US"/>
              <a:t>单击此处编辑母版标题样式</a:t>
            </a:r>
            <a:endParaRPr lang="en-US"/>
          </a:p>
        </p:txBody>
      </p:sp>
    </p:spTree>
    <p:extLst>
      <p:ext uri="{BB962C8B-B14F-4D97-AF65-F5344CB8AC3E}">
        <p14:creationId xmlns:p14="http://schemas.microsoft.com/office/powerpoint/2010/main" val="38996186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Numbers">
    <p:bg>
      <p:bgPr>
        <a:solidFill>
          <a:schemeClr val="tx2"/>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429BCB1-0FF2-B8E0-831A-4C2A0BEF189C}"/>
              </a:ext>
            </a:extLst>
          </p:cNvPr>
          <p:cNvSpPr>
            <a:spLocks noGrp="1"/>
          </p:cNvSpPr>
          <p:nvPr>
            <p:ph type="title"/>
          </p:nvPr>
        </p:nvSpPr>
        <p:spPr>
          <a:xfrm>
            <a:off x="288303" y="273600"/>
            <a:ext cx="1811959" cy="392415"/>
          </a:xfrm>
        </p:spPr>
        <p:txBody>
          <a:bodyPr/>
          <a:lstStyle>
            <a:lvl1pPr>
              <a:lnSpc>
                <a:spcPct val="85000"/>
              </a:lnSpc>
              <a:defRPr sz="1500" b="1" i="0">
                <a:solidFill>
                  <a:schemeClr val="bg1"/>
                </a:solidFill>
                <a:latin typeface="+mn-lt"/>
              </a:defRPr>
            </a:lvl1pPr>
          </a:lstStyle>
          <a:p>
            <a:r>
              <a:rPr lang="en-US"/>
              <a:t>Click to edit Master title style</a:t>
            </a:r>
            <a:endParaRPr lang="en-GB"/>
          </a:p>
        </p:txBody>
      </p:sp>
      <p:sp>
        <p:nvSpPr>
          <p:cNvPr id="8" name="Picture Placeholder 91">
            <a:extLst>
              <a:ext uri="{FF2B5EF4-FFF2-40B4-BE49-F238E27FC236}">
                <a16:creationId xmlns:a16="http://schemas.microsoft.com/office/drawing/2014/main" id="{1B8E6F68-BB92-3741-A271-A507454209A8}"/>
              </a:ext>
            </a:extLst>
          </p:cNvPr>
          <p:cNvSpPr>
            <a:spLocks noGrp="1"/>
          </p:cNvSpPr>
          <p:nvPr>
            <p:ph type="pic" sz="quarter" idx="55" hasCustomPrompt="1"/>
          </p:nvPr>
        </p:nvSpPr>
        <p:spPr>
          <a:xfrm>
            <a:off x="3225799" y="291037"/>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00"/>
            </a:lvl1pPr>
          </a:lstStyle>
          <a:p>
            <a:pPr lvl="8"/>
            <a:r>
              <a:rPr lang="en-GB"/>
              <a:t> </a:t>
            </a:r>
          </a:p>
        </p:txBody>
      </p:sp>
      <p:sp>
        <p:nvSpPr>
          <p:cNvPr id="15" name="Text Placeholder 14">
            <a:extLst>
              <a:ext uri="{FF2B5EF4-FFF2-40B4-BE49-F238E27FC236}">
                <a16:creationId xmlns:a16="http://schemas.microsoft.com/office/drawing/2014/main" id="{63F40DC3-5F4F-C397-5C6A-8A62BC1F78B1}"/>
              </a:ext>
            </a:extLst>
          </p:cNvPr>
          <p:cNvSpPr>
            <a:spLocks noGrp="1"/>
          </p:cNvSpPr>
          <p:nvPr>
            <p:ph type="body" sz="quarter" idx="60"/>
          </p:nvPr>
        </p:nvSpPr>
        <p:spPr>
          <a:xfrm>
            <a:off x="8124824" y="527050"/>
            <a:ext cx="3775075" cy="14986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lvl1pPr>
              <a:defRPr>
                <a:solidFill>
                  <a:schemeClr val="bg1"/>
                </a:solidFill>
              </a:defRPr>
            </a:lvl1pPr>
          </a:lstStyle>
          <a:p>
            <a:r>
              <a:rPr lang="en-US"/>
              <a:t>Job Aid and Guidance Document still under review.</a:t>
            </a:r>
            <a:endParaRPr lang="en-GB"/>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14" name="Picture Placeholder 91">
            <a:extLst>
              <a:ext uri="{FF2B5EF4-FFF2-40B4-BE49-F238E27FC236}">
                <a16:creationId xmlns:a16="http://schemas.microsoft.com/office/drawing/2014/main" id="{A11547F3-AA53-B6CF-CC36-9B7EBC562F8C}"/>
              </a:ext>
            </a:extLst>
          </p:cNvPr>
          <p:cNvSpPr>
            <a:spLocks noGrp="1"/>
          </p:cNvSpPr>
          <p:nvPr>
            <p:ph type="pic" sz="quarter" idx="67" hasCustomPrompt="1"/>
          </p:nvPr>
        </p:nvSpPr>
        <p:spPr>
          <a:xfrm>
            <a:off x="3225799" y="2282397"/>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00"/>
            </a:lvl1pPr>
          </a:lstStyle>
          <a:p>
            <a:pPr lvl="8"/>
            <a:r>
              <a:rPr lang="en-GB"/>
              <a:t> </a:t>
            </a:r>
          </a:p>
        </p:txBody>
      </p:sp>
      <p:sp>
        <p:nvSpPr>
          <p:cNvPr id="17" name="Text Placeholder 14">
            <a:extLst>
              <a:ext uri="{FF2B5EF4-FFF2-40B4-BE49-F238E27FC236}">
                <a16:creationId xmlns:a16="http://schemas.microsoft.com/office/drawing/2014/main" id="{BBE84450-4088-E9E0-0359-34BD23A3925E}"/>
              </a:ext>
            </a:extLst>
          </p:cNvPr>
          <p:cNvSpPr>
            <a:spLocks noGrp="1"/>
          </p:cNvSpPr>
          <p:nvPr>
            <p:ph type="body" sz="quarter" idx="69"/>
          </p:nvPr>
        </p:nvSpPr>
        <p:spPr>
          <a:xfrm>
            <a:off x="8124824" y="2518410"/>
            <a:ext cx="3775075" cy="14986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8" name="Picture Placeholder 91">
            <a:extLst>
              <a:ext uri="{FF2B5EF4-FFF2-40B4-BE49-F238E27FC236}">
                <a16:creationId xmlns:a16="http://schemas.microsoft.com/office/drawing/2014/main" id="{62C4BF17-AF9C-A4E5-F1BF-718B90E42E20}"/>
              </a:ext>
            </a:extLst>
          </p:cNvPr>
          <p:cNvSpPr>
            <a:spLocks noGrp="1"/>
          </p:cNvSpPr>
          <p:nvPr>
            <p:ph type="pic" sz="quarter" idx="70" hasCustomPrompt="1"/>
          </p:nvPr>
        </p:nvSpPr>
        <p:spPr>
          <a:xfrm>
            <a:off x="3225799" y="428646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00"/>
            </a:lvl1pPr>
          </a:lstStyle>
          <a:p>
            <a:pPr lvl="8"/>
            <a:r>
              <a:rPr lang="en-GB"/>
              <a:t> </a:t>
            </a:r>
          </a:p>
        </p:txBody>
      </p:sp>
      <p:sp>
        <p:nvSpPr>
          <p:cNvPr id="22" name="Text Placeholder 14">
            <a:extLst>
              <a:ext uri="{FF2B5EF4-FFF2-40B4-BE49-F238E27FC236}">
                <a16:creationId xmlns:a16="http://schemas.microsoft.com/office/drawing/2014/main" id="{F33A7DDF-B16D-DE86-59A6-3E4EE10AF950}"/>
              </a:ext>
            </a:extLst>
          </p:cNvPr>
          <p:cNvSpPr>
            <a:spLocks noGrp="1"/>
          </p:cNvSpPr>
          <p:nvPr>
            <p:ph type="body" sz="quarter" idx="72"/>
          </p:nvPr>
        </p:nvSpPr>
        <p:spPr>
          <a:xfrm>
            <a:off x="8124824" y="4522482"/>
            <a:ext cx="3775075" cy="14986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3" name="Picture Placeholder 91">
            <a:extLst>
              <a:ext uri="{FF2B5EF4-FFF2-40B4-BE49-F238E27FC236}">
                <a16:creationId xmlns:a16="http://schemas.microsoft.com/office/drawing/2014/main" id="{485FA38D-16CA-1001-19BE-594DCF6B57AA}"/>
              </a:ext>
            </a:extLst>
          </p:cNvPr>
          <p:cNvSpPr>
            <a:spLocks noGrp="1"/>
          </p:cNvSpPr>
          <p:nvPr>
            <p:ph type="pic" sz="quarter" idx="73" hasCustomPrompt="1"/>
          </p:nvPr>
        </p:nvSpPr>
        <p:spPr>
          <a:xfrm>
            <a:off x="3225799" y="628798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00"/>
            </a:lvl1pPr>
          </a:lstStyle>
          <a:p>
            <a:pPr lvl="8"/>
            <a:r>
              <a:rPr lang="en-GB"/>
              <a:t> </a:t>
            </a:r>
          </a:p>
        </p:txBody>
      </p:sp>
      <p:sp>
        <p:nvSpPr>
          <p:cNvPr id="27" name="Text Placeholder 26">
            <a:extLst>
              <a:ext uri="{FF2B5EF4-FFF2-40B4-BE49-F238E27FC236}">
                <a16:creationId xmlns:a16="http://schemas.microsoft.com/office/drawing/2014/main" id="{8A5E5282-C048-99E1-5F1B-6B9961066184}"/>
              </a:ext>
            </a:extLst>
          </p:cNvPr>
          <p:cNvSpPr>
            <a:spLocks noGrp="1"/>
          </p:cNvSpPr>
          <p:nvPr>
            <p:ph type="body" sz="quarter" idx="74" hasCustomPrompt="1"/>
          </p:nvPr>
        </p:nvSpPr>
        <p:spPr>
          <a:xfrm>
            <a:off x="3225800" y="111125"/>
            <a:ext cx="3776663" cy="1789113"/>
          </a:xfrm>
        </p:spPr>
        <p:txBody>
          <a:bodyPr/>
          <a:lstStyle>
            <a:lvl1pPr>
              <a:defRPr sz="11000">
                <a:solidFill>
                  <a:schemeClr val="bg1"/>
                </a:solidFill>
                <a:latin typeface="+mj-lt"/>
              </a:defRPr>
            </a:lvl1pPr>
          </a:lstStyle>
          <a:p>
            <a:pPr lvl="0"/>
            <a:r>
              <a:rPr lang="en-GB"/>
              <a:t>00</a:t>
            </a:r>
          </a:p>
        </p:txBody>
      </p:sp>
      <p:sp>
        <p:nvSpPr>
          <p:cNvPr id="28" name="Text Placeholder 26">
            <a:extLst>
              <a:ext uri="{FF2B5EF4-FFF2-40B4-BE49-F238E27FC236}">
                <a16:creationId xmlns:a16="http://schemas.microsoft.com/office/drawing/2014/main" id="{CBBE869E-D65F-3F80-8F9D-6DF327B97D4B}"/>
              </a:ext>
            </a:extLst>
          </p:cNvPr>
          <p:cNvSpPr>
            <a:spLocks noGrp="1"/>
          </p:cNvSpPr>
          <p:nvPr>
            <p:ph type="body" sz="quarter" idx="75" hasCustomPrompt="1"/>
          </p:nvPr>
        </p:nvSpPr>
        <p:spPr>
          <a:xfrm>
            <a:off x="3225800" y="2102616"/>
            <a:ext cx="3776663" cy="1789113"/>
          </a:xfrm>
        </p:spPr>
        <p:txBody>
          <a:bodyPr/>
          <a:lstStyle>
            <a:lvl1pPr>
              <a:defRPr sz="11000">
                <a:solidFill>
                  <a:schemeClr val="bg1"/>
                </a:solidFill>
                <a:latin typeface="+mj-lt"/>
              </a:defRPr>
            </a:lvl1pPr>
          </a:lstStyle>
          <a:p>
            <a:pPr lvl="0"/>
            <a:r>
              <a:rPr lang="en-GB"/>
              <a:t>00</a:t>
            </a:r>
          </a:p>
        </p:txBody>
      </p:sp>
      <p:sp>
        <p:nvSpPr>
          <p:cNvPr id="29" name="Text Placeholder 26">
            <a:extLst>
              <a:ext uri="{FF2B5EF4-FFF2-40B4-BE49-F238E27FC236}">
                <a16:creationId xmlns:a16="http://schemas.microsoft.com/office/drawing/2014/main" id="{BAA28741-F83E-3E15-A9FB-99668766D898}"/>
              </a:ext>
            </a:extLst>
          </p:cNvPr>
          <p:cNvSpPr>
            <a:spLocks noGrp="1"/>
          </p:cNvSpPr>
          <p:nvPr>
            <p:ph type="body" sz="quarter" idx="76" hasCustomPrompt="1"/>
          </p:nvPr>
        </p:nvSpPr>
        <p:spPr>
          <a:xfrm>
            <a:off x="3225800" y="4106128"/>
            <a:ext cx="3776663" cy="1789113"/>
          </a:xfrm>
        </p:spPr>
        <p:txBody>
          <a:bodyPr/>
          <a:lstStyle>
            <a:lvl1pPr>
              <a:defRPr sz="11000">
                <a:solidFill>
                  <a:schemeClr val="bg1"/>
                </a:solidFill>
                <a:latin typeface="+mj-lt"/>
              </a:defRPr>
            </a:lvl1pPr>
          </a:lstStyle>
          <a:p>
            <a:pPr lvl="0"/>
            <a:r>
              <a:rPr lang="en-GB"/>
              <a:t>00</a:t>
            </a:r>
          </a:p>
        </p:txBody>
      </p:sp>
      <p:sp>
        <p:nvSpPr>
          <p:cNvPr id="2" name="Graphic 8">
            <a:extLst>
              <a:ext uri="{FF2B5EF4-FFF2-40B4-BE49-F238E27FC236}">
                <a16:creationId xmlns:a16="http://schemas.microsoft.com/office/drawing/2014/main" id="{87803E29-408D-BDC5-463B-8562EADCC69D}"/>
              </a:ext>
            </a:extLst>
          </p:cNvPr>
          <p:cNvSpPr>
            <a:spLocks noChangeAspect="1"/>
          </p:cNvSpPr>
          <p:nvPr userDrawn="1"/>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a:p>
        </p:txBody>
      </p:sp>
      <p:sp>
        <p:nvSpPr>
          <p:cNvPr id="3" name="Footer Placeholder 4">
            <a:extLst>
              <a:ext uri="{FF2B5EF4-FFF2-40B4-BE49-F238E27FC236}">
                <a16:creationId xmlns:a16="http://schemas.microsoft.com/office/drawing/2014/main" id="{2DDBFCEB-2CCD-02B9-438A-571CE83069AB}"/>
              </a:ext>
            </a:extLst>
          </p:cNvPr>
          <p:cNvSpPr txBox="1">
            <a:spLocks/>
          </p:cNvSpPr>
          <p:nvPr userDrawn="1"/>
        </p:nvSpPr>
        <p:spPr>
          <a:xfrm>
            <a:off x="9772073" y="6424023"/>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0" i="0" kern="1200">
                <a:solidFill>
                  <a:schemeClr val="bg1"/>
                </a:solidFill>
                <a:latin typeface="+mn-lt"/>
                <a:ea typeface="+mn-ea"/>
                <a:cs typeface="+mn-cs"/>
              </a:rPr>
              <a:t>HEALTH CARE COMPLIANCE</a:t>
            </a:r>
          </a:p>
        </p:txBody>
      </p:sp>
    </p:spTree>
    <p:extLst>
      <p:ext uri="{BB962C8B-B14F-4D97-AF65-F5344CB8AC3E}">
        <p14:creationId xmlns:p14="http://schemas.microsoft.com/office/powerpoint/2010/main" val="117920949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Images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6170614" y="0"/>
            <a:ext cx="6021385" cy="3429000"/>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r>
              <a:rPr lang="en-US"/>
              <a:t>Job Aid and Guidance Document still under review.</a:t>
            </a:r>
            <a:endParaRPr lang="en-GB"/>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289384" y="2338387"/>
            <a:ext cx="5732003" cy="3932237"/>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7" name="Picture Placeholder 5">
            <a:extLst>
              <a:ext uri="{FF2B5EF4-FFF2-40B4-BE49-F238E27FC236}">
                <a16:creationId xmlns:a16="http://schemas.microsoft.com/office/drawing/2014/main" id="{1CA8347E-5487-FBA2-2DD4-3FD601BD3B4C}"/>
              </a:ext>
            </a:extLst>
          </p:cNvPr>
          <p:cNvSpPr>
            <a:spLocks noGrp="1"/>
          </p:cNvSpPr>
          <p:nvPr>
            <p:ph type="pic" sz="quarter" idx="14" hasCustomPrompt="1"/>
          </p:nvPr>
        </p:nvSpPr>
        <p:spPr>
          <a:xfrm>
            <a:off x="6170614" y="3429000"/>
            <a:ext cx="6021385" cy="3429000"/>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9" name="Title 7">
            <a:extLst>
              <a:ext uri="{FF2B5EF4-FFF2-40B4-BE49-F238E27FC236}">
                <a16:creationId xmlns:a16="http://schemas.microsoft.com/office/drawing/2014/main" id="{B6AE2399-BFCA-491C-607D-8EC33F29B034}"/>
              </a:ext>
            </a:extLst>
          </p:cNvPr>
          <p:cNvSpPr>
            <a:spLocks noGrp="1"/>
          </p:cNvSpPr>
          <p:nvPr>
            <p:ph type="title" hasCustomPrompt="1"/>
          </p:nvPr>
        </p:nvSpPr>
        <p:spPr>
          <a:xfrm>
            <a:off x="288303" y="262800"/>
            <a:ext cx="5733085" cy="454529"/>
          </a:xfrm>
        </p:spPr>
        <p:txBody>
          <a:bodyPr/>
          <a:lstStyle/>
          <a:p>
            <a:r>
              <a:rPr lang="en-US"/>
              <a:t>Master title style</a:t>
            </a:r>
            <a:endParaRPr lang="en-GB"/>
          </a:p>
        </p:txBody>
      </p:sp>
      <p:sp>
        <p:nvSpPr>
          <p:cNvPr id="8" name="Subtitle 2">
            <a:extLst>
              <a:ext uri="{FF2B5EF4-FFF2-40B4-BE49-F238E27FC236}">
                <a16:creationId xmlns:a16="http://schemas.microsoft.com/office/drawing/2014/main" id="{42AEA74B-CBA6-2617-8389-0A8FBEB074F7}"/>
              </a:ext>
            </a:extLst>
          </p:cNvPr>
          <p:cNvSpPr>
            <a:spLocks noGrp="1"/>
          </p:cNvSpPr>
          <p:nvPr>
            <p:ph type="subTitle" idx="16" hasCustomPrompt="1"/>
          </p:nvPr>
        </p:nvSpPr>
        <p:spPr>
          <a:xfrm>
            <a:off x="288302" y="713620"/>
            <a:ext cx="5732003"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241521306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hree Images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6170615" y="0"/>
            <a:ext cx="3010694" cy="3429000"/>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r>
              <a:rPr lang="en-US"/>
              <a:t>Job Aid and Guidance Document still under review.</a:t>
            </a:r>
            <a:endParaRPr lang="en-GB"/>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289384" y="2338387"/>
            <a:ext cx="5732003" cy="3932237"/>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7" name="Picture Placeholder 5">
            <a:extLst>
              <a:ext uri="{FF2B5EF4-FFF2-40B4-BE49-F238E27FC236}">
                <a16:creationId xmlns:a16="http://schemas.microsoft.com/office/drawing/2014/main" id="{1CA8347E-5487-FBA2-2DD4-3FD601BD3B4C}"/>
              </a:ext>
            </a:extLst>
          </p:cNvPr>
          <p:cNvSpPr>
            <a:spLocks noGrp="1"/>
          </p:cNvSpPr>
          <p:nvPr>
            <p:ph type="pic" sz="quarter" idx="14" hasCustomPrompt="1"/>
          </p:nvPr>
        </p:nvSpPr>
        <p:spPr>
          <a:xfrm>
            <a:off x="6170614" y="3429000"/>
            <a:ext cx="6021385" cy="3429000"/>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8" name="Picture Placeholder 5">
            <a:extLst>
              <a:ext uri="{FF2B5EF4-FFF2-40B4-BE49-F238E27FC236}">
                <a16:creationId xmlns:a16="http://schemas.microsoft.com/office/drawing/2014/main" id="{341FD64A-0587-F581-84E0-EA06B4D33540}"/>
              </a:ext>
            </a:extLst>
          </p:cNvPr>
          <p:cNvSpPr>
            <a:spLocks noGrp="1"/>
          </p:cNvSpPr>
          <p:nvPr>
            <p:ph type="pic" sz="quarter" idx="15" hasCustomPrompt="1"/>
          </p:nvPr>
        </p:nvSpPr>
        <p:spPr>
          <a:xfrm>
            <a:off x="9181307" y="0"/>
            <a:ext cx="3010694" cy="3429000"/>
          </a:xfrm>
          <a:solidFill>
            <a:srgbClr val="F6F3F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0" name="Title 7">
            <a:extLst>
              <a:ext uri="{FF2B5EF4-FFF2-40B4-BE49-F238E27FC236}">
                <a16:creationId xmlns:a16="http://schemas.microsoft.com/office/drawing/2014/main" id="{27A145F5-DB46-62B4-C485-DD186AF7BDC2}"/>
              </a:ext>
            </a:extLst>
          </p:cNvPr>
          <p:cNvSpPr>
            <a:spLocks noGrp="1"/>
          </p:cNvSpPr>
          <p:nvPr>
            <p:ph type="title" hasCustomPrompt="1"/>
          </p:nvPr>
        </p:nvSpPr>
        <p:spPr>
          <a:xfrm>
            <a:off x="288303" y="262800"/>
            <a:ext cx="5733085" cy="454529"/>
          </a:xfrm>
        </p:spPr>
        <p:txBody>
          <a:bodyPr/>
          <a:lstStyle/>
          <a:p>
            <a:r>
              <a:rPr lang="en-US"/>
              <a:t>Master title style</a:t>
            </a:r>
            <a:endParaRPr lang="en-GB"/>
          </a:p>
        </p:txBody>
      </p:sp>
      <p:sp>
        <p:nvSpPr>
          <p:cNvPr id="9" name="Subtitle 2">
            <a:extLst>
              <a:ext uri="{FF2B5EF4-FFF2-40B4-BE49-F238E27FC236}">
                <a16:creationId xmlns:a16="http://schemas.microsoft.com/office/drawing/2014/main" id="{A588C0CC-43FB-4401-B34D-842E1E15D0E5}"/>
              </a:ext>
            </a:extLst>
          </p:cNvPr>
          <p:cNvSpPr>
            <a:spLocks noGrp="1"/>
          </p:cNvSpPr>
          <p:nvPr>
            <p:ph type="subTitle" idx="16" hasCustomPrompt="1"/>
          </p:nvPr>
        </p:nvSpPr>
        <p:spPr>
          <a:xfrm>
            <a:off x="288302" y="713620"/>
            <a:ext cx="5732003"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27757086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Image, Content and Captio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6165850" y="2338388"/>
            <a:ext cx="5734051" cy="3932235"/>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pPr>
              <a:spcBef>
                <a:spcPts val="0"/>
              </a:spcBef>
              <a:spcAft>
                <a:spcPts val="300"/>
              </a:spcAft>
            </a:pPr>
            <a:r>
              <a:rPr lang="en-US" b="0" i="0">
                <a:effectLst/>
              </a:rPr>
              <a:t>Job Aid and Guidance Document still under review.</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289384" y="2338387"/>
            <a:ext cx="5732003" cy="3932237"/>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8" name="Text Placeholder 3">
            <a:extLst>
              <a:ext uri="{FF2B5EF4-FFF2-40B4-BE49-F238E27FC236}">
                <a16:creationId xmlns:a16="http://schemas.microsoft.com/office/drawing/2014/main" id="{1F2CC53D-B78D-E756-7E3B-FA565E8B9E1D}"/>
              </a:ext>
            </a:extLst>
          </p:cNvPr>
          <p:cNvSpPr>
            <a:spLocks noGrp="1"/>
          </p:cNvSpPr>
          <p:nvPr>
            <p:ph type="body" sz="quarter" idx="14"/>
          </p:nvPr>
        </p:nvSpPr>
        <p:spPr>
          <a:xfrm>
            <a:off x="10083801" y="1306513"/>
            <a:ext cx="1816100" cy="904875"/>
          </a:xfrm>
        </p:spPr>
        <p:txBody>
          <a:bodyPr anchor="b"/>
          <a:lstStyle>
            <a:lvl1pPr>
              <a:spcBef>
                <a:spcPts val="0"/>
              </a:spcBef>
              <a:spcAft>
                <a:spcPts val="300"/>
              </a:spcAft>
              <a:defRPr lang="en-GB" sz="1000" b="0" i="0" kern="1200" dirty="0">
                <a:solidFill>
                  <a:schemeClr val="tx1"/>
                </a:solidFill>
                <a:latin typeface="+mn-lt"/>
                <a:ea typeface="+mn-ea"/>
                <a:cs typeface="+mn-cs"/>
              </a:defRPr>
            </a:lvl1pPr>
            <a:lvl2pPr marL="93663" indent="-93663">
              <a:spcBef>
                <a:spcPts val="0"/>
              </a:spcBef>
              <a:spcAft>
                <a:spcPts val="300"/>
              </a:spcAft>
              <a:tabLst/>
              <a:defRPr lang="en-GB" sz="1000" b="0" i="0" kern="1200" dirty="0">
                <a:solidFill>
                  <a:schemeClr val="tx1"/>
                </a:solidFill>
                <a:latin typeface="+mn-lt"/>
                <a:ea typeface="+mn-ea"/>
                <a:cs typeface="+mn-cs"/>
              </a:defRPr>
            </a:lvl2pPr>
            <a:lvl3pPr marL="179388" indent="-85725">
              <a:spcBef>
                <a:spcPts val="0"/>
              </a:spcBef>
              <a:spcAft>
                <a:spcPts val="300"/>
              </a:spcAft>
              <a:tabLst/>
              <a:defRPr lang="en-GB" sz="1000" b="0" i="0" kern="1200" dirty="0">
                <a:solidFill>
                  <a:schemeClr val="tx1"/>
                </a:solidFill>
                <a:latin typeface="+mn-lt"/>
                <a:ea typeface="+mn-ea"/>
                <a:cs typeface="+mn-cs"/>
              </a:defRPr>
            </a:lvl3pPr>
            <a:lvl4pPr>
              <a:defRPr sz="1000"/>
            </a:lvl4pPr>
            <a:lvl5pPr>
              <a:defRPr sz="1000"/>
            </a:lvl5pPr>
          </a:lstStyle>
          <a:p>
            <a:pPr lvl="0"/>
            <a:r>
              <a:rPr lang="zh-CN" altLang="en-US"/>
              <a:t>单击此处编辑母版文本样式</a:t>
            </a:r>
          </a:p>
          <a:p>
            <a:pPr lvl="1"/>
            <a:r>
              <a:rPr lang="zh-CN" altLang="en-US"/>
              <a:t>二级</a:t>
            </a:r>
          </a:p>
          <a:p>
            <a:pPr lvl="2"/>
            <a:r>
              <a:rPr lang="zh-CN" altLang="en-US"/>
              <a:t>三级</a:t>
            </a:r>
          </a:p>
        </p:txBody>
      </p:sp>
      <p:sp>
        <p:nvSpPr>
          <p:cNvPr id="9" name="Title 8">
            <a:extLst>
              <a:ext uri="{FF2B5EF4-FFF2-40B4-BE49-F238E27FC236}">
                <a16:creationId xmlns:a16="http://schemas.microsoft.com/office/drawing/2014/main" id="{86327D50-E20F-7EBC-9440-36E657CCB2B0}"/>
              </a:ext>
            </a:extLst>
          </p:cNvPr>
          <p:cNvSpPr>
            <a:spLocks noGrp="1"/>
          </p:cNvSpPr>
          <p:nvPr>
            <p:ph type="title"/>
          </p:nvPr>
        </p:nvSpPr>
        <p:spPr>
          <a:xfrm>
            <a:off x="288303" y="262267"/>
            <a:ext cx="8672513" cy="457818"/>
          </a:xfrm>
        </p:spPr>
        <p:txBody>
          <a:bodyPr/>
          <a:lstStyle/>
          <a:p>
            <a:r>
              <a:rPr lang="zh-CN" altLang="en-US"/>
              <a:t>单击此处编辑母版标题样式</a:t>
            </a:r>
            <a:endParaRPr lang="en-GB"/>
          </a:p>
        </p:txBody>
      </p:sp>
      <p:sp>
        <p:nvSpPr>
          <p:cNvPr id="7" name="Subtitle 2">
            <a:extLst>
              <a:ext uri="{FF2B5EF4-FFF2-40B4-BE49-F238E27FC236}">
                <a16:creationId xmlns:a16="http://schemas.microsoft.com/office/drawing/2014/main" id="{28482B98-7AE9-6F29-768C-189744E8C745}"/>
              </a:ext>
            </a:extLst>
          </p:cNvPr>
          <p:cNvSpPr>
            <a:spLocks noGrp="1"/>
          </p:cNvSpPr>
          <p:nvPr>
            <p:ph type="subTitle" idx="16" hasCustomPrompt="1"/>
          </p:nvPr>
        </p:nvSpPr>
        <p:spPr>
          <a:xfrm>
            <a:off x="288301" y="713620"/>
            <a:ext cx="8672513"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304692179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wo Images, Content and Captions">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9104313" y="2338386"/>
            <a:ext cx="2795588" cy="3932237"/>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pPr>
              <a:spcBef>
                <a:spcPts val="0"/>
              </a:spcBef>
              <a:spcAft>
                <a:spcPts val="300"/>
              </a:spcAft>
            </a:pPr>
            <a:r>
              <a:rPr lang="en-US" b="0" i="0">
                <a:effectLst/>
              </a:rPr>
              <a:t>Job Aid and Guidance Document still under review.</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289384" y="2338387"/>
            <a:ext cx="5732003" cy="3932237"/>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8" name="Text Placeholder 3">
            <a:extLst>
              <a:ext uri="{FF2B5EF4-FFF2-40B4-BE49-F238E27FC236}">
                <a16:creationId xmlns:a16="http://schemas.microsoft.com/office/drawing/2014/main" id="{1F2CC53D-B78D-E756-7E3B-FA565E8B9E1D}"/>
              </a:ext>
            </a:extLst>
          </p:cNvPr>
          <p:cNvSpPr>
            <a:spLocks noGrp="1"/>
          </p:cNvSpPr>
          <p:nvPr>
            <p:ph type="body" sz="quarter" idx="14"/>
          </p:nvPr>
        </p:nvSpPr>
        <p:spPr>
          <a:xfrm>
            <a:off x="9104313" y="1306513"/>
            <a:ext cx="1816100" cy="904875"/>
          </a:xfrm>
        </p:spPr>
        <p:txBody>
          <a:bodyPr anchor="b"/>
          <a:lstStyle>
            <a:lvl1pPr>
              <a:spcBef>
                <a:spcPts val="0"/>
              </a:spcBef>
              <a:spcAft>
                <a:spcPts val="300"/>
              </a:spcAft>
              <a:defRPr lang="en-GB" sz="1000" b="0" i="0" kern="1200" dirty="0">
                <a:solidFill>
                  <a:schemeClr val="tx1"/>
                </a:solidFill>
                <a:latin typeface="+mn-lt"/>
                <a:ea typeface="+mn-ea"/>
                <a:cs typeface="+mn-cs"/>
              </a:defRPr>
            </a:lvl1pPr>
            <a:lvl2pPr marL="93663" indent="-93663">
              <a:spcBef>
                <a:spcPts val="0"/>
              </a:spcBef>
              <a:spcAft>
                <a:spcPts val="300"/>
              </a:spcAft>
              <a:tabLst/>
              <a:defRPr lang="en-GB" sz="1000" b="0" i="0" kern="1200" dirty="0">
                <a:solidFill>
                  <a:schemeClr val="tx1"/>
                </a:solidFill>
                <a:latin typeface="+mn-lt"/>
                <a:ea typeface="+mn-ea"/>
                <a:cs typeface="+mn-cs"/>
              </a:defRPr>
            </a:lvl2pPr>
            <a:lvl3pPr marL="179388" indent="-85725">
              <a:spcBef>
                <a:spcPts val="0"/>
              </a:spcBef>
              <a:spcAft>
                <a:spcPts val="300"/>
              </a:spcAft>
              <a:tabLst/>
              <a:defRPr lang="en-GB" sz="1000" b="0" i="0" kern="1200" dirty="0">
                <a:solidFill>
                  <a:schemeClr val="tx1"/>
                </a:solidFill>
                <a:latin typeface="+mn-lt"/>
                <a:ea typeface="+mn-ea"/>
                <a:cs typeface="+mn-cs"/>
              </a:defRPr>
            </a:lvl3pPr>
            <a:lvl4pPr>
              <a:defRPr sz="1000"/>
            </a:lvl4pPr>
            <a:lvl5pPr>
              <a:defRPr sz="1000"/>
            </a:lvl5pPr>
          </a:lstStyle>
          <a:p>
            <a:pPr lvl="0"/>
            <a:r>
              <a:rPr lang="zh-CN" altLang="en-US"/>
              <a:t>单击此处编辑母版文本样式</a:t>
            </a:r>
          </a:p>
          <a:p>
            <a:pPr lvl="1"/>
            <a:r>
              <a:rPr lang="zh-CN" altLang="en-US"/>
              <a:t>二级</a:t>
            </a:r>
          </a:p>
          <a:p>
            <a:pPr lvl="2"/>
            <a:r>
              <a:rPr lang="zh-CN" altLang="en-US"/>
              <a:t>三级</a:t>
            </a:r>
          </a:p>
        </p:txBody>
      </p:sp>
      <p:sp>
        <p:nvSpPr>
          <p:cNvPr id="7" name="Picture Placeholder 5">
            <a:extLst>
              <a:ext uri="{FF2B5EF4-FFF2-40B4-BE49-F238E27FC236}">
                <a16:creationId xmlns:a16="http://schemas.microsoft.com/office/drawing/2014/main" id="{07C8FFB5-0C36-EA56-18AE-AE4E3A5B96B2}"/>
              </a:ext>
            </a:extLst>
          </p:cNvPr>
          <p:cNvSpPr>
            <a:spLocks noGrp="1"/>
          </p:cNvSpPr>
          <p:nvPr>
            <p:ph type="pic" sz="quarter" idx="15" hasCustomPrompt="1"/>
          </p:nvPr>
        </p:nvSpPr>
        <p:spPr>
          <a:xfrm>
            <a:off x="6165850" y="2338386"/>
            <a:ext cx="2800351" cy="3932237"/>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9" name="Text Placeholder 3">
            <a:extLst>
              <a:ext uri="{FF2B5EF4-FFF2-40B4-BE49-F238E27FC236}">
                <a16:creationId xmlns:a16="http://schemas.microsoft.com/office/drawing/2014/main" id="{D8A04C51-CF13-9F12-8A02-3FDDCF07D12F}"/>
              </a:ext>
            </a:extLst>
          </p:cNvPr>
          <p:cNvSpPr>
            <a:spLocks noGrp="1"/>
          </p:cNvSpPr>
          <p:nvPr>
            <p:ph type="body" sz="quarter" idx="16"/>
          </p:nvPr>
        </p:nvSpPr>
        <p:spPr>
          <a:xfrm>
            <a:off x="6165850" y="1306513"/>
            <a:ext cx="1816100" cy="904875"/>
          </a:xfrm>
        </p:spPr>
        <p:txBody>
          <a:bodyPr anchor="b"/>
          <a:lstStyle>
            <a:lvl1pPr>
              <a:spcBef>
                <a:spcPts val="0"/>
              </a:spcBef>
              <a:spcAft>
                <a:spcPts val="300"/>
              </a:spcAft>
              <a:defRPr lang="en-GB" sz="1000" b="0" i="0" kern="1200" dirty="0">
                <a:solidFill>
                  <a:schemeClr val="tx1"/>
                </a:solidFill>
                <a:latin typeface="+mn-lt"/>
                <a:ea typeface="+mn-ea"/>
                <a:cs typeface="+mn-cs"/>
              </a:defRPr>
            </a:lvl1pPr>
            <a:lvl2pPr marL="93663" indent="-93663">
              <a:spcBef>
                <a:spcPts val="0"/>
              </a:spcBef>
              <a:spcAft>
                <a:spcPts val="300"/>
              </a:spcAft>
              <a:tabLst/>
              <a:defRPr lang="en-GB" sz="1000" b="0" i="0" kern="1200" dirty="0">
                <a:solidFill>
                  <a:schemeClr val="tx1"/>
                </a:solidFill>
                <a:latin typeface="+mn-lt"/>
                <a:ea typeface="+mn-ea"/>
                <a:cs typeface="+mn-cs"/>
              </a:defRPr>
            </a:lvl2pPr>
            <a:lvl3pPr marL="179388" indent="-85725">
              <a:spcBef>
                <a:spcPts val="0"/>
              </a:spcBef>
              <a:spcAft>
                <a:spcPts val="300"/>
              </a:spcAft>
              <a:tabLst/>
              <a:defRPr lang="en-GB" sz="1000" b="0" i="0" kern="1200" dirty="0">
                <a:solidFill>
                  <a:schemeClr val="tx1"/>
                </a:solidFill>
                <a:latin typeface="+mn-lt"/>
                <a:ea typeface="+mn-ea"/>
                <a:cs typeface="+mn-cs"/>
              </a:defRPr>
            </a:lvl3pPr>
            <a:lvl4pPr>
              <a:defRPr sz="1000"/>
            </a:lvl4pPr>
            <a:lvl5pPr>
              <a:defRPr sz="1000"/>
            </a:lvl5pPr>
          </a:lstStyle>
          <a:p>
            <a:pPr lvl="0"/>
            <a:r>
              <a:rPr lang="zh-CN" altLang="en-US"/>
              <a:t>单击此处编辑母版文本样式</a:t>
            </a:r>
          </a:p>
          <a:p>
            <a:pPr lvl="1"/>
            <a:r>
              <a:rPr lang="zh-CN" altLang="en-US"/>
              <a:t>二级</a:t>
            </a:r>
          </a:p>
          <a:p>
            <a:pPr lvl="2"/>
            <a:r>
              <a:rPr lang="zh-CN" altLang="en-US"/>
              <a:t>三级</a:t>
            </a:r>
          </a:p>
        </p:txBody>
      </p:sp>
      <p:sp>
        <p:nvSpPr>
          <p:cNvPr id="11" name="Title 7">
            <a:extLst>
              <a:ext uri="{FF2B5EF4-FFF2-40B4-BE49-F238E27FC236}">
                <a16:creationId xmlns:a16="http://schemas.microsoft.com/office/drawing/2014/main" id="{48C95821-C865-9139-DE3E-F11442D8306C}"/>
              </a:ext>
            </a:extLst>
          </p:cNvPr>
          <p:cNvSpPr>
            <a:spLocks noGrp="1"/>
          </p:cNvSpPr>
          <p:nvPr>
            <p:ph type="title" hasCustomPrompt="1"/>
          </p:nvPr>
        </p:nvSpPr>
        <p:spPr>
          <a:xfrm>
            <a:off x="288303" y="262800"/>
            <a:ext cx="8673135" cy="454529"/>
          </a:xfrm>
        </p:spPr>
        <p:txBody>
          <a:bodyPr/>
          <a:lstStyle/>
          <a:p>
            <a:r>
              <a:rPr lang="en-US"/>
              <a:t>Master title style</a:t>
            </a:r>
            <a:endParaRPr lang="en-GB"/>
          </a:p>
        </p:txBody>
      </p:sp>
      <p:sp>
        <p:nvSpPr>
          <p:cNvPr id="10" name="Subtitle 2">
            <a:extLst>
              <a:ext uri="{FF2B5EF4-FFF2-40B4-BE49-F238E27FC236}">
                <a16:creationId xmlns:a16="http://schemas.microsoft.com/office/drawing/2014/main" id="{949BA43B-6BD5-72DE-5D4D-B0BAD4FEEA2B}"/>
              </a:ext>
            </a:extLst>
          </p:cNvPr>
          <p:cNvSpPr>
            <a:spLocks noGrp="1"/>
          </p:cNvSpPr>
          <p:nvPr>
            <p:ph type="subTitle" idx="17" hasCustomPrompt="1"/>
          </p:nvPr>
        </p:nvSpPr>
        <p:spPr>
          <a:xfrm>
            <a:off x="288302" y="713620"/>
            <a:ext cx="8671498"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151590439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wo Images, Content and Captions Stacke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8124825" y="291038"/>
            <a:ext cx="3775076" cy="2922062"/>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pPr>
              <a:spcBef>
                <a:spcPts val="0"/>
              </a:spcBef>
              <a:spcAft>
                <a:spcPts val="300"/>
              </a:spcAft>
            </a:pPr>
            <a:r>
              <a:rPr lang="en-US" b="0" i="0">
                <a:effectLst/>
              </a:rPr>
              <a:t>Job Aid and Guidance Document still under review.</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289385" y="2338387"/>
            <a:ext cx="4750422" cy="3932237"/>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9" name="Text Placeholder 3">
            <a:extLst>
              <a:ext uri="{FF2B5EF4-FFF2-40B4-BE49-F238E27FC236}">
                <a16:creationId xmlns:a16="http://schemas.microsoft.com/office/drawing/2014/main" id="{D8A04C51-CF13-9F12-8A02-3FDDCF07D12F}"/>
              </a:ext>
            </a:extLst>
          </p:cNvPr>
          <p:cNvSpPr>
            <a:spLocks noGrp="1"/>
          </p:cNvSpPr>
          <p:nvPr>
            <p:ph type="body" sz="quarter" idx="16"/>
          </p:nvPr>
        </p:nvSpPr>
        <p:spPr>
          <a:xfrm>
            <a:off x="6165850" y="263526"/>
            <a:ext cx="1816099" cy="901700"/>
          </a:xfrm>
        </p:spPr>
        <p:txBody>
          <a:bodyPr/>
          <a:lstStyle>
            <a:lvl1pPr>
              <a:spcBef>
                <a:spcPts val="0"/>
              </a:spcBef>
              <a:spcAft>
                <a:spcPts val="300"/>
              </a:spcAft>
              <a:defRPr lang="en-GB" sz="1000" b="0" i="0" kern="1200" dirty="0">
                <a:solidFill>
                  <a:schemeClr val="tx1"/>
                </a:solidFill>
                <a:latin typeface="+mn-lt"/>
                <a:ea typeface="+mn-ea"/>
                <a:cs typeface="+mn-cs"/>
              </a:defRPr>
            </a:lvl1pPr>
            <a:lvl2pPr marL="93663" indent="-93663">
              <a:spcBef>
                <a:spcPts val="0"/>
              </a:spcBef>
              <a:spcAft>
                <a:spcPts val="300"/>
              </a:spcAft>
              <a:tabLst/>
              <a:defRPr lang="en-GB" sz="1000" b="0" i="0" kern="1200" dirty="0">
                <a:solidFill>
                  <a:schemeClr val="tx1"/>
                </a:solidFill>
                <a:latin typeface="+mn-lt"/>
                <a:ea typeface="+mn-ea"/>
                <a:cs typeface="+mn-cs"/>
              </a:defRPr>
            </a:lvl2pPr>
            <a:lvl3pPr marL="179388" indent="-85725">
              <a:spcBef>
                <a:spcPts val="0"/>
              </a:spcBef>
              <a:spcAft>
                <a:spcPts val="300"/>
              </a:spcAft>
              <a:tabLst/>
              <a:defRPr lang="en-GB" sz="1000" b="0" i="0" kern="1200" dirty="0">
                <a:solidFill>
                  <a:schemeClr val="tx1"/>
                </a:solidFill>
                <a:latin typeface="+mn-lt"/>
                <a:ea typeface="+mn-ea"/>
                <a:cs typeface="+mn-cs"/>
              </a:defRPr>
            </a:lvl3pPr>
            <a:lvl4pPr>
              <a:defRPr sz="1000"/>
            </a:lvl4pPr>
            <a:lvl5pPr>
              <a:defRPr sz="1000"/>
            </a:lvl5pPr>
          </a:lstStyle>
          <a:p>
            <a:pPr lvl="0"/>
            <a:r>
              <a:rPr lang="zh-CN" altLang="en-US"/>
              <a:t>单击此处编辑母版文本样式</a:t>
            </a:r>
          </a:p>
          <a:p>
            <a:pPr lvl="1"/>
            <a:r>
              <a:rPr lang="zh-CN" altLang="en-US"/>
              <a:t>二级</a:t>
            </a:r>
          </a:p>
          <a:p>
            <a:pPr lvl="2"/>
            <a:r>
              <a:rPr lang="zh-CN" altLang="en-US"/>
              <a:t>三级</a:t>
            </a:r>
          </a:p>
        </p:txBody>
      </p:sp>
      <p:sp>
        <p:nvSpPr>
          <p:cNvPr id="10" name="Picture Placeholder 5">
            <a:extLst>
              <a:ext uri="{FF2B5EF4-FFF2-40B4-BE49-F238E27FC236}">
                <a16:creationId xmlns:a16="http://schemas.microsoft.com/office/drawing/2014/main" id="{7E2F9960-1383-47B5-D5A0-E3568E633105}"/>
              </a:ext>
            </a:extLst>
          </p:cNvPr>
          <p:cNvSpPr>
            <a:spLocks noGrp="1"/>
          </p:cNvSpPr>
          <p:nvPr>
            <p:ph type="pic" sz="quarter" idx="17" hasCustomPrompt="1"/>
          </p:nvPr>
        </p:nvSpPr>
        <p:spPr>
          <a:xfrm>
            <a:off x="8124825" y="3357564"/>
            <a:ext cx="3775076" cy="2913062"/>
          </a:xfrm>
          <a:solidFill>
            <a:srgbClr val="F6F3F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1" name="Text Placeholder 3">
            <a:extLst>
              <a:ext uri="{FF2B5EF4-FFF2-40B4-BE49-F238E27FC236}">
                <a16:creationId xmlns:a16="http://schemas.microsoft.com/office/drawing/2014/main" id="{1157324B-BE85-4E3F-8A71-8D472DC1443F}"/>
              </a:ext>
            </a:extLst>
          </p:cNvPr>
          <p:cNvSpPr>
            <a:spLocks noGrp="1"/>
          </p:cNvSpPr>
          <p:nvPr>
            <p:ph type="body" sz="quarter" idx="18"/>
          </p:nvPr>
        </p:nvSpPr>
        <p:spPr>
          <a:xfrm>
            <a:off x="6170614" y="3334276"/>
            <a:ext cx="1811335" cy="904875"/>
          </a:xfrm>
        </p:spPr>
        <p:txBody>
          <a:bodyPr/>
          <a:lstStyle>
            <a:lvl1pPr>
              <a:spcBef>
                <a:spcPts val="0"/>
              </a:spcBef>
              <a:spcAft>
                <a:spcPts val="300"/>
              </a:spcAft>
              <a:defRPr lang="en-GB" sz="1000" b="0" i="0" kern="1200" dirty="0">
                <a:solidFill>
                  <a:schemeClr val="tx1"/>
                </a:solidFill>
                <a:latin typeface="+mn-lt"/>
                <a:ea typeface="+mn-ea"/>
                <a:cs typeface="+mn-cs"/>
              </a:defRPr>
            </a:lvl1pPr>
            <a:lvl2pPr marL="93663" indent="-93663">
              <a:spcBef>
                <a:spcPts val="0"/>
              </a:spcBef>
              <a:spcAft>
                <a:spcPts val="300"/>
              </a:spcAft>
              <a:tabLst/>
              <a:defRPr lang="en-GB" sz="1000" b="0" i="0" kern="1200" dirty="0">
                <a:solidFill>
                  <a:schemeClr val="tx1"/>
                </a:solidFill>
                <a:latin typeface="+mn-lt"/>
                <a:ea typeface="+mn-ea"/>
                <a:cs typeface="+mn-cs"/>
              </a:defRPr>
            </a:lvl2pPr>
            <a:lvl3pPr marL="179388" indent="-85725">
              <a:spcBef>
                <a:spcPts val="0"/>
              </a:spcBef>
              <a:spcAft>
                <a:spcPts val="300"/>
              </a:spcAft>
              <a:tabLst/>
              <a:defRPr lang="en-GB" sz="1000" b="0" i="0" kern="1200" dirty="0">
                <a:solidFill>
                  <a:schemeClr val="tx1"/>
                </a:solidFill>
                <a:latin typeface="+mn-lt"/>
                <a:ea typeface="+mn-ea"/>
                <a:cs typeface="+mn-cs"/>
              </a:defRPr>
            </a:lvl3pPr>
            <a:lvl4pPr>
              <a:defRPr sz="1000"/>
            </a:lvl4pPr>
            <a:lvl5pPr>
              <a:defRPr sz="1000"/>
            </a:lvl5pPr>
          </a:lstStyle>
          <a:p>
            <a:pPr lvl="0"/>
            <a:r>
              <a:rPr lang="zh-CN" altLang="en-US"/>
              <a:t>单击此处编辑母版文本样式</a:t>
            </a:r>
          </a:p>
          <a:p>
            <a:pPr lvl="1"/>
            <a:r>
              <a:rPr lang="zh-CN" altLang="en-US"/>
              <a:t>二级</a:t>
            </a:r>
          </a:p>
          <a:p>
            <a:pPr lvl="2"/>
            <a:r>
              <a:rPr lang="zh-CN" altLang="en-US"/>
              <a:t>三级</a:t>
            </a:r>
          </a:p>
        </p:txBody>
      </p:sp>
      <p:sp>
        <p:nvSpPr>
          <p:cNvPr id="8" name="Title 7">
            <a:extLst>
              <a:ext uri="{FF2B5EF4-FFF2-40B4-BE49-F238E27FC236}">
                <a16:creationId xmlns:a16="http://schemas.microsoft.com/office/drawing/2014/main" id="{A4141273-8612-0373-5CE1-A74C8304F40A}"/>
              </a:ext>
            </a:extLst>
          </p:cNvPr>
          <p:cNvSpPr>
            <a:spLocks noGrp="1"/>
          </p:cNvSpPr>
          <p:nvPr>
            <p:ph type="title" hasCustomPrompt="1"/>
          </p:nvPr>
        </p:nvSpPr>
        <p:spPr>
          <a:xfrm>
            <a:off x="288303" y="262800"/>
            <a:ext cx="4750421" cy="454529"/>
          </a:xfrm>
        </p:spPr>
        <p:txBody>
          <a:bodyPr/>
          <a:lstStyle/>
          <a:p>
            <a:r>
              <a:rPr lang="en-US"/>
              <a:t>Master title style</a:t>
            </a:r>
            <a:endParaRPr lang="en-GB"/>
          </a:p>
        </p:txBody>
      </p:sp>
      <p:sp>
        <p:nvSpPr>
          <p:cNvPr id="7" name="Subtitle 2">
            <a:extLst>
              <a:ext uri="{FF2B5EF4-FFF2-40B4-BE49-F238E27FC236}">
                <a16:creationId xmlns:a16="http://schemas.microsoft.com/office/drawing/2014/main" id="{460EC19D-5C44-4557-54CE-FA6CE565E479}"/>
              </a:ext>
            </a:extLst>
          </p:cNvPr>
          <p:cNvSpPr>
            <a:spLocks noGrp="1"/>
          </p:cNvSpPr>
          <p:nvPr>
            <p:ph type="subTitle" idx="19" hasCustomPrompt="1"/>
          </p:nvPr>
        </p:nvSpPr>
        <p:spPr>
          <a:xfrm>
            <a:off x="288302" y="713620"/>
            <a:ext cx="4750421"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428391217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Left Side, Two Images and Text ">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7150102" y="-1"/>
            <a:ext cx="5041900" cy="3357563"/>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0" y="3357563"/>
            <a:ext cx="6022552" cy="3499955"/>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6" name="Text Placeholder 5">
            <a:extLst>
              <a:ext uri="{FF2B5EF4-FFF2-40B4-BE49-F238E27FC236}">
                <a16:creationId xmlns:a16="http://schemas.microsoft.com/office/drawing/2014/main" id="{899B3B30-291B-0259-955A-B312868ADB24}"/>
              </a:ext>
            </a:extLst>
          </p:cNvPr>
          <p:cNvSpPr>
            <a:spLocks noGrp="1"/>
          </p:cNvSpPr>
          <p:nvPr>
            <p:ph type="body" sz="quarter" idx="15"/>
          </p:nvPr>
        </p:nvSpPr>
        <p:spPr>
          <a:xfrm>
            <a:off x="7150102" y="4376738"/>
            <a:ext cx="4754562" cy="1893887"/>
          </a:xfrm>
        </p:spPr>
        <p:txBody>
          <a:bodyPr/>
          <a:lstStyle>
            <a:lvl4pPr>
              <a:defRPr lang="en-GB" sz="4000"/>
            </a:lvl4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7" name="Title 1">
            <a:extLst>
              <a:ext uri="{FF2B5EF4-FFF2-40B4-BE49-F238E27FC236}">
                <a16:creationId xmlns:a16="http://schemas.microsoft.com/office/drawing/2014/main" id="{44087789-03A9-0559-7959-C80A1DC0A306}"/>
              </a:ext>
            </a:extLst>
          </p:cNvPr>
          <p:cNvSpPr>
            <a:spLocks noGrp="1"/>
          </p:cNvSpPr>
          <p:nvPr>
            <p:ph type="title"/>
          </p:nvPr>
        </p:nvSpPr>
        <p:spPr>
          <a:xfrm>
            <a:off x="288000" y="530259"/>
            <a:ext cx="4754563" cy="2437590"/>
          </a:xfrm>
        </p:spPr>
        <p:txBody>
          <a:bodyPr anchor="ctr">
            <a:spAutoFit/>
          </a:bodyPr>
          <a:lstStyle>
            <a:lvl1pPr>
              <a:lnSpc>
                <a:spcPct val="80000"/>
              </a:lnSpc>
              <a:defRPr sz="6500">
                <a:solidFill>
                  <a:schemeClr val="tx2"/>
                </a:solidFill>
              </a:defRPr>
            </a:lvl1pPr>
          </a:lstStyle>
          <a:p>
            <a:r>
              <a:rPr lang="zh-CN" altLang="en-US"/>
              <a:t>单击此处编辑母版标题样式</a:t>
            </a:r>
            <a:endParaRPr lang="en-GB"/>
          </a:p>
        </p:txBody>
      </p:sp>
    </p:spTree>
    <p:extLst>
      <p:ext uri="{BB962C8B-B14F-4D97-AF65-F5344CB8AC3E}">
        <p14:creationId xmlns:p14="http://schemas.microsoft.com/office/powerpoint/2010/main" val="177775358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Right Side, Two Images and Text ">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53FA985-3B61-CED4-73DE-1DFA4E2DD7DA}"/>
              </a:ext>
            </a:extLst>
          </p:cNvPr>
          <p:cNvSpPr>
            <a:spLocks noGrp="1"/>
          </p:cNvSpPr>
          <p:nvPr>
            <p:ph type="ftr" sz="quarter" idx="10"/>
          </p:nvPr>
        </p:nvSpPr>
        <p:spPr/>
        <p:txBody>
          <a:bodyPr/>
          <a:lstStyle/>
          <a:p>
            <a:r>
              <a:rPr lang="en-US"/>
              <a:t>Job Aid and Guidance Document still under review.</a:t>
            </a:r>
            <a:endParaRPr lang="en-GB"/>
          </a:p>
        </p:txBody>
      </p:sp>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0" y="-1"/>
            <a:ext cx="5041900" cy="3357563"/>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6165850" y="3357563"/>
            <a:ext cx="6022552" cy="3499955"/>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6" name="Text Placeholder 5">
            <a:extLst>
              <a:ext uri="{FF2B5EF4-FFF2-40B4-BE49-F238E27FC236}">
                <a16:creationId xmlns:a16="http://schemas.microsoft.com/office/drawing/2014/main" id="{899B3B30-291B-0259-955A-B312868ADB24}"/>
              </a:ext>
            </a:extLst>
          </p:cNvPr>
          <p:cNvSpPr>
            <a:spLocks noGrp="1"/>
          </p:cNvSpPr>
          <p:nvPr>
            <p:ph type="body" sz="quarter" idx="15"/>
          </p:nvPr>
        </p:nvSpPr>
        <p:spPr>
          <a:xfrm>
            <a:off x="287338" y="4376738"/>
            <a:ext cx="4754562" cy="1893887"/>
          </a:xfrm>
        </p:spPr>
        <p:txBody>
          <a:bodyPr/>
          <a:lstStyle>
            <a:lvl4pPr>
              <a:defRPr lang="en-GB" sz="4000" dirty="0"/>
            </a:lvl4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7" name="Title 1">
            <a:extLst>
              <a:ext uri="{FF2B5EF4-FFF2-40B4-BE49-F238E27FC236}">
                <a16:creationId xmlns:a16="http://schemas.microsoft.com/office/drawing/2014/main" id="{44087789-03A9-0559-7959-C80A1DC0A306}"/>
              </a:ext>
            </a:extLst>
          </p:cNvPr>
          <p:cNvSpPr>
            <a:spLocks noGrp="1"/>
          </p:cNvSpPr>
          <p:nvPr>
            <p:ph type="title"/>
          </p:nvPr>
        </p:nvSpPr>
        <p:spPr>
          <a:xfrm>
            <a:off x="6165850" y="530259"/>
            <a:ext cx="4754563" cy="2437590"/>
          </a:xfrm>
        </p:spPr>
        <p:txBody>
          <a:bodyPr anchor="ctr">
            <a:spAutoFit/>
          </a:bodyPr>
          <a:lstStyle>
            <a:lvl1pPr>
              <a:lnSpc>
                <a:spcPct val="80000"/>
              </a:lnSpc>
              <a:defRPr sz="6500">
                <a:solidFill>
                  <a:schemeClr val="tx2"/>
                </a:solidFill>
              </a:defRPr>
            </a:lvl1pPr>
          </a:lstStyle>
          <a:p>
            <a:r>
              <a:rPr lang="zh-CN" altLang="en-US"/>
              <a:t>单击此处编辑母版标题样式</a:t>
            </a:r>
            <a:endParaRPr lang="en-GB"/>
          </a:p>
        </p:txBody>
      </p:sp>
    </p:spTree>
    <p:extLst>
      <p:ext uri="{BB962C8B-B14F-4D97-AF65-F5344CB8AC3E}">
        <p14:creationId xmlns:p14="http://schemas.microsoft.com/office/powerpoint/2010/main" val="274964487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hree Images and Caption">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0" y="3357563"/>
            <a:ext cx="4152900" cy="3500438"/>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4152900" y="1"/>
            <a:ext cx="3912062" cy="6857518"/>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6" name="Text Placeholder 5">
            <a:extLst>
              <a:ext uri="{FF2B5EF4-FFF2-40B4-BE49-F238E27FC236}">
                <a16:creationId xmlns:a16="http://schemas.microsoft.com/office/drawing/2014/main" id="{899B3B30-291B-0259-955A-B312868ADB24}"/>
              </a:ext>
            </a:extLst>
          </p:cNvPr>
          <p:cNvSpPr>
            <a:spLocks noGrp="1"/>
          </p:cNvSpPr>
          <p:nvPr>
            <p:ph type="body" sz="quarter" idx="15"/>
          </p:nvPr>
        </p:nvSpPr>
        <p:spPr>
          <a:xfrm>
            <a:off x="9104313" y="4376738"/>
            <a:ext cx="2795587" cy="1893887"/>
          </a:xfrm>
        </p:spPr>
        <p:txBody>
          <a:bodyPr/>
          <a:lstStyle>
            <a:lvl4pPr>
              <a:defRPr sz="4000"/>
            </a:lvl4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2" name="Picture Placeholder 5">
            <a:extLst>
              <a:ext uri="{FF2B5EF4-FFF2-40B4-BE49-F238E27FC236}">
                <a16:creationId xmlns:a16="http://schemas.microsoft.com/office/drawing/2014/main" id="{274C72C0-D5F1-8526-2BDA-0E6460C330CF}"/>
              </a:ext>
            </a:extLst>
          </p:cNvPr>
          <p:cNvSpPr>
            <a:spLocks noGrp="1"/>
          </p:cNvSpPr>
          <p:nvPr>
            <p:ph type="pic" sz="quarter" idx="16" hasCustomPrompt="1"/>
          </p:nvPr>
        </p:nvSpPr>
        <p:spPr>
          <a:xfrm>
            <a:off x="8064961" y="0"/>
            <a:ext cx="4114339" cy="3357563"/>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5" name="Title 4">
            <a:extLst>
              <a:ext uri="{FF2B5EF4-FFF2-40B4-BE49-F238E27FC236}">
                <a16:creationId xmlns:a16="http://schemas.microsoft.com/office/drawing/2014/main" id="{6D8318B1-25E6-EF2C-0244-43CD92F8BF97}"/>
              </a:ext>
            </a:extLst>
          </p:cNvPr>
          <p:cNvSpPr>
            <a:spLocks noGrp="1"/>
          </p:cNvSpPr>
          <p:nvPr>
            <p:ph type="title"/>
          </p:nvPr>
        </p:nvSpPr>
        <p:spPr>
          <a:xfrm>
            <a:off x="288000" y="696913"/>
            <a:ext cx="3770934" cy="1765868"/>
          </a:xfrm>
        </p:spPr>
        <p:txBody>
          <a:bodyPr/>
          <a:lstStyle>
            <a:lvl1pPr>
              <a:defRPr sz="4500"/>
            </a:lvl1pPr>
          </a:lstStyle>
          <a:p>
            <a:r>
              <a:rPr lang="zh-CN" altLang="en-US"/>
              <a:t>单击此处编辑母版标题样式</a:t>
            </a:r>
            <a:endParaRPr lang="en-GB"/>
          </a:p>
        </p:txBody>
      </p:sp>
    </p:spTree>
    <p:extLst>
      <p:ext uri="{BB962C8B-B14F-4D97-AF65-F5344CB8AC3E}">
        <p14:creationId xmlns:p14="http://schemas.microsoft.com/office/powerpoint/2010/main" val="410235409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Animated Title and Image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53FA985-3B61-CED4-73DE-1DFA4E2DD7DA}"/>
              </a:ext>
            </a:extLst>
          </p:cNvPr>
          <p:cNvSpPr>
            <a:spLocks noGrp="1"/>
          </p:cNvSpPr>
          <p:nvPr>
            <p:ph type="ftr" sz="quarter" idx="10"/>
          </p:nvPr>
        </p:nvSpPr>
        <p:spPr/>
        <p:txBody>
          <a:bodyPr/>
          <a:lstStyle/>
          <a:p>
            <a:r>
              <a:rPr lang="en-US"/>
              <a:t>Job Aid and Guidance Document still under review.</a:t>
            </a:r>
            <a:endParaRPr lang="en-GB"/>
          </a:p>
        </p:txBody>
      </p:sp>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0" y="-1"/>
            <a:ext cx="5041900" cy="3357563"/>
          </a:xfrm>
          <a:solidFill>
            <a:srgbClr val="F6F3F2"/>
          </a:solidFill>
        </p:spPr>
        <p:txBody>
          <a:bodyPr vert="horz" lIns="0" tIns="0" rIns="0" bIns="0" rtlCol="0">
            <a:noAutofit/>
          </a:bodyPr>
          <a:lstStyle>
            <a:lvl1pPr marL="0" marR="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6165850" y="3357563"/>
            <a:ext cx="6022552" cy="3499955"/>
          </a:xfrm>
          <a:solidFill>
            <a:srgbClr val="F6F3F2"/>
          </a:solidFill>
        </p:spPr>
        <p:txBody>
          <a:bodyPr vert="horz" lIns="0" tIns="0" rIns="0" bIns="0" rtlCol="0">
            <a:noAutofit/>
          </a:bodyPr>
          <a:lstStyle>
            <a:lvl1pPr marL="0" marR="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2" name="Text Placeholder 5">
            <a:extLst>
              <a:ext uri="{FF2B5EF4-FFF2-40B4-BE49-F238E27FC236}">
                <a16:creationId xmlns:a16="http://schemas.microsoft.com/office/drawing/2014/main" id="{769031AD-BE5D-A3B7-1DEC-6584F4E4BF8D}"/>
              </a:ext>
            </a:extLst>
          </p:cNvPr>
          <p:cNvSpPr>
            <a:spLocks noGrp="1"/>
          </p:cNvSpPr>
          <p:nvPr>
            <p:ph type="body" sz="quarter" idx="12" hasCustomPrompt="1"/>
          </p:nvPr>
        </p:nvSpPr>
        <p:spPr>
          <a:xfrm>
            <a:off x="6165850" y="1306512"/>
            <a:ext cx="5736764" cy="911019"/>
          </a:xfrm>
        </p:spPr>
        <p:txBody>
          <a:bodyPr wrap="square" anchor="ctr">
            <a:spAutoFit/>
          </a:bodyPr>
          <a:lstStyle>
            <a:lvl1pPr>
              <a:lnSpc>
                <a:spcPct val="80000"/>
              </a:lnSpc>
              <a:defRPr sz="7400" b="0" i="0">
                <a:solidFill>
                  <a:schemeClr val="accent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GB"/>
              <a:t>Key text</a:t>
            </a:r>
          </a:p>
        </p:txBody>
      </p:sp>
      <p:sp>
        <p:nvSpPr>
          <p:cNvPr id="13" name="Text Placeholder 5">
            <a:extLst>
              <a:ext uri="{FF2B5EF4-FFF2-40B4-BE49-F238E27FC236}">
                <a16:creationId xmlns:a16="http://schemas.microsoft.com/office/drawing/2014/main" id="{C02A894D-CD72-8370-90B3-68756CDFCBE0}"/>
              </a:ext>
            </a:extLst>
          </p:cNvPr>
          <p:cNvSpPr>
            <a:spLocks noGrp="1"/>
          </p:cNvSpPr>
          <p:nvPr>
            <p:ph type="body" sz="quarter" idx="15" hasCustomPrompt="1"/>
          </p:nvPr>
        </p:nvSpPr>
        <p:spPr>
          <a:xfrm>
            <a:off x="1266825" y="4377028"/>
            <a:ext cx="4754562" cy="911019"/>
          </a:xfrm>
        </p:spPr>
        <p:txBody>
          <a:bodyPr wrap="square" anchor="ctr">
            <a:spAutoFit/>
          </a:bodyPr>
          <a:lstStyle>
            <a:lvl1pPr>
              <a:lnSpc>
                <a:spcPct val="80000"/>
              </a:lnSpc>
              <a:defRPr sz="7400" b="0" i="0">
                <a:solidFill>
                  <a:schemeClr val="accent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GB"/>
              <a:t>goes here</a:t>
            </a:r>
          </a:p>
        </p:txBody>
      </p:sp>
    </p:spTree>
    <p:extLst>
      <p:ext uri="{BB962C8B-B14F-4D97-AF65-F5344CB8AC3E}">
        <p14:creationId xmlns:p14="http://schemas.microsoft.com/office/powerpoint/2010/main" val="28047683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63" presetClass="path" presetSubtype="0" accel="50000" decel="50000" fill="hold" grpId="1" nodeType="withEffect">
                                  <p:stCondLst>
                                    <p:cond delay="0"/>
                                  </p:stCondLst>
                                  <p:childTnLst>
                                    <p:animMotion origin="layout" path="M 1.45833E-6 -4.07407E-6 L 0.03906 -4.07407E-6 " pathEditMode="relative" rAng="0" ptsTypes="AA">
                                      <p:cBhvr>
                                        <p:cTn id="9" dur="1000" spd="-100000" fill="hold"/>
                                        <p:tgtEl>
                                          <p:spTgt spid="12"/>
                                        </p:tgtEl>
                                        <p:attrNameLst>
                                          <p:attrName>ppt_x</p:attrName>
                                          <p:attrName>ppt_y</p:attrName>
                                        </p:attrNameLst>
                                      </p:cBhvr>
                                      <p:rCtr x="1953"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par>
                                <p:cTn id="17" presetID="63" presetClass="path" presetSubtype="0" accel="50000" decel="50000" fill="hold" grpId="1" nodeType="withEffect">
                                  <p:stCondLst>
                                    <p:cond delay="0"/>
                                  </p:stCondLst>
                                  <p:childTnLst>
                                    <p:animMotion origin="layout" path="M -3.33333E-6 -3.7037E-6 L -0.03437 -3.7037E-6 " pathEditMode="relative" rAng="0" ptsTypes="AA">
                                      <p:cBhvr>
                                        <p:cTn id="18" dur="1000" spd="-100000" fill="hold"/>
                                        <p:tgtEl>
                                          <p:spTgt spid="13"/>
                                        </p:tgtEl>
                                        <p:attrNameLst>
                                          <p:attrName>ppt_x</p:attrName>
                                          <p:attrName>ppt_y</p:attrName>
                                        </p:attrNameLst>
                                      </p:cBhvr>
                                      <p:rCtr x="-1719" y="0"/>
                                    </p:animMotion>
                                  </p:childTnLst>
                                </p:cTn>
                              </p:par>
                              <p:par>
                                <p:cTn id="19" presetID="10"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p:tmplLst>
          <p:tmpl>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2" grpId="1"/>
      <p:bldP spid="13" grpId="0">
        <p:tmplLst>
          <p:tmpl>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13" grpId="1"/>
    </p:bld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Team Slide x 1">
    <p:bg>
      <p:bgPr>
        <a:solidFill>
          <a:schemeClr val="tx2"/>
        </a:solidFill>
        <a:effectLst/>
      </p:bgPr>
    </p:bg>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6096000" y="0"/>
            <a:ext cx="6095999" cy="6858000"/>
          </a:xfrm>
          <a:solidFill>
            <a:srgbClr val="F6F3F2"/>
          </a:solidFill>
        </p:spPr>
        <p:txBody>
          <a:bodyPr vert="horz" lIns="0" tIns="0" rIns="0" bIns="0" rtlCol="0">
            <a:noAutofit/>
          </a:bodyPr>
          <a:lstStyle>
            <a:lvl1pPr>
              <a:defRPr lang="en-GB" dirty="0">
                <a:solidFill>
                  <a:schemeClr val="tx1"/>
                </a:solidFill>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288925" y="5394325"/>
            <a:ext cx="2795587" cy="876300"/>
          </a:xfrm>
        </p:spPr>
        <p:txBody>
          <a:bodyPr anchor="t"/>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5" name="Text Placeholder 7">
            <a:extLst>
              <a:ext uri="{FF2B5EF4-FFF2-40B4-BE49-F238E27FC236}">
                <a16:creationId xmlns:a16="http://schemas.microsoft.com/office/drawing/2014/main" id="{D8DD8F62-9521-0227-75CF-0AE636418711}"/>
              </a:ext>
            </a:extLst>
          </p:cNvPr>
          <p:cNvSpPr>
            <a:spLocks noGrp="1"/>
          </p:cNvSpPr>
          <p:nvPr>
            <p:ph type="body" sz="quarter" idx="15"/>
          </p:nvPr>
        </p:nvSpPr>
        <p:spPr>
          <a:xfrm>
            <a:off x="288925" y="2338388"/>
            <a:ext cx="3778250" cy="189388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zh-CN" altLang="en-US"/>
              <a:t>单击此处编辑母版文本样式</a:t>
            </a:r>
          </a:p>
          <a:p>
            <a:pPr lvl="1"/>
            <a:r>
              <a:rPr lang="zh-CN" altLang="en-US"/>
              <a:t>二级</a:t>
            </a:r>
          </a:p>
          <a:p>
            <a:pPr lvl="2"/>
            <a:r>
              <a:rPr lang="zh-CN" altLang="en-US"/>
              <a:t>三级</a:t>
            </a:r>
          </a:p>
        </p:txBody>
      </p:sp>
      <p:sp>
        <p:nvSpPr>
          <p:cNvPr id="9" name="Title 7">
            <a:extLst>
              <a:ext uri="{FF2B5EF4-FFF2-40B4-BE49-F238E27FC236}">
                <a16:creationId xmlns:a16="http://schemas.microsoft.com/office/drawing/2014/main" id="{B09A4C51-350E-EA65-5ABE-B10E6D298CF1}"/>
              </a:ext>
            </a:extLst>
          </p:cNvPr>
          <p:cNvSpPr>
            <a:spLocks noGrp="1"/>
          </p:cNvSpPr>
          <p:nvPr>
            <p:ph type="title" hasCustomPrompt="1"/>
          </p:nvPr>
        </p:nvSpPr>
        <p:spPr>
          <a:xfrm>
            <a:off x="288303" y="262800"/>
            <a:ext cx="5733085" cy="468590"/>
          </a:xfrm>
        </p:spPr>
        <p:txBody>
          <a:bodyPr/>
          <a:lstStyle>
            <a:lvl1pPr>
              <a:defRPr>
                <a:solidFill>
                  <a:schemeClr val="bg1"/>
                </a:solidFill>
              </a:defRPr>
            </a:lvl1pPr>
          </a:lstStyle>
          <a:p>
            <a:r>
              <a:rPr lang="en-US"/>
              <a:t>Master title style</a:t>
            </a:r>
            <a:endParaRPr lang="en-GB"/>
          </a:p>
        </p:txBody>
      </p:sp>
      <p:sp>
        <p:nvSpPr>
          <p:cNvPr id="2" name="Subtitle 2">
            <a:extLst>
              <a:ext uri="{FF2B5EF4-FFF2-40B4-BE49-F238E27FC236}">
                <a16:creationId xmlns:a16="http://schemas.microsoft.com/office/drawing/2014/main" id="{5751BFC5-7E94-8966-6D2A-5204BCB942D2}"/>
              </a:ext>
            </a:extLst>
          </p:cNvPr>
          <p:cNvSpPr>
            <a:spLocks noGrp="1"/>
          </p:cNvSpPr>
          <p:nvPr>
            <p:ph type="subTitle" idx="16" hasCustomPrompt="1"/>
          </p:nvPr>
        </p:nvSpPr>
        <p:spPr>
          <a:xfrm>
            <a:off x="288302" y="713620"/>
            <a:ext cx="5733085" cy="292965"/>
          </a:xfrm>
        </p:spPr>
        <p:txBody>
          <a:bodyPr vert="horz" wrap="square" lIns="0" tIns="0" rIns="0" bIns="0" rtlCol="0" anchor="t">
            <a:spAutoFit/>
          </a:bodyPr>
          <a:lstStyle>
            <a:lvl1pPr>
              <a:defRPr lang="en-GB" b="1" dirty="0">
                <a:solidFill>
                  <a:schemeClr val="bg1"/>
                </a:solidFill>
              </a:defRPr>
            </a:lvl1pPr>
          </a:lstStyle>
          <a:p>
            <a:pPr lvl="0">
              <a:spcBef>
                <a:spcPts val="0"/>
              </a:spcBef>
              <a:spcAft>
                <a:spcPts val="0"/>
              </a:spcAft>
            </a:pPr>
            <a:r>
              <a:rPr lang="en-GB"/>
              <a:t>Subtitle goes here if required</a:t>
            </a:r>
          </a:p>
        </p:txBody>
      </p:sp>
      <p:sp>
        <p:nvSpPr>
          <p:cNvPr id="3" name="Graphic 8">
            <a:extLst>
              <a:ext uri="{FF2B5EF4-FFF2-40B4-BE49-F238E27FC236}">
                <a16:creationId xmlns:a16="http://schemas.microsoft.com/office/drawing/2014/main" id="{0256C6C6-C2B0-619B-06B6-F0B7706CD3DA}"/>
              </a:ext>
            </a:extLst>
          </p:cNvPr>
          <p:cNvSpPr>
            <a:spLocks noChangeAspect="1"/>
          </p:cNvSpPr>
          <p:nvPr/>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a:p>
        </p:txBody>
      </p:sp>
      <p:sp>
        <p:nvSpPr>
          <p:cNvPr id="8" name="Footer Placeholder 4">
            <a:extLst>
              <a:ext uri="{FF2B5EF4-FFF2-40B4-BE49-F238E27FC236}">
                <a16:creationId xmlns:a16="http://schemas.microsoft.com/office/drawing/2014/main" id="{7CFA9BD7-A950-F265-46D3-F16CEFFCE4BC}"/>
              </a:ext>
            </a:extLst>
          </p:cNvPr>
          <p:cNvSpPr txBox="1">
            <a:spLocks/>
          </p:cNvSpPr>
          <p:nvPr/>
        </p:nvSpPr>
        <p:spPr>
          <a:xfrm>
            <a:off x="4316255" y="6447637"/>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0" i="0" kern="1200">
                <a:solidFill>
                  <a:schemeClr val="bg1"/>
                </a:solidFill>
                <a:latin typeface="+mn-lt"/>
                <a:ea typeface="+mn-ea"/>
                <a:cs typeface="+mn-cs"/>
              </a:rPr>
              <a:t>HEALTH CARE COMPLIANCE</a:t>
            </a:r>
          </a:p>
        </p:txBody>
      </p:sp>
      <p:sp>
        <p:nvSpPr>
          <p:cNvPr id="6" name="Graphic 8">
            <a:extLst>
              <a:ext uri="{FF2B5EF4-FFF2-40B4-BE49-F238E27FC236}">
                <a16:creationId xmlns:a16="http://schemas.microsoft.com/office/drawing/2014/main" id="{7ACF7624-C8C6-1033-D2C7-B2232EB65E95}"/>
              </a:ext>
            </a:extLst>
          </p:cNvPr>
          <p:cNvSpPr>
            <a:spLocks noChangeAspect="1"/>
          </p:cNvSpPr>
          <p:nvPr userDrawn="1"/>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a:p>
        </p:txBody>
      </p:sp>
    </p:spTree>
    <p:extLst>
      <p:ext uri="{BB962C8B-B14F-4D97-AF65-F5344CB8AC3E}">
        <p14:creationId xmlns:p14="http://schemas.microsoft.com/office/powerpoint/2010/main" val="11775238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Numbers [Accessible Version]">
    <p:bg>
      <p:bgPr>
        <a:solidFill>
          <a:srgbClr val="F6F3F2"/>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429BCB1-0FF2-B8E0-831A-4C2A0BEF189C}"/>
              </a:ext>
            </a:extLst>
          </p:cNvPr>
          <p:cNvSpPr>
            <a:spLocks noGrp="1"/>
          </p:cNvSpPr>
          <p:nvPr>
            <p:ph type="title"/>
          </p:nvPr>
        </p:nvSpPr>
        <p:spPr>
          <a:xfrm>
            <a:off x="288303" y="273600"/>
            <a:ext cx="1811959" cy="397032"/>
          </a:xfrm>
        </p:spPr>
        <p:txBody>
          <a:bodyPr/>
          <a:lstStyle>
            <a:lvl1pPr>
              <a:lnSpc>
                <a:spcPct val="85000"/>
              </a:lnSpc>
              <a:defRPr sz="1500" b="1" i="0">
                <a:solidFill>
                  <a:schemeClr val="tx1"/>
                </a:solidFill>
                <a:latin typeface="Johnson Text" pitchFamily="2" charset="77"/>
              </a:defRPr>
            </a:lvl1pPr>
          </a:lstStyle>
          <a:p>
            <a:r>
              <a:rPr lang="en-US"/>
              <a:t>Click to edit Master title style</a:t>
            </a:r>
            <a:endParaRPr lang="en-GB"/>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lvl1pPr>
              <a:defRPr>
                <a:solidFill>
                  <a:schemeClr val="tx1"/>
                </a:solidFill>
              </a:defRPr>
            </a:lvl1pPr>
          </a:lstStyle>
          <a:p>
            <a:r>
              <a:rPr lang="en-US"/>
              <a:t>Job Aid and Guidance Document still under review.</a:t>
            </a:r>
            <a:endParaRPr lang="en-GB"/>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lvl1pPr>
              <a:defRPr>
                <a:solidFill>
                  <a:schemeClr val="tx1"/>
                </a:solidFill>
              </a:defRPr>
            </a:lvl1pPr>
          </a:lstStyle>
          <a:p>
            <a:fld id="{AEC8D767-5246-2244-A4A3-B8AFB218393C}" type="slidenum">
              <a:rPr lang="en-GB" smtClean="0"/>
              <a:pPr/>
              <a:t>‹#›</a:t>
            </a:fld>
            <a:endParaRPr lang="en-GB"/>
          </a:p>
        </p:txBody>
      </p:sp>
      <p:sp>
        <p:nvSpPr>
          <p:cNvPr id="2" name="Picture Placeholder 91">
            <a:extLst>
              <a:ext uri="{FF2B5EF4-FFF2-40B4-BE49-F238E27FC236}">
                <a16:creationId xmlns:a16="http://schemas.microsoft.com/office/drawing/2014/main" id="{26B4C449-2487-DF2A-7645-8218B023E592}"/>
              </a:ext>
            </a:extLst>
          </p:cNvPr>
          <p:cNvSpPr>
            <a:spLocks noGrp="1"/>
          </p:cNvSpPr>
          <p:nvPr>
            <p:ph type="pic" sz="quarter" idx="55" hasCustomPrompt="1"/>
          </p:nvPr>
        </p:nvSpPr>
        <p:spPr>
          <a:xfrm>
            <a:off x="3225799" y="291037"/>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vl9pPr>
              <a:defRPr>
                <a:solidFill>
                  <a:schemeClr val="tx1"/>
                </a:solidFill>
              </a:defRPr>
            </a:lvl9pPr>
          </a:lstStyle>
          <a:p>
            <a:pPr lvl="8"/>
            <a:r>
              <a:rPr lang="en-GB"/>
              <a:t> </a:t>
            </a:r>
          </a:p>
        </p:txBody>
      </p:sp>
      <p:sp>
        <p:nvSpPr>
          <p:cNvPr id="6" name="Text Placeholder 14">
            <a:extLst>
              <a:ext uri="{FF2B5EF4-FFF2-40B4-BE49-F238E27FC236}">
                <a16:creationId xmlns:a16="http://schemas.microsoft.com/office/drawing/2014/main" id="{D7090765-328D-D615-6AFB-B0F523075373}"/>
              </a:ext>
            </a:extLst>
          </p:cNvPr>
          <p:cNvSpPr>
            <a:spLocks noGrp="1"/>
          </p:cNvSpPr>
          <p:nvPr>
            <p:ph type="body" sz="quarter" idx="60"/>
          </p:nvPr>
        </p:nvSpPr>
        <p:spPr>
          <a:xfrm>
            <a:off x="8124824" y="527050"/>
            <a:ext cx="3775075" cy="1498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2" name="Picture Placeholder 91">
            <a:extLst>
              <a:ext uri="{FF2B5EF4-FFF2-40B4-BE49-F238E27FC236}">
                <a16:creationId xmlns:a16="http://schemas.microsoft.com/office/drawing/2014/main" id="{04E11CE5-CC63-4DF3-91BC-7D123FA2380B}"/>
              </a:ext>
            </a:extLst>
          </p:cNvPr>
          <p:cNvSpPr>
            <a:spLocks noGrp="1"/>
          </p:cNvSpPr>
          <p:nvPr>
            <p:ph type="pic" sz="quarter" idx="67" hasCustomPrompt="1"/>
          </p:nvPr>
        </p:nvSpPr>
        <p:spPr>
          <a:xfrm>
            <a:off x="3225799" y="2282397"/>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vl9pPr>
              <a:defRPr>
                <a:solidFill>
                  <a:schemeClr val="tx1"/>
                </a:solidFill>
              </a:defRPr>
            </a:lvl9pPr>
          </a:lstStyle>
          <a:p>
            <a:pPr lvl="8"/>
            <a:r>
              <a:rPr lang="en-GB"/>
              <a:t> </a:t>
            </a:r>
          </a:p>
        </p:txBody>
      </p:sp>
      <p:sp>
        <p:nvSpPr>
          <p:cNvPr id="16" name="Text Placeholder 14">
            <a:extLst>
              <a:ext uri="{FF2B5EF4-FFF2-40B4-BE49-F238E27FC236}">
                <a16:creationId xmlns:a16="http://schemas.microsoft.com/office/drawing/2014/main" id="{89F6050B-0591-0406-0A2B-C58DB12244B1}"/>
              </a:ext>
            </a:extLst>
          </p:cNvPr>
          <p:cNvSpPr>
            <a:spLocks noGrp="1"/>
          </p:cNvSpPr>
          <p:nvPr>
            <p:ph type="body" sz="quarter" idx="69"/>
          </p:nvPr>
        </p:nvSpPr>
        <p:spPr>
          <a:xfrm>
            <a:off x="8124824" y="2518410"/>
            <a:ext cx="3775075" cy="1498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7" name="Picture Placeholder 91">
            <a:extLst>
              <a:ext uri="{FF2B5EF4-FFF2-40B4-BE49-F238E27FC236}">
                <a16:creationId xmlns:a16="http://schemas.microsoft.com/office/drawing/2014/main" id="{95D4FFE4-0D64-5F30-AD0F-100BD6D65389}"/>
              </a:ext>
            </a:extLst>
          </p:cNvPr>
          <p:cNvSpPr>
            <a:spLocks noGrp="1"/>
          </p:cNvSpPr>
          <p:nvPr>
            <p:ph type="pic" sz="quarter" idx="70" hasCustomPrompt="1"/>
          </p:nvPr>
        </p:nvSpPr>
        <p:spPr>
          <a:xfrm>
            <a:off x="3225799" y="428646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vl9pPr>
              <a:defRPr>
                <a:solidFill>
                  <a:schemeClr val="tx1"/>
                </a:solidFill>
              </a:defRPr>
            </a:lvl9pPr>
          </a:lstStyle>
          <a:p>
            <a:pPr lvl="8"/>
            <a:r>
              <a:rPr lang="en-GB"/>
              <a:t> </a:t>
            </a:r>
          </a:p>
        </p:txBody>
      </p:sp>
      <p:sp>
        <p:nvSpPr>
          <p:cNvPr id="21" name="Text Placeholder 14">
            <a:extLst>
              <a:ext uri="{FF2B5EF4-FFF2-40B4-BE49-F238E27FC236}">
                <a16:creationId xmlns:a16="http://schemas.microsoft.com/office/drawing/2014/main" id="{C4F52E6D-F9EF-905D-6975-963F7D958ED5}"/>
              </a:ext>
            </a:extLst>
          </p:cNvPr>
          <p:cNvSpPr>
            <a:spLocks noGrp="1"/>
          </p:cNvSpPr>
          <p:nvPr>
            <p:ph type="body" sz="quarter" idx="72"/>
          </p:nvPr>
        </p:nvSpPr>
        <p:spPr>
          <a:xfrm>
            <a:off x="8124824" y="4522482"/>
            <a:ext cx="3775075" cy="1498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2" name="Picture Placeholder 91">
            <a:extLst>
              <a:ext uri="{FF2B5EF4-FFF2-40B4-BE49-F238E27FC236}">
                <a16:creationId xmlns:a16="http://schemas.microsoft.com/office/drawing/2014/main" id="{02D2CE40-9732-D3AB-4F10-762299122CE1}"/>
              </a:ext>
            </a:extLst>
          </p:cNvPr>
          <p:cNvSpPr>
            <a:spLocks noGrp="1"/>
          </p:cNvSpPr>
          <p:nvPr>
            <p:ph type="pic" sz="quarter" idx="73" hasCustomPrompt="1"/>
          </p:nvPr>
        </p:nvSpPr>
        <p:spPr>
          <a:xfrm>
            <a:off x="3225799" y="628798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vl9pPr>
              <a:defRPr>
                <a:solidFill>
                  <a:schemeClr val="tx1"/>
                </a:solidFill>
              </a:defRPr>
            </a:lvl9pPr>
          </a:lstStyle>
          <a:p>
            <a:pPr lvl="8"/>
            <a:r>
              <a:rPr lang="en-GB"/>
              <a:t> </a:t>
            </a:r>
          </a:p>
        </p:txBody>
      </p:sp>
      <p:sp>
        <p:nvSpPr>
          <p:cNvPr id="23" name="Text Placeholder 26">
            <a:extLst>
              <a:ext uri="{FF2B5EF4-FFF2-40B4-BE49-F238E27FC236}">
                <a16:creationId xmlns:a16="http://schemas.microsoft.com/office/drawing/2014/main" id="{C4A7D748-90AF-308A-44E9-BE56492932EB}"/>
              </a:ext>
            </a:extLst>
          </p:cNvPr>
          <p:cNvSpPr>
            <a:spLocks noGrp="1"/>
          </p:cNvSpPr>
          <p:nvPr>
            <p:ph type="body" sz="quarter" idx="74" hasCustomPrompt="1"/>
          </p:nvPr>
        </p:nvSpPr>
        <p:spPr>
          <a:xfrm>
            <a:off x="3225800" y="111125"/>
            <a:ext cx="3776663" cy="1789113"/>
          </a:xfrm>
        </p:spPr>
        <p:txBody>
          <a:bodyPr/>
          <a:lstStyle>
            <a:lvl1pPr>
              <a:defRPr sz="11000">
                <a:solidFill>
                  <a:schemeClr val="tx2"/>
                </a:solidFill>
                <a:latin typeface="+mj-lt"/>
              </a:defRPr>
            </a:lvl1pPr>
          </a:lstStyle>
          <a:p>
            <a:pPr lvl="0"/>
            <a:r>
              <a:rPr lang="en-GB"/>
              <a:t>00</a:t>
            </a:r>
          </a:p>
        </p:txBody>
      </p:sp>
      <p:sp>
        <p:nvSpPr>
          <p:cNvPr id="26" name="Text Placeholder 26">
            <a:extLst>
              <a:ext uri="{FF2B5EF4-FFF2-40B4-BE49-F238E27FC236}">
                <a16:creationId xmlns:a16="http://schemas.microsoft.com/office/drawing/2014/main" id="{ED360C76-27A8-44D1-6730-F7FA8D1EC543}"/>
              </a:ext>
            </a:extLst>
          </p:cNvPr>
          <p:cNvSpPr>
            <a:spLocks noGrp="1"/>
          </p:cNvSpPr>
          <p:nvPr>
            <p:ph type="body" sz="quarter" idx="75" hasCustomPrompt="1"/>
          </p:nvPr>
        </p:nvSpPr>
        <p:spPr>
          <a:xfrm>
            <a:off x="3225800" y="2102616"/>
            <a:ext cx="3776663" cy="1789113"/>
          </a:xfrm>
        </p:spPr>
        <p:txBody>
          <a:bodyPr/>
          <a:lstStyle>
            <a:lvl1pPr>
              <a:defRPr sz="11000">
                <a:solidFill>
                  <a:schemeClr val="tx2"/>
                </a:solidFill>
                <a:latin typeface="+mj-lt"/>
              </a:defRPr>
            </a:lvl1pPr>
          </a:lstStyle>
          <a:p>
            <a:pPr lvl="0"/>
            <a:r>
              <a:rPr lang="en-GB"/>
              <a:t>00</a:t>
            </a:r>
          </a:p>
        </p:txBody>
      </p:sp>
      <p:sp>
        <p:nvSpPr>
          <p:cNvPr id="27" name="Text Placeholder 26">
            <a:extLst>
              <a:ext uri="{FF2B5EF4-FFF2-40B4-BE49-F238E27FC236}">
                <a16:creationId xmlns:a16="http://schemas.microsoft.com/office/drawing/2014/main" id="{28863499-99BA-9382-A790-8823B96ABCDE}"/>
              </a:ext>
            </a:extLst>
          </p:cNvPr>
          <p:cNvSpPr>
            <a:spLocks noGrp="1"/>
          </p:cNvSpPr>
          <p:nvPr>
            <p:ph type="body" sz="quarter" idx="76" hasCustomPrompt="1"/>
          </p:nvPr>
        </p:nvSpPr>
        <p:spPr>
          <a:xfrm>
            <a:off x="3225800" y="4106128"/>
            <a:ext cx="3776663" cy="1789113"/>
          </a:xfrm>
        </p:spPr>
        <p:txBody>
          <a:bodyPr/>
          <a:lstStyle>
            <a:lvl1pPr>
              <a:defRPr sz="11000">
                <a:solidFill>
                  <a:schemeClr val="tx2"/>
                </a:solidFill>
                <a:latin typeface="+mj-lt"/>
              </a:defRPr>
            </a:lvl1pPr>
          </a:lstStyle>
          <a:p>
            <a:pPr lvl="0"/>
            <a:r>
              <a:rPr lang="en-GB"/>
              <a:t>00</a:t>
            </a:r>
          </a:p>
        </p:txBody>
      </p:sp>
    </p:spTree>
    <p:extLst>
      <p:ext uri="{BB962C8B-B14F-4D97-AF65-F5344CB8AC3E}">
        <p14:creationId xmlns:p14="http://schemas.microsoft.com/office/powerpoint/2010/main" val="134214747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p:cSld name="Team Slide x 1-2">
    <p:bg>
      <p:bgPr>
        <a:solidFill>
          <a:schemeClr val="tx2"/>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lvl1pPr>
              <a:defRPr>
                <a:solidFill>
                  <a:schemeClr val="bg1"/>
                </a:solidFill>
              </a:defRPr>
            </a:lvl1pPr>
          </a:lstStyle>
          <a:p>
            <a:pPr>
              <a:spcBef>
                <a:spcPts val="0"/>
              </a:spcBef>
              <a:spcAft>
                <a:spcPts val="300"/>
              </a:spcAft>
            </a:pPr>
            <a:r>
              <a:rPr lang="en-US"/>
              <a:t>Job Aid and Guidance Document still under review.</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8124825" y="285158"/>
            <a:ext cx="3775075" cy="3947118"/>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8124825" y="4376738"/>
            <a:ext cx="3775075" cy="1893887"/>
          </a:xfrm>
        </p:spPr>
        <p:txBody>
          <a:bodyPr/>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 name="Text Placeholder 7">
            <a:extLst>
              <a:ext uri="{FF2B5EF4-FFF2-40B4-BE49-F238E27FC236}">
                <a16:creationId xmlns:a16="http://schemas.microsoft.com/office/drawing/2014/main" id="{AE887C0B-D804-38AD-7676-333BDBFC1AF7}"/>
              </a:ext>
            </a:extLst>
          </p:cNvPr>
          <p:cNvSpPr>
            <a:spLocks noGrp="1"/>
          </p:cNvSpPr>
          <p:nvPr>
            <p:ph type="body" sz="quarter" idx="15"/>
          </p:nvPr>
        </p:nvSpPr>
        <p:spPr>
          <a:xfrm>
            <a:off x="288925" y="4376738"/>
            <a:ext cx="3778250" cy="189388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zh-CN" altLang="en-US"/>
              <a:t>单击此处编辑母版文本样式</a:t>
            </a:r>
          </a:p>
          <a:p>
            <a:pPr lvl="1"/>
            <a:r>
              <a:rPr lang="zh-CN" altLang="en-US"/>
              <a:t>二级</a:t>
            </a:r>
          </a:p>
          <a:p>
            <a:pPr lvl="2"/>
            <a:r>
              <a:rPr lang="zh-CN" altLang="en-US"/>
              <a:t>三级</a:t>
            </a:r>
          </a:p>
        </p:txBody>
      </p:sp>
      <p:sp>
        <p:nvSpPr>
          <p:cNvPr id="2" name="Picture Placeholder 3">
            <a:extLst>
              <a:ext uri="{FF2B5EF4-FFF2-40B4-BE49-F238E27FC236}">
                <a16:creationId xmlns:a16="http://schemas.microsoft.com/office/drawing/2014/main" id="{AE4666F2-0E72-5C8A-DFF8-2DD7C6E4BAAE}"/>
              </a:ext>
            </a:extLst>
          </p:cNvPr>
          <p:cNvSpPr>
            <a:spLocks noGrp="1"/>
          </p:cNvSpPr>
          <p:nvPr>
            <p:ph type="pic" sz="quarter" idx="25" hasCustomPrompt="1"/>
          </p:nvPr>
        </p:nvSpPr>
        <p:spPr>
          <a:xfrm>
            <a:off x="4207732" y="285158"/>
            <a:ext cx="3775075" cy="3947118"/>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4207732" y="4376738"/>
            <a:ext cx="3775075" cy="1893887"/>
          </a:xfrm>
        </p:spPr>
        <p:txBody>
          <a:bodyPr/>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0" name="Title 7">
            <a:extLst>
              <a:ext uri="{FF2B5EF4-FFF2-40B4-BE49-F238E27FC236}">
                <a16:creationId xmlns:a16="http://schemas.microsoft.com/office/drawing/2014/main" id="{E80529FD-0171-E552-588C-C152AED56261}"/>
              </a:ext>
            </a:extLst>
          </p:cNvPr>
          <p:cNvSpPr>
            <a:spLocks noGrp="1"/>
          </p:cNvSpPr>
          <p:nvPr>
            <p:ph type="title" hasCustomPrompt="1"/>
          </p:nvPr>
        </p:nvSpPr>
        <p:spPr>
          <a:xfrm>
            <a:off x="288303" y="262800"/>
            <a:ext cx="3775073" cy="454529"/>
          </a:xfrm>
        </p:spPr>
        <p:txBody>
          <a:bodyPr/>
          <a:lstStyle>
            <a:lvl1pPr>
              <a:defRPr>
                <a:solidFill>
                  <a:schemeClr val="bg1"/>
                </a:solidFill>
              </a:defRPr>
            </a:lvl1pPr>
          </a:lstStyle>
          <a:p>
            <a:r>
              <a:rPr lang="en-US"/>
              <a:t>Master title style</a:t>
            </a:r>
            <a:endParaRPr lang="en-GB"/>
          </a:p>
        </p:txBody>
      </p:sp>
      <p:sp>
        <p:nvSpPr>
          <p:cNvPr id="5" name="Subtitle 2">
            <a:extLst>
              <a:ext uri="{FF2B5EF4-FFF2-40B4-BE49-F238E27FC236}">
                <a16:creationId xmlns:a16="http://schemas.microsoft.com/office/drawing/2014/main" id="{EA79EF84-4162-265E-6156-177364480E50}"/>
              </a:ext>
            </a:extLst>
          </p:cNvPr>
          <p:cNvSpPr>
            <a:spLocks noGrp="1"/>
          </p:cNvSpPr>
          <p:nvPr>
            <p:ph type="subTitle" idx="16" hasCustomPrompt="1"/>
          </p:nvPr>
        </p:nvSpPr>
        <p:spPr>
          <a:xfrm>
            <a:off x="288302" y="713620"/>
            <a:ext cx="3775075" cy="292965"/>
          </a:xfrm>
        </p:spPr>
        <p:txBody>
          <a:bodyPr vert="horz" wrap="square" lIns="0" tIns="0" rIns="0" bIns="0" rtlCol="0" anchor="t">
            <a:spAutoFit/>
          </a:bodyPr>
          <a:lstStyle>
            <a:lvl1pPr>
              <a:defRPr lang="en-GB" b="1" dirty="0">
                <a:solidFill>
                  <a:schemeClr val="bg1"/>
                </a:solidFill>
              </a:defRPr>
            </a:lvl1pPr>
          </a:lstStyle>
          <a:p>
            <a:pPr lvl="0">
              <a:spcBef>
                <a:spcPts val="0"/>
              </a:spcBef>
              <a:spcAft>
                <a:spcPts val="0"/>
              </a:spcAft>
            </a:pPr>
            <a:r>
              <a:rPr lang="en-GB"/>
              <a:t>Subtitle goes here if required</a:t>
            </a:r>
          </a:p>
        </p:txBody>
      </p:sp>
      <p:sp>
        <p:nvSpPr>
          <p:cNvPr id="9" name="Graphic 8">
            <a:extLst>
              <a:ext uri="{FF2B5EF4-FFF2-40B4-BE49-F238E27FC236}">
                <a16:creationId xmlns:a16="http://schemas.microsoft.com/office/drawing/2014/main" id="{B58D846E-E0EB-4B4E-2451-D64CE997DC63}"/>
              </a:ext>
            </a:extLst>
          </p:cNvPr>
          <p:cNvSpPr>
            <a:spLocks noChangeAspect="1"/>
          </p:cNvSpPr>
          <p:nvPr/>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a:p>
        </p:txBody>
      </p:sp>
      <p:sp>
        <p:nvSpPr>
          <p:cNvPr id="8" name="Footer Placeholder 4">
            <a:extLst>
              <a:ext uri="{FF2B5EF4-FFF2-40B4-BE49-F238E27FC236}">
                <a16:creationId xmlns:a16="http://schemas.microsoft.com/office/drawing/2014/main" id="{F8CF73C8-223E-60EF-776A-A34801EA3D09}"/>
              </a:ext>
            </a:extLst>
          </p:cNvPr>
          <p:cNvSpPr txBox="1">
            <a:spLocks/>
          </p:cNvSpPr>
          <p:nvPr/>
        </p:nvSpPr>
        <p:spPr>
          <a:xfrm>
            <a:off x="9772073" y="6424023"/>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0" i="0" kern="1200">
                <a:solidFill>
                  <a:schemeClr val="bg1"/>
                </a:solidFill>
                <a:latin typeface="+mn-lt"/>
                <a:ea typeface="+mn-ea"/>
                <a:cs typeface="+mn-cs"/>
              </a:rPr>
              <a:t>HEALTH CARE COMPLIANCE</a:t>
            </a:r>
          </a:p>
        </p:txBody>
      </p:sp>
      <p:sp>
        <p:nvSpPr>
          <p:cNvPr id="11" name="Graphic 8">
            <a:extLst>
              <a:ext uri="{FF2B5EF4-FFF2-40B4-BE49-F238E27FC236}">
                <a16:creationId xmlns:a16="http://schemas.microsoft.com/office/drawing/2014/main" id="{9B5BA339-6D1F-6438-87BF-2EABD3BFDDAC}"/>
              </a:ext>
            </a:extLst>
          </p:cNvPr>
          <p:cNvSpPr>
            <a:spLocks noChangeAspect="1"/>
          </p:cNvSpPr>
          <p:nvPr userDrawn="1"/>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a:p>
        </p:txBody>
      </p:sp>
    </p:spTree>
    <p:extLst>
      <p:ext uri="{BB962C8B-B14F-4D97-AF65-F5344CB8AC3E}">
        <p14:creationId xmlns:p14="http://schemas.microsoft.com/office/powerpoint/2010/main" val="293918751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Team Slide x 3">
    <p:bg>
      <p:bgPr>
        <a:solidFill>
          <a:schemeClr val="tx2"/>
        </a:solidFill>
        <a:effectLst/>
      </p:bgPr>
    </p:bg>
    <p:spTree>
      <p:nvGrpSpPr>
        <p:cNvPr id="1" name=""/>
        <p:cNvGrpSpPr/>
        <p:nvPr/>
      </p:nvGrpSpPr>
      <p:grpSpPr>
        <a:xfrm>
          <a:off x="0" y="0"/>
          <a:ext cx="0" cy="0"/>
          <a:chOff x="0" y="0"/>
          <a:chExt cx="0" cy="0"/>
        </a:xfrm>
      </p:grpSpPr>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6161089" y="1309284"/>
            <a:ext cx="2795588" cy="2922992"/>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6161088" y="4376738"/>
            <a:ext cx="2797905" cy="1893887"/>
          </a:xfrm>
        </p:spPr>
        <p:txBody>
          <a:bodyPr/>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 name="Picture Placeholder 3">
            <a:extLst>
              <a:ext uri="{FF2B5EF4-FFF2-40B4-BE49-F238E27FC236}">
                <a16:creationId xmlns:a16="http://schemas.microsoft.com/office/drawing/2014/main" id="{AE4666F2-0E72-5C8A-DFF8-2DD7C6E4BAAE}"/>
              </a:ext>
            </a:extLst>
          </p:cNvPr>
          <p:cNvSpPr>
            <a:spLocks noGrp="1"/>
          </p:cNvSpPr>
          <p:nvPr>
            <p:ph type="pic" sz="quarter" idx="25" hasCustomPrompt="1"/>
          </p:nvPr>
        </p:nvSpPr>
        <p:spPr>
          <a:xfrm>
            <a:off x="3225801" y="1309284"/>
            <a:ext cx="2795588" cy="2922992"/>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3225800" y="4376738"/>
            <a:ext cx="2794731" cy="1893887"/>
          </a:xfrm>
        </p:spPr>
        <p:txBody>
          <a:bodyPr/>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9" name="Picture Placeholder 3">
            <a:extLst>
              <a:ext uri="{FF2B5EF4-FFF2-40B4-BE49-F238E27FC236}">
                <a16:creationId xmlns:a16="http://schemas.microsoft.com/office/drawing/2014/main" id="{2D83ADDB-0799-3ABA-AFB5-0EF907EBBC1C}"/>
              </a:ext>
            </a:extLst>
          </p:cNvPr>
          <p:cNvSpPr>
            <a:spLocks noGrp="1"/>
          </p:cNvSpPr>
          <p:nvPr>
            <p:ph type="pic" sz="quarter" idx="27" hasCustomPrompt="1"/>
          </p:nvPr>
        </p:nvSpPr>
        <p:spPr>
          <a:xfrm>
            <a:off x="9119384" y="1309284"/>
            <a:ext cx="2795588" cy="2922992"/>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10" name="Text Placeholder 10">
            <a:extLst>
              <a:ext uri="{FF2B5EF4-FFF2-40B4-BE49-F238E27FC236}">
                <a16:creationId xmlns:a16="http://schemas.microsoft.com/office/drawing/2014/main" id="{5A40ED4D-9D7E-FA31-0E92-48608769B8DC}"/>
              </a:ext>
            </a:extLst>
          </p:cNvPr>
          <p:cNvSpPr>
            <a:spLocks noGrp="1"/>
          </p:cNvSpPr>
          <p:nvPr>
            <p:ph type="body" sz="quarter" idx="28" hasCustomPrompt="1"/>
          </p:nvPr>
        </p:nvSpPr>
        <p:spPr>
          <a:xfrm>
            <a:off x="9119383" y="4376738"/>
            <a:ext cx="2797905" cy="1893887"/>
          </a:xfrm>
        </p:spPr>
        <p:txBody>
          <a:bodyPr/>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8" name="Text Placeholder 7">
            <a:extLst>
              <a:ext uri="{FF2B5EF4-FFF2-40B4-BE49-F238E27FC236}">
                <a16:creationId xmlns:a16="http://schemas.microsoft.com/office/drawing/2014/main" id="{048FEEB1-636D-38E4-1003-F9C2F0009989}"/>
              </a:ext>
            </a:extLst>
          </p:cNvPr>
          <p:cNvSpPr>
            <a:spLocks noGrp="1"/>
          </p:cNvSpPr>
          <p:nvPr>
            <p:ph type="body" sz="quarter" idx="15"/>
          </p:nvPr>
        </p:nvSpPr>
        <p:spPr>
          <a:xfrm>
            <a:off x="288925" y="4376738"/>
            <a:ext cx="2776485" cy="189388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zh-CN" altLang="en-US"/>
              <a:t>单击此处编辑母版文本样式</a:t>
            </a:r>
          </a:p>
          <a:p>
            <a:pPr lvl="1"/>
            <a:r>
              <a:rPr lang="zh-CN" altLang="en-US"/>
              <a:t>二级</a:t>
            </a:r>
          </a:p>
          <a:p>
            <a:pPr lvl="2"/>
            <a:r>
              <a:rPr lang="zh-CN" altLang="en-US"/>
              <a:t>三级</a:t>
            </a:r>
          </a:p>
        </p:txBody>
      </p:sp>
      <p:sp>
        <p:nvSpPr>
          <p:cNvPr id="12" name="Title 11">
            <a:extLst>
              <a:ext uri="{FF2B5EF4-FFF2-40B4-BE49-F238E27FC236}">
                <a16:creationId xmlns:a16="http://schemas.microsoft.com/office/drawing/2014/main" id="{C45B8B1D-DD68-528A-E1DB-9EC7F9835CC4}"/>
              </a:ext>
            </a:extLst>
          </p:cNvPr>
          <p:cNvSpPr>
            <a:spLocks noGrp="1"/>
          </p:cNvSpPr>
          <p:nvPr>
            <p:ph type="title"/>
          </p:nvPr>
        </p:nvSpPr>
        <p:spPr>
          <a:xfrm>
            <a:off x="288303" y="262800"/>
            <a:ext cx="9649446" cy="468590"/>
          </a:xfrm>
        </p:spPr>
        <p:txBody>
          <a:bodyPr/>
          <a:lstStyle>
            <a:lvl1pPr>
              <a:defRPr>
                <a:solidFill>
                  <a:schemeClr val="bg1"/>
                </a:solidFill>
              </a:defRPr>
            </a:lvl1pPr>
          </a:lstStyle>
          <a:p>
            <a:r>
              <a:rPr lang="zh-CN" altLang="en-US"/>
              <a:t>单击此处编辑母版标题样式</a:t>
            </a:r>
            <a:endParaRPr lang="en-GB"/>
          </a:p>
        </p:txBody>
      </p:sp>
      <p:sp>
        <p:nvSpPr>
          <p:cNvPr id="3" name="Subtitle 2">
            <a:extLst>
              <a:ext uri="{FF2B5EF4-FFF2-40B4-BE49-F238E27FC236}">
                <a16:creationId xmlns:a16="http://schemas.microsoft.com/office/drawing/2014/main" id="{A56CA54C-86BC-245E-8EEE-F0C02489F097}"/>
              </a:ext>
            </a:extLst>
          </p:cNvPr>
          <p:cNvSpPr>
            <a:spLocks noGrp="1"/>
          </p:cNvSpPr>
          <p:nvPr>
            <p:ph type="subTitle" idx="16" hasCustomPrompt="1"/>
          </p:nvPr>
        </p:nvSpPr>
        <p:spPr>
          <a:xfrm>
            <a:off x="288301" y="713620"/>
            <a:ext cx="9649445" cy="292965"/>
          </a:xfrm>
        </p:spPr>
        <p:txBody>
          <a:bodyPr vert="horz" wrap="square" lIns="0" tIns="0" rIns="0" bIns="0" rtlCol="0" anchor="t">
            <a:spAutoFit/>
          </a:bodyPr>
          <a:lstStyle>
            <a:lvl1pPr>
              <a:defRPr lang="en-GB" b="1" dirty="0">
                <a:solidFill>
                  <a:schemeClr val="bg1"/>
                </a:solidFill>
              </a:defRPr>
            </a:lvl1pPr>
          </a:lstStyle>
          <a:p>
            <a:pPr lvl="0">
              <a:spcBef>
                <a:spcPts val="0"/>
              </a:spcBef>
              <a:spcAft>
                <a:spcPts val="0"/>
              </a:spcAft>
            </a:pPr>
            <a:r>
              <a:rPr lang="en-GB"/>
              <a:t>Subtitle goes here if required</a:t>
            </a:r>
          </a:p>
        </p:txBody>
      </p:sp>
      <p:sp>
        <p:nvSpPr>
          <p:cNvPr id="11" name="Footer Placeholder 10">
            <a:extLst>
              <a:ext uri="{FF2B5EF4-FFF2-40B4-BE49-F238E27FC236}">
                <a16:creationId xmlns:a16="http://schemas.microsoft.com/office/drawing/2014/main" id="{B0F98AA2-E2DC-E0E0-4C8F-760BB9A932E3}"/>
              </a:ext>
            </a:extLst>
          </p:cNvPr>
          <p:cNvSpPr>
            <a:spLocks noGrp="1"/>
          </p:cNvSpPr>
          <p:nvPr>
            <p:ph type="ftr" sz="quarter" idx="29"/>
          </p:nvPr>
        </p:nvSpPr>
        <p:spPr/>
        <p:txBody>
          <a:bodyPr/>
          <a:lstStyle>
            <a:lvl1pPr>
              <a:defRPr>
                <a:solidFill>
                  <a:schemeClr val="bg1"/>
                </a:solidFill>
              </a:defRPr>
            </a:lvl1pPr>
          </a:lstStyle>
          <a:p>
            <a:pPr>
              <a:spcBef>
                <a:spcPts val="0"/>
              </a:spcBef>
              <a:spcAft>
                <a:spcPts val="300"/>
              </a:spcAft>
            </a:pPr>
            <a:r>
              <a:rPr lang="en-US"/>
              <a:t>Job Aid and Guidance Document still under review.</a:t>
            </a:r>
          </a:p>
        </p:txBody>
      </p:sp>
      <p:sp>
        <p:nvSpPr>
          <p:cNvPr id="13" name="Slide Number Placeholder 12">
            <a:extLst>
              <a:ext uri="{FF2B5EF4-FFF2-40B4-BE49-F238E27FC236}">
                <a16:creationId xmlns:a16="http://schemas.microsoft.com/office/drawing/2014/main" id="{482FD8FC-F7B2-9C6C-B17A-E86A85F913ED}"/>
              </a:ext>
            </a:extLst>
          </p:cNvPr>
          <p:cNvSpPr>
            <a:spLocks noGrp="1"/>
          </p:cNvSpPr>
          <p:nvPr>
            <p:ph type="sldNum" sz="quarter" idx="30"/>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14" name="Graphic 8">
            <a:extLst>
              <a:ext uri="{FF2B5EF4-FFF2-40B4-BE49-F238E27FC236}">
                <a16:creationId xmlns:a16="http://schemas.microsoft.com/office/drawing/2014/main" id="{39092A83-DA5A-9054-8843-290AA80FA357}"/>
              </a:ext>
            </a:extLst>
          </p:cNvPr>
          <p:cNvSpPr>
            <a:spLocks noChangeAspect="1"/>
          </p:cNvSpPr>
          <p:nvPr/>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a:p>
        </p:txBody>
      </p:sp>
      <p:sp>
        <p:nvSpPr>
          <p:cNvPr id="5" name="Footer Placeholder 4">
            <a:extLst>
              <a:ext uri="{FF2B5EF4-FFF2-40B4-BE49-F238E27FC236}">
                <a16:creationId xmlns:a16="http://schemas.microsoft.com/office/drawing/2014/main" id="{973D4080-291B-EC5F-CFEC-79250082D2BF}"/>
              </a:ext>
            </a:extLst>
          </p:cNvPr>
          <p:cNvSpPr txBox="1">
            <a:spLocks/>
          </p:cNvSpPr>
          <p:nvPr/>
        </p:nvSpPr>
        <p:spPr>
          <a:xfrm>
            <a:off x="9772073" y="6424023"/>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0" i="0" kern="1200">
                <a:solidFill>
                  <a:schemeClr val="bg1"/>
                </a:solidFill>
                <a:latin typeface="+mn-lt"/>
                <a:ea typeface="+mn-ea"/>
                <a:cs typeface="+mn-cs"/>
              </a:rPr>
              <a:t>HEALTH CARE COMPLIANCE</a:t>
            </a:r>
          </a:p>
        </p:txBody>
      </p:sp>
      <p:sp>
        <p:nvSpPr>
          <p:cNvPr id="6" name="Graphic 8">
            <a:extLst>
              <a:ext uri="{FF2B5EF4-FFF2-40B4-BE49-F238E27FC236}">
                <a16:creationId xmlns:a16="http://schemas.microsoft.com/office/drawing/2014/main" id="{CE06CF08-97E8-B4A6-4B24-41B18ADF49EB}"/>
              </a:ext>
            </a:extLst>
          </p:cNvPr>
          <p:cNvSpPr>
            <a:spLocks noChangeAspect="1"/>
          </p:cNvSpPr>
          <p:nvPr userDrawn="1"/>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a:p>
        </p:txBody>
      </p:sp>
    </p:spTree>
    <p:extLst>
      <p:ext uri="{BB962C8B-B14F-4D97-AF65-F5344CB8AC3E}">
        <p14:creationId xmlns:p14="http://schemas.microsoft.com/office/powerpoint/2010/main" val="372001051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eam Slide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pPr>
              <a:spcBef>
                <a:spcPts val="0"/>
              </a:spcBef>
              <a:spcAft>
                <a:spcPts val="300"/>
              </a:spcAft>
            </a:pPr>
            <a:r>
              <a:rPr lang="en-US" b="0" i="0">
                <a:effectLst/>
              </a:rPr>
              <a:t>Job Aid and Guidance Document still under review.</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6161089" y="1309284"/>
            <a:ext cx="2795588" cy="2922992"/>
          </a:xfrm>
          <a:solidFill>
            <a:srgbClr val="F6F3F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6161088" y="4376738"/>
            <a:ext cx="2797905" cy="1893887"/>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 name="Picture Placeholder 3">
            <a:extLst>
              <a:ext uri="{FF2B5EF4-FFF2-40B4-BE49-F238E27FC236}">
                <a16:creationId xmlns:a16="http://schemas.microsoft.com/office/drawing/2014/main" id="{AE4666F2-0E72-5C8A-DFF8-2DD7C6E4BAAE}"/>
              </a:ext>
            </a:extLst>
          </p:cNvPr>
          <p:cNvSpPr>
            <a:spLocks noGrp="1"/>
          </p:cNvSpPr>
          <p:nvPr>
            <p:ph type="pic" sz="quarter" idx="25" hasCustomPrompt="1"/>
          </p:nvPr>
        </p:nvSpPr>
        <p:spPr>
          <a:xfrm>
            <a:off x="3225801" y="1309284"/>
            <a:ext cx="2795588" cy="2922992"/>
          </a:xfrm>
          <a:solidFill>
            <a:srgbClr val="F6F3F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3225800" y="4376738"/>
            <a:ext cx="2794731" cy="1893887"/>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9" name="Picture Placeholder 3">
            <a:extLst>
              <a:ext uri="{FF2B5EF4-FFF2-40B4-BE49-F238E27FC236}">
                <a16:creationId xmlns:a16="http://schemas.microsoft.com/office/drawing/2014/main" id="{2D83ADDB-0799-3ABA-AFB5-0EF907EBBC1C}"/>
              </a:ext>
            </a:extLst>
          </p:cNvPr>
          <p:cNvSpPr>
            <a:spLocks noGrp="1"/>
          </p:cNvSpPr>
          <p:nvPr>
            <p:ph type="pic" sz="quarter" idx="27" hasCustomPrompt="1"/>
          </p:nvPr>
        </p:nvSpPr>
        <p:spPr>
          <a:xfrm>
            <a:off x="9119384" y="1309284"/>
            <a:ext cx="2795588" cy="2922992"/>
          </a:xfrm>
          <a:solidFill>
            <a:srgbClr val="F6F3F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10" name="Text Placeholder 10">
            <a:extLst>
              <a:ext uri="{FF2B5EF4-FFF2-40B4-BE49-F238E27FC236}">
                <a16:creationId xmlns:a16="http://schemas.microsoft.com/office/drawing/2014/main" id="{5A40ED4D-9D7E-FA31-0E92-48608769B8DC}"/>
              </a:ext>
            </a:extLst>
          </p:cNvPr>
          <p:cNvSpPr>
            <a:spLocks noGrp="1"/>
          </p:cNvSpPr>
          <p:nvPr>
            <p:ph type="body" sz="quarter" idx="28" hasCustomPrompt="1"/>
          </p:nvPr>
        </p:nvSpPr>
        <p:spPr>
          <a:xfrm>
            <a:off x="9119383" y="4376738"/>
            <a:ext cx="2797905" cy="1893887"/>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1" name="Picture Placeholder 3">
            <a:extLst>
              <a:ext uri="{FF2B5EF4-FFF2-40B4-BE49-F238E27FC236}">
                <a16:creationId xmlns:a16="http://schemas.microsoft.com/office/drawing/2014/main" id="{F5068F87-7E7A-B5CF-3CBC-E18B6DD0D732}"/>
              </a:ext>
            </a:extLst>
          </p:cNvPr>
          <p:cNvSpPr>
            <a:spLocks noGrp="1"/>
          </p:cNvSpPr>
          <p:nvPr>
            <p:ph type="pic" sz="quarter" idx="29" hasCustomPrompt="1"/>
          </p:nvPr>
        </p:nvSpPr>
        <p:spPr>
          <a:xfrm>
            <a:off x="291479" y="1309284"/>
            <a:ext cx="2795588" cy="2922992"/>
          </a:xfrm>
          <a:solidFill>
            <a:srgbClr val="F6F3F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12" name="Text Placeholder 10">
            <a:extLst>
              <a:ext uri="{FF2B5EF4-FFF2-40B4-BE49-F238E27FC236}">
                <a16:creationId xmlns:a16="http://schemas.microsoft.com/office/drawing/2014/main" id="{B4F951B9-FA91-8764-4AF1-2302D32F8D5A}"/>
              </a:ext>
            </a:extLst>
          </p:cNvPr>
          <p:cNvSpPr>
            <a:spLocks noGrp="1"/>
          </p:cNvSpPr>
          <p:nvPr>
            <p:ph type="body" sz="quarter" idx="30" hasCustomPrompt="1"/>
          </p:nvPr>
        </p:nvSpPr>
        <p:spPr>
          <a:xfrm>
            <a:off x="291478" y="4376738"/>
            <a:ext cx="2794731" cy="1893887"/>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 name="Text Placeholder 7">
            <a:extLst>
              <a:ext uri="{FF2B5EF4-FFF2-40B4-BE49-F238E27FC236}">
                <a16:creationId xmlns:a16="http://schemas.microsoft.com/office/drawing/2014/main" id="{5F91C3EF-5967-CDBE-EACE-2531D873C36A}"/>
              </a:ext>
            </a:extLst>
          </p:cNvPr>
          <p:cNvSpPr>
            <a:spLocks noGrp="1"/>
          </p:cNvSpPr>
          <p:nvPr>
            <p:ph type="body" sz="quarter" idx="31"/>
          </p:nvPr>
        </p:nvSpPr>
        <p:spPr>
          <a:xfrm>
            <a:off x="8125200" y="293525"/>
            <a:ext cx="3778870" cy="878050"/>
          </a:xfrm>
        </p:spPr>
        <p:txBody>
          <a:bodyPr/>
          <a:lstStyle>
            <a:lvl1pPr>
              <a:defRPr sz="1400"/>
            </a:lvl1pPr>
            <a:lvl2pPr>
              <a:defRPr sz="1400"/>
            </a:lvl2pPr>
            <a:lvl3pPr>
              <a:defRPr sz="1200"/>
            </a:lvl3pPr>
          </a:lstStyle>
          <a:p>
            <a:pPr lvl="0"/>
            <a:r>
              <a:rPr lang="zh-CN" altLang="en-US"/>
              <a:t>单击此处编辑母版文本样式</a:t>
            </a:r>
          </a:p>
          <a:p>
            <a:pPr lvl="1"/>
            <a:r>
              <a:rPr lang="zh-CN" altLang="en-US"/>
              <a:t>二级</a:t>
            </a:r>
          </a:p>
          <a:p>
            <a:pPr lvl="2"/>
            <a:r>
              <a:rPr lang="zh-CN" altLang="en-US"/>
              <a:t>三级</a:t>
            </a:r>
          </a:p>
        </p:txBody>
      </p:sp>
      <p:sp>
        <p:nvSpPr>
          <p:cNvPr id="13" name="Title 7">
            <a:extLst>
              <a:ext uri="{FF2B5EF4-FFF2-40B4-BE49-F238E27FC236}">
                <a16:creationId xmlns:a16="http://schemas.microsoft.com/office/drawing/2014/main" id="{DA47195B-21A0-9A63-E4DA-58F9F29E98B6}"/>
              </a:ext>
            </a:extLst>
          </p:cNvPr>
          <p:cNvSpPr>
            <a:spLocks noGrp="1"/>
          </p:cNvSpPr>
          <p:nvPr>
            <p:ph type="title" hasCustomPrompt="1"/>
          </p:nvPr>
        </p:nvSpPr>
        <p:spPr>
          <a:xfrm>
            <a:off x="288303" y="262800"/>
            <a:ext cx="5733085" cy="468590"/>
          </a:xfrm>
        </p:spPr>
        <p:txBody>
          <a:bodyPr/>
          <a:lstStyle>
            <a:lvl1pPr>
              <a:defRPr>
                <a:solidFill>
                  <a:schemeClr val="tx2"/>
                </a:solidFill>
              </a:defRPr>
            </a:lvl1pPr>
          </a:lstStyle>
          <a:p>
            <a:r>
              <a:rPr lang="en-US"/>
              <a:t>Master title style</a:t>
            </a:r>
            <a:endParaRPr lang="en-GB"/>
          </a:p>
        </p:txBody>
      </p:sp>
      <p:sp>
        <p:nvSpPr>
          <p:cNvPr id="5" name="Subtitle 2">
            <a:extLst>
              <a:ext uri="{FF2B5EF4-FFF2-40B4-BE49-F238E27FC236}">
                <a16:creationId xmlns:a16="http://schemas.microsoft.com/office/drawing/2014/main" id="{FB220D96-C4B3-B7EB-A87A-9845F48C33C3}"/>
              </a:ext>
            </a:extLst>
          </p:cNvPr>
          <p:cNvSpPr>
            <a:spLocks noGrp="1"/>
          </p:cNvSpPr>
          <p:nvPr>
            <p:ph type="subTitle" idx="16" hasCustomPrompt="1"/>
          </p:nvPr>
        </p:nvSpPr>
        <p:spPr>
          <a:xfrm>
            <a:off x="288302" y="713620"/>
            <a:ext cx="5732229"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409429511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eam Slide x 6">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pPr>
              <a:spcBef>
                <a:spcPts val="0"/>
              </a:spcBef>
              <a:spcAft>
                <a:spcPts val="300"/>
              </a:spcAft>
            </a:pPr>
            <a:r>
              <a:rPr lang="en-US" b="0" i="0">
                <a:effectLst/>
              </a:rPr>
              <a:t>Job Aid and Guidance Document still under review.</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4" name="Picture Placeholder 3">
            <a:extLst>
              <a:ext uri="{FF2B5EF4-FFF2-40B4-BE49-F238E27FC236}">
                <a16:creationId xmlns:a16="http://schemas.microsoft.com/office/drawing/2014/main" id="{3DD93883-FE82-F5D7-6954-1E4205A257B6}"/>
              </a:ext>
            </a:extLst>
          </p:cNvPr>
          <p:cNvSpPr>
            <a:spLocks noGrp="1"/>
          </p:cNvSpPr>
          <p:nvPr>
            <p:ph type="pic" sz="quarter" idx="13" hasCustomPrompt="1"/>
          </p:nvPr>
        </p:nvSpPr>
        <p:spPr>
          <a:xfrm>
            <a:off x="292100" y="2338388"/>
            <a:ext cx="1811338" cy="1893887"/>
          </a:xfrm>
          <a:solidFill>
            <a:srgbClr val="F6F3F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11" name="Text Placeholder 10">
            <a:extLst>
              <a:ext uri="{FF2B5EF4-FFF2-40B4-BE49-F238E27FC236}">
                <a16:creationId xmlns:a16="http://schemas.microsoft.com/office/drawing/2014/main" id="{BAF95DAC-024B-BE13-C7C3-B8E962C0E286}"/>
              </a:ext>
            </a:extLst>
          </p:cNvPr>
          <p:cNvSpPr>
            <a:spLocks noGrp="1"/>
          </p:cNvSpPr>
          <p:nvPr>
            <p:ph type="body" sz="quarter" idx="14" hasCustomPrompt="1"/>
          </p:nvPr>
        </p:nvSpPr>
        <p:spPr>
          <a:xfrm>
            <a:off x="292100" y="4376738"/>
            <a:ext cx="1811338" cy="1893887"/>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2" name="Picture Placeholder 3">
            <a:extLst>
              <a:ext uri="{FF2B5EF4-FFF2-40B4-BE49-F238E27FC236}">
                <a16:creationId xmlns:a16="http://schemas.microsoft.com/office/drawing/2014/main" id="{D5C0A3F1-8272-1EE9-CC5E-D2F51E93821E}"/>
              </a:ext>
            </a:extLst>
          </p:cNvPr>
          <p:cNvSpPr>
            <a:spLocks noGrp="1"/>
          </p:cNvSpPr>
          <p:nvPr>
            <p:ph type="pic" sz="quarter" idx="15" hasCustomPrompt="1"/>
          </p:nvPr>
        </p:nvSpPr>
        <p:spPr>
          <a:xfrm>
            <a:off x="2251075" y="2338388"/>
            <a:ext cx="1811338" cy="1893887"/>
          </a:xfrm>
          <a:solidFill>
            <a:srgbClr val="F6F3F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13" name="Text Placeholder 10">
            <a:extLst>
              <a:ext uri="{FF2B5EF4-FFF2-40B4-BE49-F238E27FC236}">
                <a16:creationId xmlns:a16="http://schemas.microsoft.com/office/drawing/2014/main" id="{07824833-215E-5CBF-9B67-8C5BFCFF600B}"/>
              </a:ext>
            </a:extLst>
          </p:cNvPr>
          <p:cNvSpPr>
            <a:spLocks noGrp="1"/>
          </p:cNvSpPr>
          <p:nvPr>
            <p:ph type="body" sz="quarter" idx="16" hasCustomPrompt="1"/>
          </p:nvPr>
        </p:nvSpPr>
        <p:spPr>
          <a:xfrm>
            <a:off x="2251075" y="4376738"/>
            <a:ext cx="1811338" cy="1893887"/>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7" name="Picture Placeholder 3">
            <a:extLst>
              <a:ext uri="{FF2B5EF4-FFF2-40B4-BE49-F238E27FC236}">
                <a16:creationId xmlns:a16="http://schemas.microsoft.com/office/drawing/2014/main" id="{BC82D359-5E82-6645-4BA5-091395FFBE4D}"/>
              </a:ext>
            </a:extLst>
          </p:cNvPr>
          <p:cNvSpPr>
            <a:spLocks noGrp="1"/>
          </p:cNvSpPr>
          <p:nvPr>
            <p:ph type="pic" sz="quarter" idx="17" hasCustomPrompt="1"/>
          </p:nvPr>
        </p:nvSpPr>
        <p:spPr>
          <a:xfrm>
            <a:off x="4206875" y="2338388"/>
            <a:ext cx="1811338" cy="1893887"/>
          </a:xfrm>
          <a:solidFill>
            <a:srgbClr val="F6F3F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18" name="Text Placeholder 10">
            <a:extLst>
              <a:ext uri="{FF2B5EF4-FFF2-40B4-BE49-F238E27FC236}">
                <a16:creationId xmlns:a16="http://schemas.microsoft.com/office/drawing/2014/main" id="{988FBE5D-B4CD-CE1A-E7E9-92C4741B19DA}"/>
              </a:ext>
            </a:extLst>
          </p:cNvPr>
          <p:cNvSpPr>
            <a:spLocks noGrp="1"/>
          </p:cNvSpPr>
          <p:nvPr>
            <p:ph type="body" sz="quarter" idx="18" hasCustomPrompt="1"/>
          </p:nvPr>
        </p:nvSpPr>
        <p:spPr>
          <a:xfrm>
            <a:off x="4206875" y="4376738"/>
            <a:ext cx="1811338" cy="1893887"/>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9" name="Picture Placeholder 3">
            <a:extLst>
              <a:ext uri="{FF2B5EF4-FFF2-40B4-BE49-F238E27FC236}">
                <a16:creationId xmlns:a16="http://schemas.microsoft.com/office/drawing/2014/main" id="{AE6CF7F4-E399-5395-4477-3A071CFE8BF6}"/>
              </a:ext>
            </a:extLst>
          </p:cNvPr>
          <p:cNvSpPr>
            <a:spLocks noGrp="1"/>
          </p:cNvSpPr>
          <p:nvPr>
            <p:ph type="pic" sz="quarter" idx="19" hasCustomPrompt="1"/>
          </p:nvPr>
        </p:nvSpPr>
        <p:spPr>
          <a:xfrm>
            <a:off x="6165850" y="2338388"/>
            <a:ext cx="1811338" cy="1893887"/>
          </a:xfrm>
          <a:solidFill>
            <a:srgbClr val="F6F3F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20" name="Text Placeholder 10">
            <a:extLst>
              <a:ext uri="{FF2B5EF4-FFF2-40B4-BE49-F238E27FC236}">
                <a16:creationId xmlns:a16="http://schemas.microsoft.com/office/drawing/2014/main" id="{7F69C6C1-FD43-DD7E-F8C1-DD938FA7E864}"/>
              </a:ext>
            </a:extLst>
          </p:cNvPr>
          <p:cNvSpPr>
            <a:spLocks noGrp="1"/>
          </p:cNvSpPr>
          <p:nvPr>
            <p:ph type="body" sz="quarter" idx="20" hasCustomPrompt="1"/>
          </p:nvPr>
        </p:nvSpPr>
        <p:spPr>
          <a:xfrm>
            <a:off x="6165850" y="4376738"/>
            <a:ext cx="1811338" cy="1893887"/>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1" name="Picture Placeholder 3">
            <a:extLst>
              <a:ext uri="{FF2B5EF4-FFF2-40B4-BE49-F238E27FC236}">
                <a16:creationId xmlns:a16="http://schemas.microsoft.com/office/drawing/2014/main" id="{C3F6ED5E-6C41-2A6E-8284-782D115E0AC8}"/>
              </a:ext>
            </a:extLst>
          </p:cNvPr>
          <p:cNvSpPr>
            <a:spLocks noGrp="1"/>
          </p:cNvSpPr>
          <p:nvPr>
            <p:ph type="pic" sz="quarter" idx="21" hasCustomPrompt="1"/>
          </p:nvPr>
        </p:nvSpPr>
        <p:spPr>
          <a:xfrm>
            <a:off x="8129587" y="2338388"/>
            <a:ext cx="1811338" cy="1893887"/>
          </a:xfrm>
          <a:solidFill>
            <a:srgbClr val="F6F3F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22" name="Text Placeholder 10">
            <a:extLst>
              <a:ext uri="{FF2B5EF4-FFF2-40B4-BE49-F238E27FC236}">
                <a16:creationId xmlns:a16="http://schemas.microsoft.com/office/drawing/2014/main" id="{DE4654D5-A3A7-62DC-42E2-4450D8FF9149}"/>
              </a:ext>
            </a:extLst>
          </p:cNvPr>
          <p:cNvSpPr>
            <a:spLocks noGrp="1"/>
          </p:cNvSpPr>
          <p:nvPr>
            <p:ph type="body" sz="quarter" idx="22" hasCustomPrompt="1"/>
          </p:nvPr>
        </p:nvSpPr>
        <p:spPr>
          <a:xfrm>
            <a:off x="8129587" y="4376738"/>
            <a:ext cx="1811338" cy="1893887"/>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10088562" y="2338388"/>
            <a:ext cx="1811338" cy="1893887"/>
          </a:xfrm>
          <a:solidFill>
            <a:srgbClr val="F6F3F2"/>
          </a:solidFill>
        </p:spPr>
        <p:txBody>
          <a:bodyPr vert="horz" lIns="0" tIns="0" rIns="0" bIns="0" rtlCol="0">
            <a:noAutofit/>
          </a:bodyPr>
          <a:lstStyle>
            <a:lvl1pPr>
              <a:defRPr lang="en-GB" sz="12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10088562" y="4376738"/>
            <a:ext cx="1811338" cy="1893887"/>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 name="Text Placeholder 7">
            <a:extLst>
              <a:ext uri="{FF2B5EF4-FFF2-40B4-BE49-F238E27FC236}">
                <a16:creationId xmlns:a16="http://schemas.microsoft.com/office/drawing/2014/main" id="{7BD20165-AAB7-7FF2-32A4-4043B7F5215A}"/>
              </a:ext>
            </a:extLst>
          </p:cNvPr>
          <p:cNvSpPr>
            <a:spLocks noGrp="1"/>
          </p:cNvSpPr>
          <p:nvPr>
            <p:ph type="body" sz="quarter" idx="25"/>
          </p:nvPr>
        </p:nvSpPr>
        <p:spPr>
          <a:xfrm>
            <a:off x="8124205" y="295200"/>
            <a:ext cx="3778870" cy="876375"/>
          </a:xfrm>
        </p:spPr>
        <p:txBody>
          <a:bodyPr/>
          <a:lstStyle>
            <a:lvl1pPr>
              <a:defRPr sz="1400"/>
            </a:lvl1pPr>
            <a:lvl2pPr>
              <a:defRPr sz="1400"/>
            </a:lvl2pPr>
            <a:lvl3pPr>
              <a:defRPr sz="1200"/>
            </a:lvl3pPr>
          </a:lstStyle>
          <a:p>
            <a:pPr lvl="0"/>
            <a:r>
              <a:rPr lang="zh-CN" altLang="en-US"/>
              <a:t>单击此处编辑母版文本样式</a:t>
            </a:r>
          </a:p>
          <a:p>
            <a:pPr lvl="1"/>
            <a:r>
              <a:rPr lang="zh-CN" altLang="en-US"/>
              <a:t>二级</a:t>
            </a:r>
          </a:p>
          <a:p>
            <a:pPr lvl="2"/>
            <a:r>
              <a:rPr lang="zh-CN" altLang="en-US"/>
              <a:t>三级</a:t>
            </a:r>
          </a:p>
        </p:txBody>
      </p:sp>
      <p:sp>
        <p:nvSpPr>
          <p:cNvPr id="9" name="Title 7">
            <a:extLst>
              <a:ext uri="{FF2B5EF4-FFF2-40B4-BE49-F238E27FC236}">
                <a16:creationId xmlns:a16="http://schemas.microsoft.com/office/drawing/2014/main" id="{604F17DC-3526-6523-F6A2-A614A5877E66}"/>
              </a:ext>
            </a:extLst>
          </p:cNvPr>
          <p:cNvSpPr>
            <a:spLocks noGrp="1"/>
          </p:cNvSpPr>
          <p:nvPr>
            <p:ph type="title" hasCustomPrompt="1"/>
          </p:nvPr>
        </p:nvSpPr>
        <p:spPr>
          <a:xfrm>
            <a:off x="288303" y="262800"/>
            <a:ext cx="6710984" cy="544184"/>
          </a:xfrm>
        </p:spPr>
        <p:txBody>
          <a:bodyPr/>
          <a:lstStyle>
            <a:lvl1pPr>
              <a:defRPr>
                <a:solidFill>
                  <a:schemeClr val="tx2"/>
                </a:solidFill>
              </a:defRPr>
            </a:lvl1pPr>
          </a:lstStyle>
          <a:p>
            <a:r>
              <a:rPr lang="en-US"/>
              <a:t>Master title style</a:t>
            </a:r>
            <a:endParaRPr lang="en-GB"/>
          </a:p>
        </p:txBody>
      </p:sp>
      <p:sp>
        <p:nvSpPr>
          <p:cNvPr id="5" name="Subtitle 2">
            <a:extLst>
              <a:ext uri="{FF2B5EF4-FFF2-40B4-BE49-F238E27FC236}">
                <a16:creationId xmlns:a16="http://schemas.microsoft.com/office/drawing/2014/main" id="{C2B84ACE-520E-A875-5184-5F9EE6A46C07}"/>
              </a:ext>
            </a:extLst>
          </p:cNvPr>
          <p:cNvSpPr>
            <a:spLocks noGrp="1"/>
          </p:cNvSpPr>
          <p:nvPr>
            <p:ph type="subTitle" idx="26" hasCustomPrompt="1"/>
          </p:nvPr>
        </p:nvSpPr>
        <p:spPr>
          <a:xfrm>
            <a:off x="288302" y="713620"/>
            <a:ext cx="6713538"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156814508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eam Slide x 12">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pPr>
              <a:spcBef>
                <a:spcPts val="0"/>
              </a:spcBef>
              <a:spcAft>
                <a:spcPts val="300"/>
              </a:spcAft>
            </a:pPr>
            <a:r>
              <a:rPr lang="en-US" b="0" i="0">
                <a:effectLst/>
              </a:rPr>
              <a:t>Job Aid and Guidance Document still under review.</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4" name="Picture Placeholder 3">
            <a:extLst>
              <a:ext uri="{FF2B5EF4-FFF2-40B4-BE49-F238E27FC236}">
                <a16:creationId xmlns:a16="http://schemas.microsoft.com/office/drawing/2014/main" id="{3DD93883-FE82-F5D7-6954-1E4205A257B6}"/>
              </a:ext>
            </a:extLst>
          </p:cNvPr>
          <p:cNvSpPr>
            <a:spLocks noGrp="1"/>
          </p:cNvSpPr>
          <p:nvPr>
            <p:ph type="pic" sz="quarter" idx="13" hasCustomPrompt="1"/>
          </p:nvPr>
        </p:nvSpPr>
        <p:spPr>
          <a:xfrm>
            <a:off x="292100" y="1325991"/>
            <a:ext cx="1810800" cy="1742358"/>
          </a:xfrm>
          <a:solidFill>
            <a:srgbClr val="F6F3F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11" name="Text Placeholder 10">
            <a:extLst>
              <a:ext uri="{FF2B5EF4-FFF2-40B4-BE49-F238E27FC236}">
                <a16:creationId xmlns:a16="http://schemas.microsoft.com/office/drawing/2014/main" id="{BAF95DAC-024B-BE13-C7C3-B8E962C0E286}"/>
              </a:ext>
            </a:extLst>
          </p:cNvPr>
          <p:cNvSpPr>
            <a:spLocks noGrp="1"/>
          </p:cNvSpPr>
          <p:nvPr>
            <p:ph type="body" sz="quarter" idx="14" hasCustomPrompt="1"/>
          </p:nvPr>
        </p:nvSpPr>
        <p:spPr>
          <a:xfrm>
            <a:off x="292100"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2" name="Picture Placeholder 3">
            <a:extLst>
              <a:ext uri="{FF2B5EF4-FFF2-40B4-BE49-F238E27FC236}">
                <a16:creationId xmlns:a16="http://schemas.microsoft.com/office/drawing/2014/main" id="{D5C0A3F1-8272-1EE9-CC5E-D2F51E93821E}"/>
              </a:ext>
            </a:extLst>
          </p:cNvPr>
          <p:cNvSpPr>
            <a:spLocks noGrp="1"/>
          </p:cNvSpPr>
          <p:nvPr>
            <p:ph type="pic" sz="quarter" idx="15" hasCustomPrompt="1"/>
          </p:nvPr>
        </p:nvSpPr>
        <p:spPr>
          <a:xfrm>
            <a:off x="2251075" y="1325991"/>
            <a:ext cx="1810800" cy="1742358"/>
          </a:xfrm>
          <a:solidFill>
            <a:srgbClr val="F6F3F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13" name="Text Placeholder 10">
            <a:extLst>
              <a:ext uri="{FF2B5EF4-FFF2-40B4-BE49-F238E27FC236}">
                <a16:creationId xmlns:a16="http://schemas.microsoft.com/office/drawing/2014/main" id="{07824833-215E-5CBF-9B67-8C5BFCFF600B}"/>
              </a:ext>
            </a:extLst>
          </p:cNvPr>
          <p:cNvSpPr>
            <a:spLocks noGrp="1"/>
          </p:cNvSpPr>
          <p:nvPr>
            <p:ph type="body" sz="quarter" idx="16" hasCustomPrompt="1"/>
          </p:nvPr>
        </p:nvSpPr>
        <p:spPr>
          <a:xfrm>
            <a:off x="2251075"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7" name="Picture Placeholder 3">
            <a:extLst>
              <a:ext uri="{FF2B5EF4-FFF2-40B4-BE49-F238E27FC236}">
                <a16:creationId xmlns:a16="http://schemas.microsoft.com/office/drawing/2014/main" id="{BC82D359-5E82-6645-4BA5-091395FFBE4D}"/>
              </a:ext>
            </a:extLst>
          </p:cNvPr>
          <p:cNvSpPr>
            <a:spLocks noGrp="1"/>
          </p:cNvSpPr>
          <p:nvPr>
            <p:ph type="pic" sz="quarter" idx="17" hasCustomPrompt="1"/>
          </p:nvPr>
        </p:nvSpPr>
        <p:spPr>
          <a:xfrm>
            <a:off x="4206875" y="1325991"/>
            <a:ext cx="1810800" cy="1742358"/>
          </a:xfrm>
          <a:solidFill>
            <a:srgbClr val="F6F3F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18" name="Text Placeholder 10">
            <a:extLst>
              <a:ext uri="{FF2B5EF4-FFF2-40B4-BE49-F238E27FC236}">
                <a16:creationId xmlns:a16="http://schemas.microsoft.com/office/drawing/2014/main" id="{988FBE5D-B4CD-CE1A-E7E9-92C4741B19DA}"/>
              </a:ext>
            </a:extLst>
          </p:cNvPr>
          <p:cNvSpPr>
            <a:spLocks noGrp="1"/>
          </p:cNvSpPr>
          <p:nvPr>
            <p:ph type="body" sz="quarter" idx="18" hasCustomPrompt="1"/>
          </p:nvPr>
        </p:nvSpPr>
        <p:spPr>
          <a:xfrm>
            <a:off x="4206875"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9" name="Picture Placeholder 3">
            <a:extLst>
              <a:ext uri="{FF2B5EF4-FFF2-40B4-BE49-F238E27FC236}">
                <a16:creationId xmlns:a16="http://schemas.microsoft.com/office/drawing/2014/main" id="{AE6CF7F4-E399-5395-4477-3A071CFE8BF6}"/>
              </a:ext>
            </a:extLst>
          </p:cNvPr>
          <p:cNvSpPr>
            <a:spLocks noGrp="1"/>
          </p:cNvSpPr>
          <p:nvPr>
            <p:ph type="pic" sz="quarter" idx="19" hasCustomPrompt="1"/>
          </p:nvPr>
        </p:nvSpPr>
        <p:spPr>
          <a:xfrm>
            <a:off x="6165850" y="1325991"/>
            <a:ext cx="1810800" cy="1742358"/>
          </a:xfrm>
          <a:solidFill>
            <a:srgbClr val="F6F3F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20" name="Text Placeholder 10">
            <a:extLst>
              <a:ext uri="{FF2B5EF4-FFF2-40B4-BE49-F238E27FC236}">
                <a16:creationId xmlns:a16="http://schemas.microsoft.com/office/drawing/2014/main" id="{7F69C6C1-FD43-DD7E-F8C1-DD938FA7E864}"/>
              </a:ext>
            </a:extLst>
          </p:cNvPr>
          <p:cNvSpPr>
            <a:spLocks noGrp="1"/>
          </p:cNvSpPr>
          <p:nvPr>
            <p:ph type="body" sz="quarter" idx="20" hasCustomPrompt="1"/>
          </p:nvPr>
        </p:nvSpPr>
        <p:spPr>
          <a:xfrm>
            <a:off x="6165850"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1" name="Picture Placeholder 3">
            <a:extLst>
              <a:ext uri="{FF2B5EF4-FFF2-40B4-BE49-F238E27FC236}">
                <a16:creationId xmlns:a16="http://schemas.microsoft.com/office/drawing/2014/main" id="{C3F6ED5E-6C41-2A6E-8284-782D115E0AC8}"/>
              </a:ext>
            </a:extLst>
          </p:cNvPr>
          <p:cNvSpPr>
            <a:spLocks noGrp="1"/>
          </p:cNvSpPr>
          <p:nvPr>
            <p:ph type="pic" sz="quarter" idx="21" hasCustomPrompt="1"/>
          </p:nvPr>
        </p:nvSpPr>
        <p:spPr>
          <a:xfrm>
            <a:off x="8129587" y="1325991"/>
            <a:ext cx="1810800" cy="1742358"/>
          </a:xfrm>
          <a:solidFill>
            <a:srgbClr val="F6F3F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22" name="Text Placeholder 10">
            <a:extLst>
              <a:ext uri="{FF2B5EF4-FFF2-40B4-BE49-F238E27FC236}">
                <a16:creationId xmlns:a16="http://schemas.microsoft.com/office/drawing/2014/main" id="{DE4654D5-A3A7-62DC-42E2-4450D8FF9149}"/>
              </a:ext>
            </a:extLst>
          </p:cNvPr>
          <p:cNvSpPr>
            <a:spLocks noGrp="1"/>
          </p:cNvSpPr>
          <p:nvPr>
            <p:ph type="body" sz="quarter" idx="22" hasCustomPrompt="1"/>
          </p:nvPr>
        </p:nvSpPr>
        <p:spPr>
          <a:xfrm>
            <a:off x="8129587"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10088562" y="1325991"/>
            <a:ext cx="1810800" cy="1742358"/>
          </a:xfrm>
          <a:solidFill>
            <a:srgbClr val="F6F3F2"/>
          </a:solidFill>
        </p:spPr>
        <p:txBody>
          <a:bodyPr vert="horz" lIns="0" tIns="0" rIns="0" bIns="0" rtlCol="0">
            <a:noAutofit/>
          </a:bodyPr>
          <a:lstStyle>
            <a:lvl1pPr>
              <a:defRPr lang="en-GB" sz="12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10088562"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 name="Text Placeholder 7">
            <a:extLst>
              <a:ext uri="{FF2B5EF4-FFF2-40B4-BE49-F238E27FC236}">
                <a16:creationId xmlns:a16="http://schemas.microsoft.com/office/drawing/2014/main" id="{7BD20165-AAB7-7FF2-32A4-4043B7F5215A}"/>
              </a:ext>
            </a:extLst>
          </p:cNvPr>
          <p:cNvSpPr>
            <a:spLocks noGrp="1"/>
          </p:cNvSpPr>
          <p:nvPr>
            <p:ph type="body" sz="quarter" idx="25"/>
          </p:nvPr>
        </p:nvSpPr>
        <p:spPr>
          <a:xfrm>
            <a:off x="8124205" y="295200"/>
            <a:ext cx="3778870" cy="876375"/>
          </a:xfrm>
        </p:spPr>
        <p:txBody>
          <a:bodyPr/>
          <a:lstStyle>
            <a:lvl1pPr>
              <a:defRPr sz="1400"/>
            </a:lvl1pPr>
            <a:lvl2pPr>
              <a:defRPr sz="1400"/>
            </a:lvl2pPr>
            <a:lvl3pPr>
              <a:defRPr sz="1200"/>
            </a:lvl3pPr>
          </a:lstStyle>
          <a:p>
            <a:pPr lvl="0"/>
            <a:r>
              <a:rPr lang="zh-CN" altLang="en-US"/>
              <a:t>单击此处编辑母版文本样式</a:t>
            </a:r>
          </a:p>
          <a:p>
            <a:pPr lvl="1"/>
            <a:r>
              <a:rPr lang="zh-CN" altLang="en-US"/>
              <a:t>二级</a:t>
            </a:r>
          </a:p>
          <a:p>
            <a:pPr lvl="2"/>
            <a:r>
              <a:rPr lang="zh-CN" altLang="en-US"/>
              <a:t>三级</a:t>
            </a:r>
          </a:p>
        </p:txBody>
      </p:sp>
      <p:sp>
        <p:nvSpPr>
          <p:cNvPr id="30" name="Picture Placeholder 3">
            <a:extLst>
              <a:ext uri="{FF2B5EF4-FFF2-40B4-BE49-F238E27FC236}">
                <a16:creationId xmlns:a16="http://schemas.microsoft.com/office/drawing/2014/main" id="{1E351EF8-8286-87AC-38C6-7E9DC74AA5D5}"/>
              </a:ext>
            </a:extLst>
          </p:cNvPr>
          <p:cNvSpPr>
            <a:spLocks noGrp="1"/>
          </p:cNvSpPr>
          <p:nvPr>
            <p:ph type="pic" sz="quarter" idx="26" hasCustomPrompt="1"/>
          </p:nvPr>
        </p:nvSpPr>
        <p:spPr>
          <a:xfrm>
            <a:off x="292100" y="3832986"/>
            <a:ext cx="1810800" cy="1742358"/>
          </a:xfrm>
          <a:solidFill>
            <a:srgbClr val="F6F3F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31" name="Text Placeholder 10">
            <a:extLst>
              <a:ext uri="{FF2B5EF4-FFF2-40B4-BE49-F238E27FC236}">
                <a16:creationId xmlns:a16="http://schemas.microsoft.com/office/drawing/2014/main" id="{7D881FA5-55EC-F926-2B2E-C6A382AF84D6}"/>
              </a:ext>
            </a:extLst>
          </p:cNvPr>
          <p:cNvSpPr>
            <a:spLocks noGrp="1"/>
          </p:cNvSpPr>
          <p:nvPr>
            <p:ph type="body" sz="quarter" idx="27" hasCustomPrompt="1"/>
          </p:nvPr>
        </p:nvSpPr>
        <p:spPr>
          <a:xfrm>
            <a:off x="292100"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2" name="Picture Placeholder 3">
            <a:extLst>
              <a:ext uri="{FF2B5EF4-FFF2-40B4-BE49-F238E27FC236}">
                <a16:creationId xmlns:a16="http://schemas.microsoft.com/office/drawing/2014/main" id="{BBC82E01-F7FE-2EAB-B8E7-5960A7A58603}"/>
              </a:ext>
            </a:extLst>
          </p:cNvPr>
          <p:cNvSpPr>
            <a:spLocks noGrp="1"/>
          </p:cNvSpPr>
          <p:nvPr>
            <p:ph type="pic" sz="quarter" idx="28" hasCustomPrompt="1"/>
          </p:nvPr>
        </p:nvSpPr>
        <p:spPr>
          <a:xfrm>
            <a:off x="2251075" y="3832986"/>
            <a:ext cx="1810800" cy="1742358"/>
          </a:xfrm>
          <a:solidFill>
            <a:srgbClr val="F6F3F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33" name="Text Placeholder 10">
            <a:extLst>
              <a:ext uri="{FF2B5EF4-FFF2-40B4-BE49-F238E27FC236}">
                <a16:creationId xmlns:a16="http://schemas.microsoft.com/office/drawing/2014/main" id="{AF3DAD82-5491-5A1C-AF05-DBECB12413C0}"/>
              </a:ext>
            </a:extLst>
          </p:cNvPr>
          <p:cNvSpPr>
            <a:spLocks noGrp="1"/>
          </p:cNvSpPr>
          <p:nvPr>
            <p:ph type="body" sz="quarter" idx="29" hasCustomPrompt="1"/>
          </p:nvPr>
        </p:nvSpPr>
        <p:spPr>
          <a:xfrm>
            <a:off x="2251075"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4" name="Picture Placeholder 3">
            <a:extLst>
              <a:ext uri="{FF2B5EF4-FFF2-40B4-BE49-F238E27FC236}">
                <a16:creationId xmlns:a16="http://schemas.microsoft.com/office/drawing/2014/main" id="{D56B49B1-E5CE-83C1-0D25-0898269814D0}"/>
              </a:ext>
            </a:extLst>
          </p:cNvPr>
          <p:cNvSpPr>
            <a:spLocks noGrp="1"/>
          </p:cNvSpPr>
          <p:nvPr>
            <p:ph type="pic" sz="quarter" idx="30" hasCustomPrompt="1"/>
          </p:nvPr>
        </p:nvSpPr>
        <p:spPr>
          <a:xfrm>
            <a:off x="4206875" y="3832986"/>
            <a:ext cx="1810800" cy="1742358"/>
          </a:xfrm>
          <a:solidFill>
            <a:srgbClr val="F6F3F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35" name="Text Placeholder 10">
            <a:extLst>
              <a:ext uri="{FF2B5EF4-FFF2-40B4-BE49-F238E27FC236}">
                <a16:creationId xmlns:a16="http://schemas.microsoft.com/office/drawing/2014/main" id="{0D879563-9332-8DE6-BC2B-72B716864FC8}"/>
              </a:ext>
            </a:extLst>
          </p:cNvPr>
          <p:cNvSpPr>
            <a:spLocks noGrp="1"/>
          </p:cNvSpPr>
          <p:nvPr>
            <p:ph type="body" sz="quarter" idx="31" hasCustomPrompt="1"/>
          </p:nvPr>
        </p:nvSpPr>
        <p:spPr>
          <a:xfrm>
            <a:off x="4206875"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6" name="Picture Placeholder 3">
            <a:extLst>
              <a:ext uri="{FF2B5EF4-FFF2-40B4-BE49-F238E27FC236}">
                <a16:creationId xmlns:a16="http://schemas.microsoft.com/office/drawing/2014/main" id="{34E06054-2590-E998-043B-8F545070935C}"/>
              </a:ext>
            </a:extLst>
          </p:cNvPr>
          <p:cNvSpPr>
            <a:spLocks noGrp="1"/>
          </p:cNvSpPr>
          <p:nvPr>
            <p:ph type="pic" sz="quarter" idx="32" hasCustomPrompt="1"/>
          </p:nvPr>
        </p:nvSpPr>
        <p:spPr>
          <a:xfrm>
            <a:off x="6165850" y="3832986"/>
            <a:ext cx="1810800" cy="1742358"/>
          </a:xfrm>
          <a:solidFill>
            <a:srgbClr val="F6F3F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37" name="Text Placeholder 10">
            <a:extLst>
              <a:ext uri="{FF2B5EF4-FFF2-40B4-BE49-F238E27FC236}">
                <a16:creationId xmlns:a16="http://schemas.microsoft.com/office/drawing/2014/main" id="{B2E849EB-3C88-7D18-ED79-F55E7AB9250D}"/>
              </a:ext>
            </a:extLst>
          </p:cNvPr>
          <p:cNvSpPr>
            <a:spLocks noGrp="1"/>
          </p:cNvSpPr>
          <p:nvPr>
            <p:ph type="body" sz="quarter" idx="33" hasCustomPrompt="1"/>
          </p:nvPr>
        </p:nvSpPr>
        <p:spPr>
          <a:xfrm>
            <a:off x="6165850"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8" name="Picture Placeholder 3">
            <a:extLst>
              <a:ext uri="{FF2B5EF4-FFF2-40B4-BE49-F238E27FC236}">
                <a16:creationId xmlns:a16="http://schemas.microsoft.com/office/drawing/2014/main" id="{3A8CC4AE-06AB-5A91-10DC-6C53FFB4A23A}"/>
              </a:ext>
            </a:extLst>
          </p:cNvPr>
          <p:cNvSpPr>
            <a:spLocks noGrp="1"/>
          </p:cNvSpPr>
          <p:nvPr>
            <p:ph type="pic" sz="quarter" idx="34" hasCustomPrompt="1"/>
          </p:nvPr>
        </p:nvSpPr>
        <p:spPr>
          <a:xfrm>
            <a:off x="8129587" y="3832986"/>
            <a:ext cx="1810800" cy="1742358"/>
          </a:xfrm>
          <a:solidFill>
            <a:srgbClr val="F6F3F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39" name="Text Placeholder 10">
            <a:extLst>
              <a:ext uri="{FF2B5EF4-FFF2-40B4-BE49-F238E27FC236}">
                <a16:creationId xmlns:a16="http://schemas.microsoft.com/office/drawing/2014/main" id="{5B2ACD70-936B-5D18-96B7-1BF64FC6E214}"/>
              </a:ext>
            </a:extLst>
          </p:cNvPr>
          <p:cNvSpPr>
            <a:spLocks noGrp="1"/>
          </p:cNvSpPr>
          <p:nvPr>
            <p:ph type="body" sz="quarter" idx="35" hasCustomPrompt="1"/>
          </p:nvPr>
        </p:nvSpPr>
        <p:spPr>
          <a:xfrm>
            <a:off x="8129587"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40" name="Picture Placeholder 3">
            <a:extLst>
              <a:ext uri="{FF2B5EF4-FFF2-40B4-BE49-F238E27FC236}">
                <a16:creationId xmlns:a16="http://schemas.microsoft.com/office/drawing/2014/main" id="{96B65B4A-309C-6AFF-3233-21C6FE13D295}"/>
              </a:ext>
            </a:extLst>
          </p:cNvPr>
          <p:cNvSpPr>
            <a:spLocks noGrp="1"/>
          </p:cNvSpPr>
          <p:nvPr>
            <p:ph type="pic" sz="quarter" idx="36" hasCustomPrompt="1"/>
          </p:nvPr>
        </p:nvSpPr>
        <p:spPr>
          <a:xfrm>
            <a:off x="10088562" y="3832986"/>
            <a:ext cx="1810800" cy="1742358"/>
          </a:xfrm>
          <a:solidFill>
            <a:srgbClr val="F6F3F2"/>
          </a:solidFill>
        </p:spPr>
        <p:txBody>
          <a:bodyPr vert="horz" lIns="0" tIns="0" rIns="0" bIns="0" rtlCol="0">
            <a:noAutofit/>
          </a:bodyPr>
          <a:lstStyle>
            <a:lvl1pPr>
              <a:defRPr lang="en-GB" sz="12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41" name="Text Placeholder 10">
            <a:extLst>
              <a:ext uri="{FF2B5EF4-FFF2-40B4-BE49-F238E27FC236}">
                <a16:creationId xmlns:a16="http://schemas.microsoft.com/office/drawing/2014/main" id="{56786C68-DCD8-DE01-5F52-6FF88150DD6E}"/>
              </a:ext>
            </a:extLst>
          </p:cNvPr>
          <p:cNvSpPr>
            <a:spLocks noGrp="1"/>
          </p:cNvSpPr>
          <p:nvPr>
            <p:ph type="body" sz="quarter" idx="37" hasCustomPrompt="1"/>
          </p:nvPr>
        </p:nvSpPr>
        <p:spPr>
          <a:xfrm>
            <a:off x="10088562"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5" name="Title 7">
            <a:extLst>
              <a:ext uri="{FF2B5EF4-FFF2-40B4-BE49-F238E27FC236}">
                <a16:creationId xmlns:a16="http://schemas.microsoft.com/office/drawing/2014/main" id="{520EE9D3-6988-A53A-4B71-0F5506C1DB6D}"/>
              </a:ext>
            </a:extLst>
          </p:cNvPr>
          <p:cNvSpPr>
            <a:spLocks noGrp="1"/>
          </p:cNvSpPr>
          <p:nvPr>
            <p:ph type="title" hasCustomPrompt="1"/>
          </p:nvPr>
        </p:nvSpPr>
        <p:spPr>
          <a:xfrm>
            <a:off x="288303" y="262800"/>
            <a:ext cx="6710984" cy="544184"/>
          </a:xfrm>
        </p:spPr>
        <p:txBody>
          <a:bodyPr/>
          <a:lstStyle>
            <a:lvl1pPr>
              <a:defRPr>
                <a:solidFill>
                  <a:schemeClr val="tx2"/>
                </a:solidFill>
              </a:defRPr>
            </a:lvl1pPr>
          </a:lstStyle>
          <a:p>
            <a:r>
              <a:rPr lang="en-US"/>
              <a:t>Master title style</a:t>
            </a:r>
            <a:endParaRPr lang="en-GB"/>
          </a:p>
        </p:txBody>
      </p:sp>
      <p:sp>
        <p:nvSpPr>
          <p:cNvPr id="8" name="Subtitle 2">
            <a:extLst>
              <a:ext uri="{FF2B5EF4-FFF2-40B4-BE49-F238E27FC236}">
                <a16:creationId xmlns:a16="http://schemas.microsoft.com/office/drawing/2014/main" id="{A29A91CD-56E3-1B05-9890-3FE2231364A5}"/>
              </a:ext>
            </a:extLst>
          </p:cNvPr>
          <p:cNvSpPr>
            <a:spLocks noGrp="1"/>
          </p:cNvSpPr>
          <p:nvPr>
            <p:ph type="subTitle" idx="38" hasCustomPrompt="1"/>
          </p:nvPr>
        </p:nvSpPr>
        <p:spPr>
          <a:xfrm>
            <a:off x="288302" y="713620"/>
            <a:ext cx="6713538"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52645201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End Sl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F71E3-AC39-2207-0CC4-1E2486610795}"/>
              </a:ext>
            </a:extLst>
          </p:cNvPr>
          <p:cNvSpPr>
            <a:spLocks noGrp="1"/>
          </p:cNvSpPr>
          <p:nvPr>
            <p:ph type="ctrTitle"/>
          </p:nvPr>
        </p:nvSpPr>
        <p:spPr>
          <a:xfrm>
            <a:off x="291593" y="280800"/>
            <a:ext cx="5734050" cy="2620397"/>
          </a:xfrm>
        </p:spPr>
        <p:txBody>
          <a:bodyPr wrap="square" anchor="t">
            <a:spAutoFit/>
          </a:bodyPr>
          <a:lstStyle>
            <a:lvl1pPr algn="l">
              <a:lnSpc>
                <a:spcPct val="80000"/>
              </a:lnSpc>
              <a:defRPr sz="7000" b="0" i="0" spc="0" baseline="0">
                <a:solidFill>
                  <a:schemeClr val="bg1"/>
                </a:solidFill>
                <a:latin typeface="+mj-lt"/>
              </a:defRPr>
            </a:lvl1pPr>
          </a:lstStyle>
          <a:p>
            <a:r>
              <a:rPr lang="zh-CN" altLang="en-US"/>
              <a:t>单击此处编辑母版标题样式</a:t>
            </a:r>
            <a:endParaRPr lang="en-GB"/>
          </a:p>
        </p:txBody>
      </p:sp>
      <p:sp>
        <p:nvSpPr>
          <p:cNvPr id="4" name="Freeform 3">
            <a:extLst>
              <a:ext uri="{FF2B5EF4-FFF2-40B4-BE49-F238E27FC236}">
                <a16:creationId xmlns:a16="http://schemas.microsoft.com/office/drawing/2014/main" id="{341CCCF6-45D3-89EA-1171-FDB379444A5D}"/>
              </a:ext>
            </a:extLst>
          </p:cNvPr>
          <p:cNvSpPr/>
          <p:nvPr/>
        </p:nvSpPr>
        <p:spPr>
          <a:xfrm>
            <a:off x="291593" y="6373132"/>
            <a:ext cx="2032407" cy="189099"/>
          </a:xfrm>
          <a:custGeom>
            <a:avLst/>
            <a:gdLst>
              <a:gd name="connsiteX0" fmla="*/ 786066 w 7948307"/>
              <a:gd name="connsiteY0" fmla="*/ 677532 h 739526"/>
              <a:gd name="connsiteX1" fmla="*/ 664794 w 7948307"/>
              <a:gd name="connsiteY1" fmla="*/ 470470 h 739526"/>
              <a:gd name="connsiteX2" fmla="*/ 786066 w 7948307"/>
              <a:gd name="connsiteY2" fmla="*/ 263408 h 739526"/>
              <a:gd name="connsiteX3" fmla="*/ 907339 w 7948307"/>
              <a:gd name="connsiteY3" fmla="*/ 470470 h 739526"/>
              <a:gd name="connsiteX4" fmla="*/ 786066 w 7948307"/>
              <a:gd name="connsiteY4" fmla="*/ 677532 h 739526"/>
              <a:gd name="connsiteX5" fmla="*/ 786066 w 7948307"/>
              <a:gd name="connsiteY5" fmla="*/ 207889 h 739526"/>
              <a:gd name="connsiteX6" fmla="*/ 539525 w 7948307"/>
              <a:gd name="connsiteY6" fmla="*/ 470470 h 739526"/>
              <a:gd name="connsiteX7" fmla="*/ 786066 w 7948307"/>
              <a:gd name="connsiteY7" fmla="*/ 733052 h 739526"/>
              <a:gd name="connsiteX8" fmla="*/ 1032607 w 7948307"/>
              <a:gd name="connsiteY8" fmla="*/ 470470 h 739526"/>
              <a:gd name="connsiteX9" fmla="*/ 786066 w 7948307"/>
              <a:gd name="connsiteY9" fmla="*/ 207889 h 739526"/>
              <a:gd name="connsiteX10" fmla="*/ 1888405 w 7948307"/>
              <a:gd name="connsiteY10" fmla="*/ 207889 h 739526"/>
              <a:gd name="connsiteX11" fmla="*/ 1748942 w 7948307"/>
              <a:gd name="connsiteY11" fmla="*/ 281593 h 739526"/>
              <a:gd name="connsiteX12" fmla="*/ 1742878 w 7948307"/>
              <a:gd name="connsiteY12" fmla="*/ 281593 h 739526"/>
              <a:gd name="connsiteX13" fmla="*/ 1742878 w 7948307"/>
              <a:gd name="connsiteY13" fmla="*/ 217945 h 739526"/>
              <a:gd name="connsiteX14" fmla="*/ 1623673 w 7948307"/>
              <a:gd name="connsiteY14" fmla="*/ 217945 h 739526"/>
              <a:gd name="connsiteX15" fmla="*/ 1623673 w 7948307"/>
              <a:gd name="connsiteY15" fmla="*/ 722995 h 739526"/>
              <a:gd name="connsiteX16" fmla="*/ 1742878 w 7948307"/>
              <a:gd name="connsiteY16" fmla="*/ 722995 h 739526"/>
              <a:gd name="connsiteX17" fmla="*/ 1742878 w 7948307"/>
              <a:gd name="connsiteY17" fmla="*/ 396765 h 739526"/>
              <a:gd name="connsiteX18" fmla="*/ 1842928 w 7948307"/>
              <a:gd name="connsiteY18" fmla="*/ 278562 h 739526"/>
              <a:gd name="connsiteX19" fmla="*/ 1928783 w 7948307"/>
              <a:gd name="connsiteY19" fmla="*/ 377616 h 739526"/>
              <a:gd name="connsiteX20" fmla="*/ 1928783 w 7948307"/>
              <a:gd name="connsiteY20" fmla="*/ 722995 h 739526"/>
              <a:gd name="connsiteX21" fmla="*/ 2047989 w 7948307"/>
              <a:gd name="connsiteY21" fmla="*/ 722995 h 739526"/>
              <a:gd name="connsiteX22" fmla="*/ 2047989 w 7948307"/>
              <a:gd name="connsiteY22" fmla="*/ 376514 h 739526"/>
              <a:gd name="connsiteX23" fmla="*/ 1888405 w 7948307"/>
              <a:gd name="connsiteY23" fmla="*/ 207889 h 739526"/>
              <a:gd name="connsiteX24" fmla="*/ 2318785 w 7948307"/>
              <a:gd name="connsiteY24" fmla="*/ 207889 h 739526"/>
              <a:gd name="connsiteX25" fmla="*/ 2125851 w 7948307"/>
              <a:gd name="connsiteY25" fmla="*/ 353369 h 739526"/>
              <a:gd name="connsiteX26" fmla="*/ 2248089 w 7948307"/>
              <a:gd name="connsiteY26" fmla="*/ 498850 h 739526"/>
              <a:gd name="connsiteX27" fmla="*/ 2349103 w 7948307"/>
              <a:gd name="connsiteY27" fmla="*/ 524061 h 739526"/>
              <a:gd name="connsiteX28" fmla="*/ 2426965 w 7948307"/>
              <a:gd name="connsiteY28" fmla="*/ 598868 h 739526"/>
              <a:gd name="connsiteX29" fmla="*/ 2326916 w 7948307"/>
              <a:gd name="connsiteY29" fmla="*/ 679736 h 739526"/>
              <a:gd name="connsiteX30" fmla="*/ 2211707 w 7948307"/>
              <a:gd name="connsiteY30" fmla="*/ 562635 h 739526"/>
              <a:gd name="connsiteX31" fmla="*/ 2104629 w 7948307"/>
              <a:gd name="connsiteY31" fmla="*/ 592944 h 739526"/>
              <a:gd name="connsiteX32" fmla="*/ 2313824 w 7948307"/>
              <a:gd name="connsiteY32" fmla="*/ 733327 h 739526"/>
              <a:gd name="connsiteX33" fmla="*/ 2523983 w 7948307"/>
              <a:gd name="connsiteY33" fmla="*/ 568697 h 739526"/>
              <a:gd name="connsiteX34" fmla="*/ 2389619 w 7948307"/>
              <a:gd name="connsiteY34" fmla="*/ 417155 h 739526"/>
              <a:gd name="connsiteX35" fmla="*/ 2292601 w 7948307"/>
              <a:gd name="connsiteY35" fmla="*/ 392908 h 739526"/>
              <a:gd name="connsiteX36" fmla="*/ 2222869 w 7948307"/>
              <a:gd name="connsiteY36" fmla="*/ 326229 h 739526"/>
              <a:gd name="connsiteX37" fmla="*/ 2308725 w 7948307"/>
              <a:gd name="connsiteY37" fmla="*/ 261617 h 739526"/>
              <a:gd name="connsiteX38" fmla="*/ 2411806 w 7948307"/>
              <a:gd name="connsiteY38" fmla="*/ 358604 h 739526"/>
              <a:gd name="connsiteX39" fmla="*/ 2512821 w 7948307"/>
              <a:gd name="connsiteY39" fmla="*/ 328296 h 739526"/>
              <a:gd name="connsiteX40" fmla="*/ 2318785 w 7948307"/>
              <a:gd name="connsiteY40" fmla="*/ 208164 h 739526"/>
              <a:gd name="connsiteX41" fmla="*/ 2819861 w 7948307"/>
              <a:gd name="connsiteY41" fmla="*/ 677807 h 739526"/>
              <a:gd name="connsiteX42" fmla="*/ 2698588 w 7948307"/>
              <a:gd name="connsiteY42" fmla="*/ 470746 h 739526"/>
              <a:gd name="connsiteX43" fmla="*/ 2819861 w 7948307"/>
              <a:gd name="connsiteY43" fmla="*/ 263684 h 739526"/>
              <a:gd name="connsiteX44" fmla="*/ 2941133 w 7948307"/>
              <a:gd name="connsiteY44" fmla="*/ 470746 h 739526"/>
              <a:gd name="connsiteX45" fmla="*/ 2819861 w 7948307"/>
              <a:gd name="connsiteY45" fmla="*/ 677807 h 739526"/>
              <a:gd name="connsiteX46" fmla="*/ 2819861 w 7948307"/>
              <a:gd name="connsiteY46" fmla="*/ 208164 h 739526"/>
              <a:gd name="connsiteX47" fmla="*/ 2573319 w 7948307"/>
              <a:gd name="connsiteY47" fmla="*/ 470746 h 739526"/>
              <a:gd name="connsiteX48" fmla="*/ 2819861 w 7948307"/>
              <a:gd name="connsiteY48" fmla="*/ 733327 h 739526"/>
              <a:gd name="connsiteX49" fmla="*/ 3066402 w 7948307"/>
              <a:gd name="connsiteY49" fmla="*/ 470746 h 739526"/>
              <a:gd name="connsiteX50" fmla="*/ 2819861 w 7948307"/>
              <a:gd name="connsiteY50" fmla="*/ 208164 h 739526"/>
              <a:gd name="connsiteX51" fmla="*/ 3401831 w 7948307"/>
              <a:gd name="connsiteY51" fmla="*/ 208164 h 739526"/>
              <a:gd name="connsiteX52" fmla="*/ 3262367 w 7948307"/>
              <a:gd name="connsiteY52" fmla="*/ 281869 h 739526"/>
              <a:gd name="connsiteX53" fmla="*/ 3256304 w 7948307"/>
              <a:gd name="connsiteY53" fmla="*/ 281869 h 739526"/>
              <a:gd name="connsiteX54" fmla="*/ 3256304 w 7948307"/>
              <a:gd name="connsiteY54" fmla="*/ 218221 h 739526"/>
              <a:gd name="connsiteX55" fmla="*/ 3137098 w 7948307"/>
              <a:gd name="connsiteY55" fmla="*/ 218221 h 739526"/>
              <a:gd name="connsiteX56" fmla="*/ 3137098 w 7948307"/>
              <a:gd name="connsiteY56" fmla="*/ 723270 h 739526"/>
              <a:gd name="connsiteX57" fmla="*/ 3256304 w 7948307"/>
              <a:gd name="connsiteY57" fmla="*/ 723270 h 739526"/>
              <a:gd name="connsiteX58" fmla="*/ 3256304 w 7948307"/>
              <a:gd name="connsiteY58" fmla="*/ 397041 h 739526"/>
              <a:gd name="connsiteX59" fmla="*/ 3356353 w 7948307"/>
              <a:gd name="connsiteY59" fmla="*/ 278838 h 739526"/>
              <a:gd name="connsiteX60" fmla="*/ 3442209 w 7948307"/>
              <a:gd name="connsiteY60" fmla="*/ 377891 h 739526"/>
              <a:gd name="connsiteX61" fmla="*/ 3442209 w 7948307"/>
              <a:gd name="connsiteY61" fmla="*/ 723270 h 739526"/>
              <a:gd name="connsiteX62" fmla="*/ 3561414 w 7948307"/>
              <a:gd name="connsiteY62" fmla="*/ 723270 h 739526"/>
              <a:gd name="connsiteX63" fmla="*/ 3561414 w 7948307"/>
              <a:gd name="connsiteY63" fmla="*/ 376789 h 739526"/>
              <a:gd name="connsiteX64" fmla="*/ 3401831 w 7948307"/>
              <a:gd name="connsiteY64" fmla="*/ 208164 h 739526"/>
              <a:gd name="connsiteX65" fmla="*/ 5172960 w 7948307"/>
              <a:gd name="connsiteY65" fmla="*/ 677807 h 739526"/>
              <a:gd name="connsiteX66" fmla="*/ 5051688 w 7948307"/>
              <a:gd name="connsiteY66" fmla="*/ 470746 h 739526"/>
              <a:gd name="connsiteX67" fmla="*/ 5172960 w 7948307"/>
              <a:gd name="connsiteY67" fmla="*/ 263684 h 739526"/>
              <a:gd name="connsiteX68" fmla="*/ 5294232 w 7948307"/>
              <a:gd name="connsiteY68" fmla="*/ 470746 h 739526"/>
              <a:gd name="connsiteX69" fmla="*/ 5172960 w 7948307"/>
              <a:gd name="connsiteY69" fmla="*/ 677807 h 739526"/>
              <a:gd name="connsiteX70" fmla="*/ 5172960 w 7948307"/>
              <a:gd name="connsiteY70" fmla="*/ 208164 h 739526"/>
              <a:gd name="connsiteX71" fmla="*/ 4926418 w 7948307"/>
              <a:gd name="connsiteY71" fmla="*/ 470746 h 739526"/>
              <a:gd name="connsiteX72" fmla="*/ 5172960 w 7948307"/>
              <a:gd name="connsiteY72" fmla="*/ 733327 h 739526"/>
              <a:gd name="connsiteX73" fmla="*/ 5419502 w 7948307"/>
              <a:gd name="connsiteY73" fmla="*/ 470746 h 739526"/>
              <a:gd name="connsiteX74" fmla="*/ 5172960 w 7948307"/>
              <a:gd name="connsiteY74" fmla="*/ 208164 h 739526"/>
              <a:gd name="connsiteX75" fmla="*/ 6275299 w 7948307"/>
              <a:gd name="connsiteY75" fmla="*/ 208164 h 739526"/>
              <a:gd name="connsiteX76" fmla="*/ 6135836 w 7948307"/>
              <a:gd name="connsiteY76" fmla="*/ 281869 h 739526"/>
              <a:gd name="connsiteX77" fmla="*/ 6129772 w 7948307"/>
              <a:gd name="connsiteY77" fmla="*/ 281869 h 739526"/>
              <a:gd name="connsiteX78" fmla="*/ 6129772 w 7948307"/>
              <a:gd name="connsiteY78" fmla="*/ 218221 h 739526"/>
              <a:gd name="connsiteX79" fmla="*/ 6010567 w 7948307"/>
              <a:gd name="connsiteY79" fmla="*/ 218221 h 739526"/>
              <a:gd name="connsiteX80" fmla="*/ 6010567 w 7948307"/>
              <a:gd name="connsiteY80" fmla="*/ 723270 h 739526"/>
              <a:gd name="connsiteX81" fmla="*/ 6129772 w 7948307"/>
              <a:gd name="connsiteY81" fmla="*/ 723270 h 739526"/>
              <a:gd name="connsiteX82" fmla="*/ 6129772 w 7948307"/>
              <a:gd name="connsiteY82" fmla="*/ 397041 h 739526"/>
              <a:gd name="connsiteX83" fmla="*/ 6229822 w 7948307"/>
              <a:gd name="connsiteY83" fmla="*/ 278838 h 739526"/>
              <a:gd name="connsiteX84" fmla="*/ 6315677 w 7948307"/>
              <a:gd name="connsiteY84" fmla="*/ 377891 h 739526"/>
              <a:gd name="connsiteX85" fmla="*/ 6315677 w 7948307"/>
              <a:gd name="connsiteY85" fmla="*/ 723270 h 739526"/>
              <a:gd name="connsiteX86" fmla="*/ 6434883 w 7948307"/>
              <a:gd name="connsiteY86" fmla="*/ 723270 h 739526"/>
              <a:gd name="connsiteX87" fmla="*/ 6434883 w 7948307"/>
              <a:gd name="connsiteY87" fmla="*/ 376789 h 739526"/>
              <a:gd name="connsiteX88" fmla="*/ 6275299 w 7948307"/>
              <a:gd name="connsiteY88" fmla="*/ 208164 h 739526"/>
              <a:gd name="connsiteX89" fmla="*/ 6705679 w 7948307"/>
              <a:gd name="connsiteY89" fmla="*/ 208164 h 739526"/>
              <a:gd name="connsiteX90" fmla="*/ 6512746 w 7948307"/>
              <a:gd name="connsiteY90" fmla="*/ 353645 h 739526"/>
              <a:gd name="connsiteX91" fmla="*/ 6634983 w 7948307"/>
              <a:gd name="connsiteY91" fmla="*/ 499125 h 739526"/>
              <a:gd name="connsiteX92" fmla="*/ 6735996 w 7948307"/>
              <a:gd name="connsiteY92" fmla="*/ 524336 h 739526"/>
              <a:gd name="connsiteX93" fmla="*/ 6813859 w 7948307"/>
              <a:gd name="connsiteY93" fmla="*/ 599143 h 739526"/>
              <a:gd name="connsiteX94" fmla="*/ 6713809 w 7948307"/>
              <a:gd name="connsiteY94" fmla="*/ 680012 h 739526"/>
              <a:gd name="connsiteX95" fmla="*/ 6598601 w 7948307"/>
              <a:gd name="connsiteY95" fmla="*/ 562911 h 739526"/>
              <a:gd name="connsiteX96" fmla="*/ 6491522 w 7948307"/>
              <a:gd name="connsiteY96" fmla="*/ 593219 h 739526"/>
              <a:gd name="connsiteX97" fmla="*/ 6700717 w 7948307"/>
              <a:gd name="connsiteY97" fmla="*/ 733603 h 739526"/>
              <a:gd name="connsiteX98" fmla="*/ 6910877 w 7948307"/>
              <a:gd name="connsiteY98" fmla="*/ 568973 h 739526"/>
              <a:gd name="connsiteX99" fmla="*/ 6776513 w 7948307"/>
              <a:gd name="connsiteY99" fmla="*/ 417430 h 739526"/>
              <a:gd name="connsiteX100" fmla="*/ 6679495 w 7948307"/>
              <a:gd name="connsiteY100" fmla="*/ 393183 h 739526"/>
              <a:gd name="connsiteX101" fmla="*/ 6609763 w 7948307"/>
              <a:gd name="connsiteY101" fmla="*/ 326505 h 739526"/>
              <a:gd name="connsiteX102" fmla="*/ 6695618 w 7948307"/>
              <a:gd name="connsiteY102" fmla="*/ 261893 h 739526"/>
              <a:gd name="connsiteX103" fmla="*/ 6798701 w 7948307"/>
              <a:gd name="connsiteY103" fmla="*/ 358880 h 739526"/>
              <a:gd name="connsiteX104" fmla="*/ 6899714 w 7948307"/>
              <a:gd name="connsiteY104" fmla="*/ 328571 h 739526"/>
              <a:gd name="connsiteX105" fmla="*/ 6705679 w 7948307"/>
              <a:gd name="connsiteY105" fmla="*/ 208440 h 739526"/>
              <a:gd name="connsiteX106" fmla="*/ 7206755 w 7948307"/>
              <a:gd name="connsiteY106" fmla="*/ 678083 h 739526"/>
              <a:gd name="connsiteX107" fmla="*/ 7085482 w 7948307"/>
              <a:gd name="connsiteY107" fmla="*/ 471021 h 739526"/>
              <a:gd name="connsiteX108" fmla="*/ 7206755 w 7948307"/>
              <a:gd name="connsiteY108" fmla="*/ 263959 h 739526"/>
              <a:gd name="connsiteX109" fmla="*/ 7328027 w 7948307"/>
              <a:gd name="connsiteY109" fmla="*/ 471021 h 739526"/>
              <a:gd name="connsiteX110" fmla="*/ 7206755 w 7948307"/>
              <a:gd name="connsiteY110" fmla="*/ 678083 h 739526"/>
              <a:gd name="connsiteX111" fmla="*/ 7206755 w 7948307"/>
              <a:gd name="connsiteY111" fmla="*/ 208440 h 739526"/>
              <a:gd name="connsiteX112" fmla="*/ 6960213 w 7948307"/>
              <a:gd name="connsiteY112" fmla="*/ 471021 h 739526"/>
              <a:gd name="connsiteX113" fmla="*/ 7206755 w 7948307"/>
              <a:gd name="connsiteY113" fmla="*/ 733603 h 739526"/>
              <a:gd name="connsiteX114" fmla="*/ 7453296 w 7948307"/>
              <a:gd name="connsiteY114" fmla="*/ 471021 h 739526"/>
              <a:gd name="connsiteX115" fmla="*/ 7206755 w 7948307"/>
              <a:gd name="connsiteY115" fmla="*/ 208440 h 739526"/>
              <a:gd name="connsiteX116" fmla="*/ 7788724 w 7948307"/>
              <a:gd name="connsiteY116" fmla="*/ 208440 h 739526"/>
              <a:gd name="connsiteX117" fmla="*/ 7649261 w 7948307"/>
              <a:gd name="connsiteY117" fmla="*/ 282144 h 739526"/>
              <a:gd name="connsiteX118" fmla="*/ 7643197 w 7948307"/>
              <a:gd name="connsiteY118" fmla="*/ 282144 h 739526"/>
              <a:gd name="connsiteX119" fmla="*/ 7643197 w 7948307"/>
              <a:gd name="connsiteY119" fmla="*/ 218496 h 739526"/>
              <a:gd name="connsiteX120" fmla="*/ 7523992 w 7948307"/>
              <a:gd name="connsiteY120" fmla="*/ 218496 h 739526"/>
              <a:gd name="connsiteX121" fmla="*/ 7523992 w 7948307"/>
              <a:gd name="connsiteY121" fmla="*/ 723546 h 739526"/>
              <a:gd name="connsiteX122" fmla="*/ 7643197 w 7948307"/>
              <a:gd name="connsiteY122" fmla="*/ 723546 h 739526"/>
              <a:gd name="connsiteX123" fmla="*/ 7643197 w 7948307"/>
              <a:gd name="connsiteY123" fmla="*/ 397316 h 739526"/>
              <a:gd name="connsiteX124" fmla="*/ 7743247 w 7948307"/>
              <a:gd name="connsiteY124" fmla="*/ 279113 h 739526"/>
              <a:gd name="connsiteX125" fmla="*/ 7829102 w 7948307"/>
              <a:gd name="connsiteY125" fmla="*/ 378167 h 739526"/>
              <a:gd name="connsiteX126" fmla="*/ 7829102 w 7948307"/>
              <a:gd name="connsiteY126" fmla="*/ 723546 h 739526"/>
              <a:gd name="connsiteX127" fmla="*/ 7948308 w 7948307"/>
              <a:gd name="connsiteY127" fmla="*/ 723546 h 739526"/>
              <a:gd name="connsiteX128" fmla="*/ 7948308 w 7948307"/>
              <a:gd name="connsiteY128" fmla="*/ 377065 h 739526"/>
              <a:gd name="connsiteX129" fmla="*/ 7788724 w 7948307"/>
              <a:gd name="connsiteY129" fmla="*/ 208440 h 739526"/>
              <a:gd name="connsiteX130" fmla="*/ 468828 w 7948307"/>
              <a:gd name="connsiteY130" fmla="*/ 16532 h 739526"/>
              <a:gd name="connsiteX131" fmla="*/ 343559 w 7948307"/>
              <a:gd name="connsiteY131" fmla="*/ 16532 h 739526"/>
              <a:gd name="connsiteX132" fmla="*/ 343559 w 7948307"/>
              <a:gd name="connsiteY132" fmla="*/ 538664 h 739526"/>
              <a:gd name="connsiteX133" fmla="*/ 234414 w 7948307"/>
              <a:gd name="connsiteY133" fmla="*/ 673950 h 739526"/>
              <a:gd name="connsiteX134" fmla="*/ 125269 w 7948307"/>
              <a:gd name="connsiteY134" fmla="*/ 528469 h 739526"/>
              <a:gd name="connsiteX135" fmla="*/ 125269 w 7948307"/>
              <a:gd name="connsiteY135" fmla="*/ 431482 h 739526"/>
              <a:gd name="connsiteX136" fmla="*/ 0 w 7948307"/>
              <a:gd name="connsiteY136" fmla="*/ 462755 h 739526"/>
              <a:gd name="connsiteX137" fmla="*/ 0 w 7948307"/>
              <a:gd name="connsiteY137" fmla="*/ 506151 h 739526"/>
              <a:gd name="connsiteX138" fmla="*/ 234414 w 7948307"/>
              <a:gd name="connsiteY138" fmla="*/ 739527 h 739526"/>
              <a:gd name="connsiteX139" fmla="*/ 468828 w 7948307"/>
              <a:gd name="connsiteY139" fmla="*/ 506151 h 739526"/>
              <a:gd name="connsiteX140" fmla="*/ 468828 w 7948307"/>
              <a:gd name="connsiteY140" fmla="*/ 16256 h 739526"/>
              <a:gd name="connsiteX141" fmla="*/ 1222509 w 7948307"/>
              <a:gd name="connsiteY141" fmla="*/ 16256 h 739526"/>
              <a:gd name="connsiteX142" fmla="*/ 1103304 w 7948307"/>
              <a:gd name="connsiteY142" fmla="*/ 16256 h 739526"/>
              <a:gd name="connsiteX143" fmla="*/ 1103304 w 7948307"/>
              <a:gd name="connsiteY143" fmla="*/ 723270 h 739526"/>
              <a:gd name="connsiteX144" fmla="*/ 1222509 w 7948307"/>
              <a:gd name="connsiteY144" fmla="*/ 723270 h 739526"/>
              <a:gd name="connsiteX145" fmla="*/ 1222509 w 7948307"/>
              <a:gd name="connsiteY145" fmla="*/ 397041 h 739526"/>
              <a:gd name="connsiteX146" fmla="*/ 1322559 w 7948307"/>
              <a:gd name="connsiteY146" fmla="*/ 278838 h 739526"/>
              <a:gd name="connsiteX147" fmla="*/ 1408415 w 7948307"/>
              <a:gd name="connsiteY147" fmla="*/ 377891 h 739526"/>
              <a:gd name="connsiteX148" fmla="*/ 1408415 w 7948307"/>
              <a:gd name="connsiteY148" fmla="*/ 723270 h 739526"/>
              <a:gd name="connsiteX149" fmla="*/ 1527620 w 7948307"/>
              <a:gd name="connsiteY149" fmla="*/ 723270 h 739526"/>
              <a:gd name="connsiteX150" fmla="*/ 1527620 w 7948307"/>
              <a:gd name="connsiteY150" fmla="*/ 376789 h 739526"/>
              <a:gd name="connsiteX151" fmla="*/ 1368036 w 7948307"/>
              <a:gd name="connsiteY151" fmla="*/ 208164 h 739526"/>
              <a:gd name="connsiteX152" fmla="*/ 1228573 w 7948307"/>
              <a:gd name="connsiteY152" fmla="*/ 281869 h 739526"/>
              <a:gd name="connsiteX153" fmla="*/ 1222509 w 7948307"/>
              <a:gd name="connsiteY153" fmla="*/ 281869 h 739526"/>
              <a:gd name="connsiteX154" fmla="*/ 1222509 w 7948307"/>
              <a:gd name="connsiteY154" fmla="*/ 16256 h 739526"/>
              <a:gd name="connsiteX155" fmla="*/ 4855722 w 7948307"/>
              <a:gd name="connsiteY155" fmla="*/ 16256 h 739526"/>
              <a:gd name="connsiteX156" fmla="*/ 4730453 w 7948307"/>
              <a:gd name="connsiteY156" fmla="*/ 16256 h 739526"/>
              <a:gd name="connsiteX157" fmla="*/ 4730453 w 7948307"/>
              <a:gd name="connsiteY157" fmla="*/ 538389 h 739526"/>
              <a:gd name="connsiteX158" fmla="*/ 4621308 w 7948307"/>
              <a:gd name="connsiteY158" fmla="*/ 673675 h 739526"/>
              <a:gd name="connsiteX159" fmla="*/ 4512163 w 7948307"/>
              <a:gd name="connsiteY159" fmla="*/ 528194 h 739526"/>
              <a:gd name="connsiteX160" fmla="*/ 4512163 w 7948307"/>
              <a:gd name="connsiteY160" fmla="*/ 431207 h 739526"/>
              <a:gd name="connsiteX161" fmla="*/ 4386894 w 7948307"/>
              <a:gd name="connsiteY161" fmla="*/ 462480 h 739526"/>
              <a:gd name="connsiteX162" fmla="*/ 4386894 w 7948307"/>
              <a:gd name="connsiteY162" fmla="*/ 505876 h 739526"/>
              <a:gd name="connsiteX163" fmla="*/ 4621308 w 7948307"/>
              <a:gd name="connsiteY163" fmla="*/ 739251 h 739526"/>
              <a:gd name="connsiteX164" fmla="*/ 4855722 w 7948307"/>
              <a:gd name="connsiteY164" fmla="*/ 505876 h 739526"/>
              <a:gd name="connsiteX165" fmla="*/ 4855722 w 7948307"/>
              <a:gd name="connsiteY165" fmla="*/ 15981 h 739526"/>
              <a:gd name="connsiteX166" fmla="*/ 5609403 w 7948307"/>
              <a:gd name="connsiteY166" fmla="*/ 15981 h 739526"/>
              <a:gd name="connsiteX167" fmla="*/ 5490198 w 7948307"/>
              <a:gd name="connsiteY167" fmla="*/ 15981 h 739526"/>
              <a:gd name="connsiteX168" fmla="*/ 5490198 w 7948307"/>
              <a:gd name="connsiteY168" fmla="*/ 722995 h 739526"/>
              <a:gd name="connsiteX169" fmla="*/ 5609403 w 7948307"/>
              <a:gd name="connsiteY169" fmla="*/ 722995 h 739526"/>
              <a:gd name="connsiteX170" fmla="*/ 5609403 w 7948307"/>
              <a:gd name="connsiteY170" fmla="*/ 396765 h 739526"/>
              <a:gd name="connsiteX171" fmla="*/ 5709453 w 7948307"/>
              <a:gd name="connsiteY171" fmla="*/ 278562 h 739526"/>
              <a:gd name="connsiteX172" fmla="*/ 5795308 w 7948307"/>
              <a:gd name="connsiteY172" fmla="*/ 377616 h 739526"/>
              <a:gd name="connsiteX173" fmla="*/ 5795308 w 7948307"/>
              <a:gd name="connsiteY173" fmla="*/ 722995 h 739526"/>
              <a:gd name="connsiteX174" fmla="*/ 5914514 w 7948307"/>
              <a:gd name="connsiteY174" fmla="*/ 722995 h 739526"/>
              <a:gd name="connsiteX175" fmla="*/ 5914514 w 7948307"/>
              <a:gd name="connsiteY175" fmla="*/ 376514 h 739526"/>
              <a:gd name="connsiteX176" fmla="*/ 5754930 w 7948307"/>
              <a:gd name="connsiteY176" fmla="*/ 207889 h 739526"/>
              <a:gd name="connsiteX177" fmla="*/ 5615466 w 7948307"/>
              <a:gd name="connsiteY177" fmla="*/ 281593 h 739526"/>
              <a:gd name="connsiteX178" fmla="*/ 5609403 w 7948307"/>
              <a:gd name="connsiteY178" fmla="*/ 281593 h 739526"/>
              <a:gd name="connsiteX179" fmla="*/ 5609403 w 7948307"/>
              <a:gd name="connsiteY179" fmla="*/ 15981 h 739526"/>
              <a:gd name="connsiteX180" fmla="*/ 3954447 w 7948307"/>
              <a:gd name="connsiteY180" fmla="*/ 665409 h 739526"/>
              <a:gd name="connsiteX181" fmla="*/ 3797895 w 7948307"/>
              <a:gd name="connsiteY181" fmla="*/ 502845 h 739526"/>
              <a:gd name="connsiteX182" fmla="*/ 3859496 w 7948307"/>
              <a:gd name="connsiteY182" fmla="*/ 374585 h 739526"/>
              <a:gd name="connsiteX183" fmla="*/ 4087847 w 7948307"/>
              <a:gd name="connsiteY183" fmla="*/ 624079 h 739526"/>
              <a:gd name="connsiteX184" fmla="*/ 3954447 w 7948307"/>
              <a:gd name="connsiteY184" fmla="*/ 665546 h 739526"/>
              <a:gd name="connsiteX185" fmla="*/ 4176734 w 7948307"/>
              <a:gd name="connsiteY185" fmla="*/ 541282 h 739526"/>
              <a:gd name="connsiteX186" fmla="*/ 3978702 w 7948307"/>
              <a:gd name="connsiteY186" fmla="*/ 323061 h 739526"/>
              <a:gd name="connsiteX187" fmla="*/ 4076684 w 7948307"/>
              <a:gd name="connsiteY187" fmla="*/ 303911 h 739526"/>
              <a:gd name="connsiteX188" fmla="*/ 4208981 w 7948307"/>
              <a:gd name="connsiteY188" fmla="*/ 433273 h 739526"/>
              <a:gd name="connsiteX189" fmla="*/ 4176596 w 7948307"/>
              <a:gd name="connsiteY189" fmla="*/ 541282 h 739526"/>
              <a:gd name="connsiteX190" fmla="*/ 3951278 w 7948307"/>
              <a:gd name="connsiteY190" fmla="*/ 293854 h 739526"/>
              <a:gd name="connsiteX191" fmla="*/ 3907868 w 7948307"/>
              <a:gd name="connsiteY191" fmla="*/ 245361 h 739526"/>
              <a:gd name="connsiteX192" fmla="*/ 3858394 w 7948307"/>
              <a:gd name="connsiteY192" fmla="*/ 145343 h 739526"/>
              <a:gd name="connsiteX193" fmla="*/ 3954309 w 7948307"/>
              <a:gd name="connsiteY193" fmla="*/ 53453 h 739526"/>
              <a:gd name="connsiteX194" fmla="*/ 4049260 w 7948307"/>
              <a:gd name="connsiteY194" fmla="*/ 150440 h 739526"/>
              <a:gd name="connsiteX195" fmla="*/ 3951278 w 7948307"/>
              <a:gd name="connsiteY195" fmla="*/ 293854 h 739526"/>
              <a:gd name="connsiteX196" fmla="*/ 3957341 w 7948307"/>
              <a:gd name="connsiteY196" fmla="*/ 0 h 739526"/>
              <a:gd name="connsiteX197" fmla="*/ 3749249 w 7948307"/>
              <a:gd name="connsiteY197" fmla="*/ 174687 h 739526"/>
              <a:gd name="connsiteX198" fmla="*/ 3830143 w 7948307"/>
              <a:gd name="connsiteY198" fmla="*/ 343312 h 739526"/>
              <a:gd name="connsiteX199" fmla="*/ 3831108 w 7948307"/>
              <a:gd name="connsiteY199" fmla="*/ 345379 h 739526"/>
              <a:gd name="connsiteX200" fmla="*/ 3686683 w 7948307"/>
              <a:gd name="connsiteY200" fmla="*/ 548445 h 739526"/>
              <a:gd name="connsiteX201" fmla="*/ 3889815 w 7948307"/>
              <a:gd name="connsiteY201" fmla="*/ 739389 h 739526"/>
              <a:gd name="connsiteX202" fmla="*/ 4118165 w 7948307"/>
              <a:gd name="connsiteY202" fmla="*/ 657556 h 739526"/>
              <a:gd name="connsiteX203" fmla="*/ 4178801 w 7948307"/>
              <a:gd name="connsiteY203" fmla="*/ 723270 h 739526"/>
              <a:gd name="connsiteX204" fmla="*/ 4337420 w 7948307"/>
              <a:gd name="connsiteY204" fmla="*/ 723270 h 739526"/>
              <a:gd name="connsiteX205" fmla="*/ 4337420 w 7948307"/>
              <a:gd name="connsiteY205" fmla="*/ 718173 h 739526"/>
              <a:gd name="connsiteX206" fmla="*/ 4208155 w 7948307"/>
              <a:gd name="connsiteY206" fmla="*/ 575723 h 739526"/>
              <a:gd name="connsiteX207" fmla="*/ 4294011 w 7948307"/>
              <a:gd name="connsiteY207" fmla="*/ 378718 h 739526"/>
              <a:gd name="connsiteX208" fmla="*/ 4161713 w 7948307"/>
              <a:gd name="connsiteY208" fmla="*/ 250458 h 739526"/>
              <a:gd name="connsiteX209" fmla="*/ 4040440 w 7948307"/>
              <a:gd name="connsiteY209" fmla="*/ 274705 h 739526"/>
              <a:gd name="connsiteX210" fmla="*/ 4038373 w 7948307"/>
              <a:gd name="connsiteY210" fmla="*/ 270710 h 739526"/>
              <a:gd name="connsiteX211" fmla="*/ 4147518 w 7948307"/>
              <a:gd name="connsiteY211" fmla="*/ 137352 h 739526"/>
              <a:gd name="connsiteX212" fmla="*/ 3957617 w 7948307"/>
              <a:gd name="connsiteY212" fmla="*/ 0 h 73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7948307" h="739526">
                <a:moveTo>
                  <a:pt x="786066" y="677532"/>
                </a:moveTo>
                <a:cubicBezTo>
                  <a:pt x="708204" y="677532"/>
                  <a:pt x="664794" y="603827"/>
                  <a:pt x="664794" y="470470"/>
                </a:cubicBezTo>
                <a:cubicBezTo>
                  <a:pt x="664794" y="337113"/>
                  <a:pt x="708204" y="263408"/>
                  <a:pt x="786066" y="263408"/>
                </a:cubicBezTo>
                <a:cubicBezTo>
                  <a:pt x="863929" y="263408"/>
                  <a:pt x="907339" y="336148"/>
                  <a:pt x="907339" y="470470"/>
                </a:cubicBezTo>
                <a:cubicBezTo>
                  <a:pt x="907339" y="604792"/>
                  <a:pt x="863929" y="677532"/>
                  <a:pt x="786066" y="677532"/>
                </a:cubicBezTo>
                <a:moveTo>
                  <a:pt x="786066" y="207889"/>
                </a:moveTo>
                <a:cubicBezTo>
                  <a:pt x="627447" y="207889"/>
                  <a:pt x="539525" y="326091"/>
                  <a:pt x="539525" y="470470"/>
                </a:cubicBezTo>
                <a:cubicBezTo>
                  <a:pt x="539525" y="614849"/>
                  <a:pt x="627447" y="733052"/>
                  <a:pt x="786066" y="733052"/>
                </a:cubicBezTo>
                <a:cubicBezTo>
                  <a:pt x="944685" y="733052"/>
                  <a:pt x="1032607" y="614849"/>
                  <a:pt x="1032607" y="470470"/>
                </a:cubicBezTo>
                <a:cubicBezTo>
                  <a:pt x="1032607" y="326091"/>
                  <a:pt x="944685" y="207889"/>
                  <a:pt x="786066" y="207889"/>
                </a:cubicBezTo>
                <a:moveTo>
                  <a:pt x="1888405" y="207889"/>
                </a:moveTo>
                <a:cubicBezTo>
                  <a:pt x="1813575" y="207889"/>
                  <a:pt x="1772232" y="240263"/>
                  <a:pt x="1748942" y="281593"/>
                </a:cubicBezTo>
                <a:lnTo>
                  <a:pt x="1742878" y="281593"/>
                </a:lnTo>
                <a:lnTo>
                  <a:pt x="1742878" y="217945"/>
                </a:lnTo>
                <a:lnTo>
                  <a:pt x="1623673" y="217945"/>
                </a:lnTo>
                <a:lnTo>
                  <a:pt x="1623673" y="722995"/>
                </a:lnTo>
                <a:lnTo>
                  <a:pt x="1742878" y="722995"/>
                </a:lnTo>
                <a:lnTo>
                  <a:pt x="1742878" y="396765"/>
                </a:lnTo>
                <a:cubicBezTo>
                  <a:pt x="1742878" y="322096"/>
                  <a:pt x="1781327" y="278562"/>
                  <a:pt x="1842928" y="278562"/>
                </a:cubicBezTo>
                <a:cubicBezTo>
                  <a:pt x="1904529" y="278562"/>
                  <a:pt x="1928783" y="317963"/>
                  <a:pt x="1928783" y="377616"/>
                </a:cubicBezTo>
                <a:lnTo>
                  <a:pt x="1928783" y="722995"/>
                </a:lnTo>
                <a:lnTo>
                  <a:pt x="2047989" y="722995"/>
                </a:lnTo>
                <a:lnTo>
                  <a:pt x="2047989" y="376514"/>
                </a:lnTo>
                <a:cubicBezTo>
                  <a:pt x="2047989" y="272501"/>
                  <a:pt x="1993416" y="207889"/>
                  <a:pt x="1888405" y="207889"/>
                </a:cubicBezTo>
                <a:moveTo>
                  <a:pt x="2318785" y="207889"/>
                </a:moveTo>
                <a:cubicBezTo>
                  <a:pt x="2208675" y="207889"/>
                  <a:pt x="2125851" y="254316"/>
                  <a:pt x="2125851" y="353369"/>
                </a:cubicBezTo>
                <a:cubicBezTo>
                  <a:pt x="2125851" y="437269"/>
                  <a:pt x="2183456" y="482731"/>
                  <a:pt x="2248089" y="498850"/>
                </a:cubicBezTo>
                <a:lnTo>
                  <a:pt x="2349103" y="524061"/>
                </a:lnTo>
                <a:cubicBezTo>
                  <a:pt x="2402711" y="537149"/>
                  <a:pt x="2426965" y="556436"/>
                  <a:pt x="2426965" y="598868"/>
                </a:cubicBezTo>
                <a:cubicBezTo>
                  <a:pt x="2426965" y="650392"/>
                  <a:pt x="2390584" y="679736"/>
                  <a:pt x="2326916" y="679736"/>
                </a:cubicBezTo>
                <a:cubicBezTo>
                  <a:pt x="2258148" y="679736"/>
                  <a:pt x="2222869" y="646397"/>
                  <a:pt x="2211707" y="562635"/>
                </a:cubicBezTo>
                <a:lnTo>
                  <a:pt x="2104629" y="592944"/>
                </a:lnTo>
                <a:cubicBezTo>
                  <a:pt x="2110692" y="679874"/>
                  <a:pt x="2191587" y="733327"/>
                  <a:pt x="2313824" y="733327"/>
                </a:cubicBezTo>
                <a:cubicBezTo>
                  <a:pt x="2450255" y="733327"/>
                  <a:pt x="2523983" y="669679"/>
                  <a:pt x="2523983" y="568697"/>
                </a:cubicBezTo>
                <a:cubicBezTo>
                  <a:pt x="2523983" y="473776"/>
                  <a:pt x="2458248" y="434375"/>
                  <a:pt x="2389619" y="417155"/>
                </a:cubicBezTo>
                <a:lnTo>
                  <a:pt x="2292601" y="392908"/>
                </a:lnTo>
                <a:cubicBezTo>
                  <a:pt x="2244092" y="380784"/>
                  <a:pt x="2222869" y="358604"/>
                  <a:pt x="2222869" y="326229"/>
                </a:cubicBezTo>
                <a:cubicBezTo>
                  <a:pt x="2222869" y="285864"/>
                  <a:pt x="2257184" y="261617"/>
                  <a:pt x="2308725" y="261617"/>
                </a:cubicBezTo>
                <a:cubicBezTo>
                  <a:pt x="2369361" y="261617"/>
                  <a:pt x="2406707" y="294957"/>
                  <a:pt x="2411806" y="358604"/>
                </a:cubicBezTo>
                <a:lnTo>
                  <a:pt x="2512821" y="328296"/>
                </a:lnTo>
                <a:cubicBezTo>
                  <a:pt x="2500693" y="257622"/>
                  <a:pt x="2430962" y="208164"/>
                  <a:pt x="2318785" y="208164"/>
                </a:cubicBezTo>
                <a:moveTo>
                  <a:pt x="2819861" y="677807"/>
                </a:moveTo>
                <a:cubicBezTo>
                  <a:pt x="2741998" y="677807"/>
                  <a:pt x="2698588" y="604103"/>
                  <a:pt x="2698588" y="470746"/>
                </a:cubicBezTo>
                <a:cubicBezTo>
                  <a:pt x="2698588" y="337388"/>
                  <a:pt x="2741998" y="263684"/>
                  <a:pt x="2819861" y="263684"/>
                </a:cubicBezTo>
                <a:cubicBezTo>
                  <a:pt x="2897723" y="263684"/>
                  <a:pt x="2941133" y="336424"/>
                  <a:pt x="2941133" y="470746"/>
                </a:cubicBezTo>
                <a:cubicBezTo>
                  <a:pt x="2941133" y="605067"/>
                  <a:pt x="2897723" y="677807"/>
                  <a:pt x="2819861" y="677807"/>
                </a:cubicBezTo>
                <a:moveTo>
                  <a:pt x="2819861" y="208164"/>
                </a:moveTo>
                <a:cubicBezTo>
                  <a:pt x="2661242" y="208164"/>
                  <a:pt x="2573319" y="326367"/>
                  <a:pt x="2573319" y="470746"/>
                </a:cubicBezTo>
                <a:cubicBezTo>
                  <a:pt x="2573319" y="615124"/>
                  <a:pt x="2661242" y="733327"/>
                  <a:pt x="2819861" y="733327"/>
                </a:cubicBezTo>
                <a:cubicBezTo>
                  <a:pt x="2978480" y="733327"/>
                  <a:pt x="3066402" y="615124"/>
                  <a:pt x="3066402" y="470746"/>
                </a:cubicBezTo>
                <a:cubicBezTo>
                  <a:pt x="3066402" y="326367"/>
                  <a:pt x="2978480" y="208164"/>
                  <a:pt x="2819861" y="208164"/>
                </a:cubicBezTo>
                <a:moveTo>
                  <a:pt x="3401831" y="208164"/>
                </a:moveTo>
                <a:cubicBezTo>
                  <a:pt x="3327000" y="208164"/>
                  <a:pt x="3285657" y="240539"/>
                  <a:pt x="3262367" y="281869"/>
                </a:cubicBezTo>
                <a:lnTo>
                  <a:pt x="3256304" y="281869"/>
                </a:lnTo>
                <a:lnTo>
                  <a:pt x="3256304" y="218221"/>
                </a:lnTo>
                <a:lnTo>
                  <a:pt x="3137098" y="218221"/>
                </a:lnTo>
                <a:lnTo>
                  <a:pt x="3137098" y="723270"/>
                </a:lnTo>
                <a:lnTo>
                  <a:pt x="3256304" y="723270"/>
                </a:lnTo>
                <a:lnTo>
                  <a:pt x="3256304" y="397041"/>
                </a:lnTo>
                <a:cubicBezTo>
                  <a:pt x="3256304" y="322372"/>
                  <a:pt x="3294752" y="278838"/>
                  <a:pt x="3356353" y="278838"/>
                </a:cubicBezTo>
                <a:cubicBezTo>
                  <a:pt x="3417954" y="278838"/>
                  <a:pt x="3442209" y="318239"/>
                  <a:pt x="3442209" y="377891"/>
                </a:cubicBezTo>
                <a:lnTo>
                  <a:pt x="3442209" y="723270"/>
                </a:lnTo>
                <a:lnTo>
                  <a:pt x="3561414" y="723270"/>
                </a:lnTo>
                <a:lnTo>
                  <a:pt x="3561414" y="376789"/>
                </a:lnTo>
                <a:cubicBezTo>
                  <a:pt x="3561414" y="272776"/>
                  <a:pt x="3506842" y="208164"/>
                  <a:pt x="3401831" y="208164"/>
                </a:cubicBezTo>
                <a:moveTo>
                  <a:pt x="5172960" y="677807"/>
                </a:moveTo>
                <a:cubicBezTo>
                  <a:pt x="5095097" y="677807"/>
                  <a:pt x="5051688" y="604103"/>
                  <a:pt x="5051688" y="470746"/>
                </a:cubicBezTo>
                <a:cubicBezTo>
                  <a:pt x="5051688" y="337388"/>
                  <a:pt x="5095097" y="263684"/>
                  <a:pt x="5172960" y="263684"/>
                </a:cubicBezTo>
                <a:cubicBezTo>
                  <a:pt x="5250823" y="263684"/>
                  <a:pt x="5294232" y="336424"/>
                  <a:pt x="5294232" y="470746"/>
                </a:cubicBezTo>
                <a:cubicBezTo>
                  <a:pt x="5294232" y="605067"/>
                  <a:pt x="5250823" y="677807"/>
                  <a:pt x="5172960" y="677807"/>
                </a:cubicBezTo>
                <a:moveTo>
                  <a:pt x="5172960" y="208164"/>
                </a:moveTo>
                <a:cubicBezTo>
                  <a:pt x="5014341" y="208164"/>
                  <a:pt x="4926418" y="326367"/>
                  <a:pt x="4926418" y="470746"/>
                </a:cubicBezTo>
                <a:cubicBezTo>
                  <a:pt x="4926418" y="615124"/>
                  <a:pt x="5014341" y="733327"/>
                  <a:pt x="5172960" y="733327"/>
                </a:cubicBezTo>
                <a:cubicBezTo>
                  <a:pt x="5331579" y="733327"/>
                  <a:pt x="5419502" y="615124"/>
                  <a:pt x="5419502" y="470746"/>
                </a:cubicBezTo>
                <a:cubicBezTo>
                  <a:pt x="5419502" y="326367"/>
                  <a:pt x="5331579" y="208164"/>
                  <a:pt x="5172960" y="208164"/>
                </a:cubicBezTo>
                <a:moveTo>
                  <a:pt x="6275299" y="208164"/>
                </a:moveTo>
                <a:cubicBezTo>
                  <a:pt x="6200468" y="208164"/>
                  <a:pt x="6159126" y="240539"/>
                  <a:pt x="6135836" y="281869"/>
                </a:cubicBezTo>
                <a:lnTo>
                  <a:pt x="6129772" y="281869"/>
                </a:lnTo>
                <a:lnTo>
                  <a:pt x="6129772" y="218221"/>
                </a:lnTo>
                <a:lnTo>
                  <a:pt x="6010567" y="218221"/>
                </a:lnTo>
                <a:lnTo>
                  <a:pt x="6010567" y="723270"/>
                </a:lnTo>
                <a:lnTo>
                  <a:pt x="6129772" y="723270"/>
                </a:lnTo>
                <a:lnTo>
                  <a:pt x="6129772" y="397041"/>
                </a:lnTo>
                <a:cubicBezTo>
                  <a:pt x="6129772" y="322372"/>
                  <a:pt x="6168222" y="278838"/>
                  <a:pt x="6229822" y="278838"/>
                </a:cubicBezTo>
                <a:cubicBezTo>
                  <a:pt x="6291422" y="278838"/>
                  <a:pt x="6315677" y="318239"/>
                  <a:pt x="6315677" y="377891"/>
                </a:cubicBezTo>
                <a:lnTo>
                  <a:pt x="6315677" y="723270"/>
                </a:lnTo>
                <a:lnTo>
                  <a:pt x="6434883" y="723270"/>
                </a:lnTo>
                <a:lnTo>
                  <a:pt x="6434883" y="376789"/>
                </a:lnTo>
                <a:cubicBezTo>
                  <a:pt x="6434883" y="272776"/>
                  <a:pt x="6380310" y="208164"/>
                  <a:pt x="6275299" y="208164"/>
                </a:cubicBezTo>
                <a:moveTo>
                  <a:pt x="6705679" y="208164"/>
                </a:moveTo>
                <a:cubicBezTo>
                  <a:pt x="6595568" y="208164"/>
                  <a:pt x="6512746" y="254591"/>
                  <a:pt x="6512746" y="353645"/>
                </a:cubicBezTo>
                <a:cubicBezTo>
                  <a:pt x="6512746" y="437544"/>
                  <a:pt x="6570350" y="483007"/>
                  <a:pt x="6634983" y="499125"/>
                </a:cubicBezTo>
                <a:lnTo>
                  <a:pt x="6735996" y="524336"/>
                </a:lnTo>
                <a:cubicBezTo>
                  <a:pt x="6789605" y="537424"/>
                  <a:pt x="6813859" y="556711"/>
                  <a:pt x="6813859" y="599143"/>
                </a:cubicBezTo>
                <a:cubicBezTo>
                  <a:pt x="6813859" y="650668"/>
                  <a:pt x="6777477" y="680012"/>
                  <a:pt x="6713809" y="680012"/>
                </a:cubicBezTo>
                <a:cubicBezTo>
                  <a:pt x="6645042" y="680012"/>
                  <a:pt x="6609763" y="646672"/>
                  <a:pt x="6598601" y="562911"/>
                </a:cubicBezTo>
                <a:lnTo>
                  <a:pt x="6491522" y="593219"/>
                </a:lnTo>
                <a:cubicBezTo>
                  <a:pt x="6497586" y="680149"/>
                  <a:pt x="6578480" y="733603"/>
                  <a:pt x="6700717" y="733603"/>
                </a:cubicBezTo>
                <a:cubicBezTo>
                  <a:pt x="6837149" y="733603"/>
                  <a:pt x="6910877" y="669955"/>
                  <a:pt x="6910877" y="568973"/>
                </a:cubicBezTo>
                <a:cubicBezTo>
                  <a:pt x="6910877" y="474052"/>
                  <a:pt x="6845142" y="434651"/>
                  <a:pt x="6776513" y="417430"/>
                </a:cubicBezTo>
                <a:lnTo>
                  <a:pt x="6679495" y="393183"/>
                </a:lnTo>
                <a:cubicBezTo>
                  <a:pt x="6630986" y="381060"/>
                  <a:pt x="6609763" y="358880"/>
                  <a:pt x="6609763" y="326505"/>
                </a:cubicBezTo>
                <a:cubicBezTo>
                  <a:pt x="6609763" y="286140"/>
                  <a:pt x="6644078" y="261893"/>
                  <a:pt x="6695618" y="261893"/>
                </a:cubicBezTo>
                <a:cubicBezTo>
                  <a:pt x="6756255" y="261893"/>
                  <a:pt x="6793601" y="295232"/>
                  <a:pt x="6798701" y="358880"/>
                </a:cubicBezTo>
                <a:lnTo>
                  <a:pt x="6899714" y="328571"/>
                </a:lnTo>
                <a:cubicBezTo>
                  <a:pt x="6887587" y="257897"/>
                  <a:pt x="6817855" y="208440"/>
                  <a:pt x="6705679" y="208440"/>
                </a:cubicBezTo>
                <a:moveTo>
                  <a:pt x="7206755" y="678083"/>
                </a:moveTo>
                <a:cubicBezTo>
                  <a:pt x="7128892" y="678083"/>
                  <a:pt x="7085482" y="604378"/>
                  <a:pt x="7085482" y="471021"/>
                </a:cubicBezTo>
                <a:cubicBezTo>
                  <a:pt x="7085482" y="337664"/>
                  <a:pt x="7128892" y="263959"/>
                  <a:pt x="7206755" y="263959"/>
                </a:cubicBezTo>
                <a:cubicBezTo>
                  <a:pt x="7284617" y="263959"/>
                  <a:pt x="7328027" y="336700"/>
                  <a:pt x="7328027" y="471021"/>
                </a:cubicBezTo>
                <a:cubicBezTo>
                  <a:pt x="7328027" y="605343"/>
                  <a:pt x="7284617" y="678083"/>
                  <a:pt x="7206755" y="678083"/>
                </a:cubicBezTo>
                <a:moveTo>
                  <a:pt x="7206755" y="208440"/>
                </a:moveTo>
                <a:cubicBezTo>
                  <a:pt x="7048136" y="208440"/>
                  <a:pt x="6960213" y="326643"/>
                  <a:pt x="6960213" y="471021"/>
                </a:cubicBezTo>
                <a:cubicBezTo>
                  <a:pt x="6960213" y="615400"/>
                  <a:pt x="7048136" y="733603"/>
                  <a:pt x="7206755" y="733603"/>
                </a:cubicBezTo>
                <a:cubicBezTo>
                  <a:pt x="7365374" y="733603"/>
                  <a:pt x="7453296" y="615400"/>
                  <a:pt x="7453296" y="471021"/>
                </a:cubicBezTo>
                <a:cubicBezTo>
                  <a:pt x="7453296" y="326643"/>
                  <a:pt x="7365374" y="208440"/>
                  <a:pt x="7206755" y="208440"/>
                </a:cubicBezTo>
                <a:moveTo>
                  <a:pt x="7788724" y="208440"/>
                </a:moveTo>
                <a:cubicBezTo>
                  <a:pt x="7713894" y="208440"/>
                  <a:pt x="7672551" y="240815"/>
                  <a:pt x="7649261" y="282144"/>
                </a:cubicBezTo>
                <a:lnTo>
                  <a:pt x="7643197" y="282144"/>
                </a:lnTo>
                <a:lnTo>
                  <a:pt x="7643197" y="218496"/>
                </a:lnTo>
                <a:lnTo>
                  <a:pt x="7523992" y="218496"/>
                </a:lnTo>
                <a:lnTo>
                  <a:pt x="7523992" y="723546"/>
                </a:lnTo>
                <a:lnTo>
                  <a:pt x="7643197" y="723546"/>
                </a:lnTo>
                <a:lnTo>
                  <a:pt x="7643197" y="397316"/>
                </a:lnTo>
                <a:cubicBezTo>
                  <a:pt x="7643197" y="322647"/>
                  <a:pt x="7681646" y="279113"/>
                  <a:pt x="7743247" y="279113"/>
                </a:cubicBezTo>
                <a:cubicBezTo>
                  <a:pt x="7804848" y="279113"/>
                  <a:pt x="7829102" y="318514"/>
                  <a:pt x="7829102" y="378167"/>
                </a:cubicBezTo>
                <a:lnTo>
                  <a:pt x="7829102" y="723546"/>
                </a:lnTo>
                <a:lnTo>
                  <a:pt x="7948308" y="723546"/>
                </a:lnTo>
                <a:lnTo>
                  <a:pt x="7948308" y="377065"/>
                </a:lnTo>
                <a:cubicBezTo>
                  <a:pt x="7948308" y="273052"/>
                  <a:pt x="7893735" y="208440"/>
                  <a:pt x="7788724" y="208440"/>
                </a:cubicBezTo>
                <a:moveTo>
                  <a:pt x="468828" y="16532"/>
                </a:moveTo>
                <a:lnTo>
                  <a:pt x="343559" y="16532"/>
                </a:lnTo>
                <a:lnTo>
                  <a:pt x="343559" y="538664"/>
                </a:lnTo>
                <a:cubicBezTo>
                  <a:pt x="343559" y="623528"/>
                  <a:pt x="311174" y="673950"/>
                  <a:pt x="234414" y="673950"/>
                </a:cubicBezTo>
                <a:cubicBezTo>
                  <a:pt x="157654" y="673950"/>
                  <a:pt x="125269" y="620359"/>
                  <a:pt x="125269" y="528469"/>
                </a:cubicBezTo>
                <a:lnTo>
                  <a:pt x="125269" y="431482"/>
                </a:lnTo>
                <a:lnTo>
                  <a:pt x="0" y="462755"/>
                </a:lnTo>
                <a:lnTo>
                  <a:pt x="0" y="506151"/>
                </a:lnTo>
                <a:cubicBezTo>
                  <a:pt x="0" y="638406"/>
                  <a:pt x="65735" y="739527"/>
                  <a:pt x="234414" y="739527"/>
                </a:cubicBezTo>
                <a:cubicBezTo>
                  <a:pt x="403093" y="739527"/>
                  <a:pt x="468828" y="638544"/>
                  <a:pt x="468828" y="506151"/>
                </a:cubicBezTo>
                <a:lnTo>
                  <a:pt x="468828" y="16256"/>
                </a:lnTo>
                <a:moveTo>
                  <a:pt x="1222509" y="16256"/>
                </a:moveTo>
                <a:lnTo>
                  <a:pt x="1103304" y="16256"/>
                </a:lnTo>
                <a:lnTo>
                  <a:pt x="1103304" y="723270"/>
                </a:lnTo>
                <a:lnTo>
                  <a:pt x="1222509" y="723270"/>
                </a:lnTo>
                <a:lnTo>
                  <a:pt x="1222509" y="397041"/>
                </a:lnTo>
                <a:cubicBezTo>
                  <a:pt x="1222509" y="322372"/>
                  <a:pt x="1260958" y="278838"/>
                  <a:pt x="1322559" y="278838"/>
                </a:cubicBezTo>
                <a:cubicBezTo>
                  <a:pt x="1384160" y="278838"/>
                  <a:pt x="1408415" y="318239"/>
                  <a:pt x="1408415" y="377891"/>
                </a:cubicBezTo>
                <a:lnTo>
                  <a:pt x="1408415" y="723270"/>
                </a:lnTo>
                <a:lnTo>
                  <a:pt x="1527620" y="723270"/>
                </a:lnTo>
                <a:lnTo>
                  <a:pt x="1527620" y="376789"/>
                </a:lnTo>
                <a:cubicBezTo>
                  <a:pt x="1527620" y="272776"/>
                  <a:pt x="1473047" y="208164"/>
                  <a:pt x="1368036" y="208164"/>
                </a:cubicBezTo>
                <a:cubicBezTo>
                  <a:pt x="1293206" y="208164"/>
                  <a:pt x="1251863" y="240539"/>
                  <a:pt x="1228573" y="281869"/>
                </a:cubicBezTo>
                <a:lnTo>
                  <a:pt x="1222509" y="281869"/>
                </a:lnTo>
                <a:lnTo>
                  <a:pt x="1222509" y="16256"/>
                </a:lnTo>
                <a:moveTo>
                  <a:pt x="4855722" y="16256"/>
                </a:moveTo>
                <a:lnTo>
                  <a:pt x="4730453" y="16256"/>
                </a:lnTo>
                <a:lnTo>
                  <a:pt x="4730453" y="538389"/>
                </a:lnTo>
                <a:cubicBezTo>
                  <a:pt x="4730453" y="623252"/>
                  <a:pt x="4698068" y="673675"/>
                  <a:pt x="4621308" y="673675"/>
                </a:cubicBezTo>
                <a:cubicBezTo>
                  <a:pt x="4544548" y="673675"/>
                  <a:pt x="4512163" y="620084"/>
                  <a:pt x="4512163" y="528194"/>
                </a:cubicBezTo>
                <a:lnTo>
                  <a:pt x="4512163" y="431207"/>
                </a:lnTo>
                <a:lnTo>
                  <a:pt x="4386894" y="462480"/>
                </a:lnTo>
                <a:lnTo>
                  <a:pt x="4386894" y="505876"/>
                </a:lnTo>
                <a:cubicBezTo>
                  <a:pt x="4386894" y="638131"/>
                  <a:pt x="4452629" y="739251"/>
                  <a:pt x="4621308" y="739251"/>
                </a:cubicBezTo>
                <a:cubicBezTo>
                  <a:pt x="4789987" y="739251"/>
                  <a:pt x="4855722" y="638269"/>
                  <a:pt x="4855722" y="505876"/>
                </a:cubicBezTo>
                <a:lnTo>
                  <a:pt x="4855722" y="15981"/>
                </a:lnTo>
                <a:moveTo>
                  <a:pt x="5609403" y="15981"/>
                </a:moveTo>
                <a:lnTo>
                  <a:pt x="5490198" y="15981"/>
                </a:lnTo>
                <a:lnTo>
                  <a:pt x="5490198" y="722995"/>
                </a:lnTo>
                <a:lnTo>
                  <a:pt x="5609403" y="722995"/>
                </a:lnTo>
                <a:lnTo>
                  <a:pt x="5609403" y="396765"/>
                </a:lnTo>
                <a:cubicBezTo>
                  <a:pt x="5609403" y="322096"/>
                  <a:pt x="5647852" y="278562"/>
                  <a:pt x="5709453" y="278562"/>
                </a:cubicBezTo>
                <a:cubicBezTo>
                  <a:pt x="5771054" y="278562"/>
                  <a:pt x="5795308" y="317963"/>
                  <a:pt x="5795308" y="377616"/>
                </a:cubicBezTo>
                <a:lnTo>
                  <a:pt x="5795308" y="722995"/>
                </a:lnTo>
                <a:lnTo>
                  <a:pt x="5914514" y="722995"/>
                </a:lnTo>
                <a:lnTo>
                  <a:pt x="5914514" y="376514"/>
                </a:lnTo>
                <a:cubicBezTo>
                  <a:pt x="5914514" y="272501"/>
                  <a:pt x="5859941" y="207889"/>
                  <a:pt x="5754930" y="207889"/>
                </a:cubicBezTo>
                <a:cubicBezTo>
                  <a:pt x="5680099" y="207889"/>
                  <a:pt x="5638756" y="240263"/>
                  <a:pt x="5615466" y="281593"/>
                </a:cubicBezTo>
                <a:lnTo>
                  <a:pt x="5609403" y="281593"/>
                </a:lnTo>
                <a:lnTo>
                  <a:pt x="5609403" y="15981"/>
                </a:lnTo>
                <a:moveTo>
                  <a:pt x="3954447" y="665409"/>
                </a:moveTo>
                <a:cubicBezTo>
                  <a:pt x="3857429" y="665409"/>
                  <a:pt x="3797895" y="586607"/>
                  <a:pt x="3797895" y="502845"/>
                </a:cubicBezTo>
                <a:cubicBezTo>
                  <a:pt x="3797895" y="450356"/>
                  <a:pt x="3821185" y="401863"/>
                  <a:pt x="3859496" y="374585"/>
                </a:cubicBezTo>
                <a:lnTo>
                  <a:pt x="4087847" y="624079"/>
                </a:lnTo>
                <a:cubicBezTo>
                  <a:pt x="4045401" y="649290"/>
                  <a:pt x="3997857" y="665546"/>
                  <a:pt x="3954447" y="665546"/>
                </a:cubicBezTo>
                <a:moveTo>
                  <a:pt x="4176734" y="541282"/>
                </a:moveTo>
                <a:lnTo>
                  <a:pt x="3978702" y="323061"/>
                </a:lnTo>
                <a:cubicBezTo>
                  <a:pt x="4014119" y="308871"/>
                  <a:pt x="4048433" y="303911"/>
                  <a:pt x="4076684" y="303911"/>
                </a:cubicBezTo>
                <a:cubicBezTo>
                  <a:pt x="4158543" y="303911"/>
                  <a:pt x="4208981" y="351440"/>
                  <a:pt x="4208981" y="433273"/>
                </a:cubicBezTo>
                <a:cubicBezTo>
                  <a:pt x="4208981" y="469643"/>
                  <a:pt x="4198922" y="506978"/>
                  <a:pt x="4176596" y="541282"/>
                </a:cubicBezTo>
                <a:moveTo>
                  <a:pt x="3951278" y="293854"/>
                </a:moveTo>
                <a:lnTo>
                  <a:pt x="3907868" y="245361"/>
                </a:lnTo>
                <a:cubicBezTo>
                  <a:pt x="3869419" y="202929"/>
                  <a:pt x="3858394" y="176616"/>
                  <a:pt x="3858394" y="145343"/>
                </a:cubicBezTo>
                <a:cubicBezTo>
                  <a:pt x="3858394" y="86792"/>
                  <a:pt x="3895740" y="53453"/>
                  <a:pt x="3954309" y="53453"/>
                </a:cubicBezTo>
                <a:cubicBezTo>
                  <a:pt x="4012879" y="53453"/>
                  <a:pt x="4049260" y="87757"/>
                  <a:pt x="4049260" y="150440"/>
                </a:cubicBezTo>
                <a:cubicBezTo>
                  <a:pt x="4049260" y="208026"/>
                  <a:pt x="4021009" y="262582"/>
                  <a:pt x="3951278" y="293854"/>
                </a:cubicBezTo>
                <a:moveTo>
                  <a:pt x="3957341" y="0"/>
                </a:moveTo>
                <a:cubicBezTo>
                  <a:pt x="3817878" y="0"/>
                  <a:pt x="3749249" y="77838"/>
                  <a:pt x="3749249" y="174687"/>
                </a:cubicBezTo>
                <a:cubicBezTo>
                  <a:pt x="3749249" y="227176"/>
                  <a:pt x="3771436" y="279802"/>
                  <a:pt x="3830143" y="343312"/>
                </a:cubicBezTo>
                <a:lnTo>
                  <a:pt x="3831108" y="345379"/>
                </a:lnTo>
                <a:cubicBezTo>
                  <a:pt x="3732160" y="392908"/>
                  <a:pt x="3686683" y="469643"/>
                  <a:pt x="3686683" y="548445"/>
                </a:cubicBezTo>
                <a:cubicBezTo>
                  <a:pt x="3686683" y="652459"/>
                  <a:pt x="3766475" y="739389"/>
                  <a:pt x="3889815" y="739389"/>
                </a:cubicBezTo>
                <a:cubicBezTo>
                  <a:pt x="3960511" y="739389"/>
                  <a:pt x="4043334" y="710045"/>
                  <a:pt x="4118165" y="657556"/>
                </a:cubicBezTo>
                <a:lnTo>
                  <a:pt x="4178801" y="723270"/>
                </a:lnTo>
                <a:lnTo>
                  <a:pt x="4337420" y="723270"/>
                </a:lnTo>
                <a:lnTo>
                  <a:pt x="4337420" y="718173"/>
                </a:lnTo>
                <a:lnTo>
                  <a:pt x="4208155" y="575723"/>
                </a:lnTo>
                <a:cubicBezTo>
                  <a:pt x="4262728" y="511111"/>
                  <a:pt x="4294011" y="440437"/>
                  <a:pt x="4294011" y="378718"/>
                </a:cubicBezTo>
                <a:cubicBezTo>
                  <a:pt x="4294011" y="301982"/>
                  <a:pt x="4242469" y="250458"/>
                  <a:pt x="4161713" y="250458"/>
                </a:cubicBezTo>
                <a:cubicBezTo>
                  <a:pt x="4119268" y="250458"/>
                  <a:pt x="4071723" y="262582"/>
                  <a:pt x="4040440" y="274705"/>
                </a:cubicBezTo>
                <a:lnTo>
                  <a:pt x="4038373" y="270710"/>
                </a:lnTo>
                <a:cubicBezTo>
                  <a:pt x="4115133" y="229242"/>
                  <a:pt x="4147518" y="190943"/>
                  <a:pt x="4147518" y="137352"/>
                </a:cubicBezTo>
                <a:cubicBezTo>
                  <a:pt x="4147518" y="60617"/>
                  <a:pt x="4078752" y="0"/>
                  <a:pt x="3957617" y="0"/>
                </a:cubicBezTo>
              </a:path>
            </a:pathLst>
          </a:custGeom>
          <a:solidFill>
            <a:schemeClr val="bg1"/>
          </a:solidFill>
          <a:ln w="13780" cap="flat">
            <a:noFill/>
            <a:prstDash val="solid"/>
            <a:miter/>
          </a:ln>
        </p:spPr>
        <p:txBody>
          <a:bodyPr rtlCol="0" anchor="ctr"/>
          <a:lstStyle/>
          <a:p>
            <a:endParaRPr lang="en-GB" b="0" i="0">
              <a:solidFill>
                <a:schemeClr val="bg1"/>
              </a:solidFill>
              <a:latin typeface="Johnson Text" pitchFamily="2" charset="77"/>
            </a:endParaRPr>
          </a:p>
        </p:txBody>
      </p:sp>
      <p:sp>
        <p:nvSpPr>
          <p:cNvPr id="3" name="Footer Placeholder 4">
            <a:extLst>
              <a:ext uri="{FF2B5EF4-FFF2-40B4-BE49-F238E27FC236}">
                <a16:creationId xmlns:a16="http://schemas.microsoft.com/office/drawing/2014/main" id="{6EB02DC9-912A-DA49-E233-3B278A31BA3F}"/>
              </a:ext>
            </a:extLst>
          </p:cNvPr>
          <p:cNvSpPr txBox="1">
            <a:spLocks/>
          </p:cNvSpPr>
          <p:nvPr/>
        </p:nvSpPr>
        <p:spPr>
          <a:xfrm>
            <a:off x="9772073" y="6424023"/>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0" i="0" kern="1200">
                <a:solidFill>
                  <a:schemeClr val="bg1"/>
                </a:solidFill>
                <a:latin typeface="+mn-lt"/>
                <a:ea typeface="+mn-ea"/>
                <a:cs typeface="+mn-cs"/>
              </a:rPr>
              <a:t>HEALTH CARE COMPLIANCE</a:t>
            </a:r>
          </a:p>
        </p:txBody>
      </p:sp>
    </p:spTree>
    <p:extLst>
      <p:ext uri="{BB962C8B-B14F-4D97-AF65-F5344CB8AC3E}">
        <p14:creationId xmlns:p14="http://schemas.microsoft.com/office/powerpoint/2010/main" val="1431189398"/>
      </p:ext>
    </p:extLst>
  </p:cSld>
  <p:clrMapOvr>
    <a:masterClrMapping/>
  </p:clrMapOvr>
  <p:hf hdr="0" dt="0"/>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End Slide [Accessible Version]">
    <p:bg>
      <p:bgPr>
        <a:solidFill>
          <a:srgbClr val="F6F3F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F71E3-AC39-2207-0CC4-1E2486610795}"/>
              </a:ext>
            </a:extLst>
          </p:cNvPr>
          <p:cNvSpPr>
            <a:spLocks noGrp="1"/>
          </p:cNvSpPr>
          <p:nvPr>
            <p:ph type="ctrTitle"/>
          </p:nvPr>
        </p:nvSpPr>
        <p:spPr>
          <a:xfrm>
            <a:off x="291593" y="280800"/>
            <a:ext cx="5734050" cy="2620397"/>
          </a:xfrm>
        </p:spPr>
        <p:txBody>
          <a:bodyPr wrap="square" anchor="t">
            <a:spAutoFit/>
          </a:bodyPr>
          <a:lstStyle>
            <a:lvl1pPr algn="l">
              <a:lnSpc>
                <a:spcPct val="80000"/>
              </a:lnSpc>
              <a:defRPr sz="7000" b="0" i="0" spc="0" baseline="0">
                <a:solidFill>
                  <a:schemeClr val="tx2"/>
                </a:solidFill>
                <a:latin typeface="+mj-lt"/>
              </a:defRPr>
            </a:lvl1pPr>
          </a:lstStyle>
          <a:p>
            <a:r>
              <a:rPr lang="zh-CN" altLang="en-US"/>
              <a:t>单击此处编辑母版标题样式</a:t>
            </a:r>
            <a:endParaRPr lang="en-GB"/>
          </a:p>
        </p:txBody>
      </p:sp>
      <p:sp>
        <p:nvSpPr>
          <p:cNvPr id="4" name="Freeform 3">
            <a:extLst>
              <a:ext uri="{FF2B5EF4-FFF2-40B4-BE49-F238E27FC236}">
                <a16:creationId xmlns:a16="http://schemas.microsoft.com/office/drawing/2014/main" id="{341CCCF6-45D3-89EA-1171-FDB379444A5D}"/>
              </a:ext>
            </a:extLst>
          </p:cNvPr>
          <p:cNvSpPr/>
          <p:nvPr/>
        </p:nvSpPr>
        <p:spPr>
          <a:xfrm>
            <a:off x="291593" y="6373132"/>
            <a:ext cx="2032407" cy="189099"/>
          </a:xfrm>
          <a:custGeom>
            <a:avLst/>
            <a:gdLst>
              <a:gd name="connsiteX0" fmla="*/ 786066 w 7948307"/>
              <a:gd name="connsiteY0" fmla="*/ 677532 h 739526"/>
              <a:gd name="connsiteX1" fmla="*/ 664794 w 7948307"/>
              <a:gd name="connsiteY1" fmla="*/ 470470 h 739526"/>
              <a:gd name="connsiteX2" fmla="*/ 786066 w 7948307"/>
              <a:gd name="connsiteY2" fmla="*/ 263408 h 739526"/>
              <a:gd name="connsiteX3" fmla="*/ 907339 w 7948307"/>
              <a:gd name="connsiteY3" fmla="*/ 470470 h 739526"/>
              <a:gd name="connsiteX4" fmla="*/ 786066 w 7948307"/>
              <a:gd name="connsiteY4" fmla="*/ 677532 h 739526"/>
              <a:gd name="connsiteX5" fmla="*/ 786066 w 7948307"/>
              <a:gd name="connsiteY5" fmla="*/ 207889 h 739526"/>
              <a:gd name="connsiteX6" fmla="*/ 539525 w 7948307"/>
              <a:gd name="connsiteY6" fmla="*/ 470470 h 739526"/>
              <a:gd name="connsiteX7" fmla="*/ 786066 w 7948307"/>
              <a:gd name="connsiteY7" fmla="*/ 733052 h 739526"/>
              <a:gd name="connsiteX8" fmla="*/ 1032607 w 7948307"/>
              <a:gd name="connsiteY8" fmla="*/ 470470 h 739526"/>
              <a:gd name="connsiteX9" fmla="*/ 786066 w 7948307"/>
              <a:gd name="connsiteY9" fmla="*/ 207889 h 739526"/>
              <a:gd name="connsiteX10" fmla="*/ 1888405 w 7948307"/>
              <a:gd name="connsiteY10" fmla="*/ 207889 h 739526"/>
              <a:gd name="connsiteX11" fmla="*/ 1748942 w 7948307"/>
              <a:gd name="connsiteY11" fmla="*/ 281593 h 739526"/>
              <a:gd name="connsiteX12" fmla="*/ 1742878 w 7948307"/>
              <a:gd name="connsiteY12" fmla="*/ 281593 h 739526"/>
              <a:gd name="connsiteX13" fmla="*/ 1742878 w 7948307"/>
              <a:gd name="connsiteY13" fmla="*/ 217945 h 739526"/>
              <a:gd name="connsiteX14" fmla="*/ 1623673 w 7948307"/>
              <a:gd name="connsiteY14" fmla="*/ 217945 h 739526"/>
              <a:gd name="connsiteX15" fmla="*/ 1623673 w 7948307"/>
              <a:gd name="connsiteY15" fmla="*/ 722995 h 739526"/>
              <a:gd name="connsiteX16" fmla="*/ 1742878 w 7948307"/>
              <a:gd name="connsiteY16" fmla="*/ 722995 h 739526"/>
              <a:gd name="connsiteX17" fmla="*/ 1742878 w 7948307"/>
              <a:gd name="connsiteY17" fmla="*/ 396765 h 739526"/>
              <a:gd name="connsiteX18" fmla="*/ 1842928 w 7948307"/>
              <a:gd name="connsiteY18" fmla="*/ 278562 h 739526"/>
              <a:gd name="connsiteX19" fmla="*/ 1928783 w 7948307"/>
              <a:gd name="connsiteY19" fmla="*/ 377616 h 739526"/>
              <a:gd name="connsiteX20" fmla="*/ 1928783 w 7948307"/>
              <a:gd name="connsiteY20" fmla="*/ 722995 h 739526"/>
              <a:gd name="connsiteX21" fmla="*/ 2047989 w 7948307"/>
              <a:gd name="connsiteY21" fmla="*/ 722995 h 739526"/>
              <a:gd name="connsiteX22" fmla="*/ 2047989 w 7948307"/>
              <a:gd name="connsiteY22" fmla="*/ 376514 h 739526"/>
              <a:gd name="connsiteX23" fmla="*/ 1888405 w 7948307"/>
              <a:gd name="connsiteY23" fmla="*/ 207889 h 739526"/>
              <a:gd name="connsiteX24" fmla="*/ 2318785 w 7948307"/>
              <a:gd name="connsiteY24" fmla="*/ 207889 h 739526"/>
              <a:gd name="connsiteX25" fmla="*/ 2125851 w 7948307"/>
              <a:gd name="connsiteY25" fmla="*/ 353369 h 739526"/>
              <a:gd name="connsiteX26" fmla="*/ 2248089 w 7948307"/>
              <a:gd name="connsiteY26" fmla="*/ 498850 h 739526"/>
              <a:gd name="connsiteX27" fmla="*/ 2349103 w 7948307"/>
              <a:gd name="connsiteY27" fmla="*/ 524061 h 739526"/>
              <a:gd name="connsiteX28" fmla="*/ 2426965 w 7948307"/>
              <a:gd name="connsiteY28" fmla="*/ 598868 h 739526"/>
              <a:gd name="connsiteX29" fmla="*/ 2326916 w 7948307"/>
              <a:gd name="connsiteY29" fmla="*/ 679736 h 739526"/>
              <a:gd name="connsiteX30" fmla="*/ 2211707 w 7948307"/>
              <a:gd name="connsiteY30" fmla="*/ 562635 h 739526"/>
              <a:gd name="connsiteX31" fmla="*/ 2104629 w 7948307"/>
              <a:gd name="connsiteY31" fmla="*/ 592944 h 739526"/>
              <a:gd name="connsiteX32" fmla="*/ 2313824 w 7948307"/>
              <a:gd name="connsiteY32" fmla="*/ 733327 h 739526"/>
              <a:gd name="connsiteX33" fmla="*/ 2523983 w 7948307"/>
              <a:gd name="connsiteY33" fmla="*/ 568697 h 739526"/>
              <a:gd name="connsiteX34" fmla="*/ 2389619 w 7948307"/>
              <a:gd name="connsiteY34" fmla="*/ 417155 h 739526"/>
              <a:gd name="connsiteX35" fmla="*/ 2292601 w 7948307"/>
              <a:gd name="connsiteY35" fmla="*/ 392908 h 739526"/>
              <a:gd name="connsiteX36" fmla="*/ 2222869 w 7948307"/>
              <a:gd name="connsiteY36" fmla="*/ 326229 h 739526"/>
              <a:gd name="connsiteX37" fmla="*/ 2308725 w 7948307"/>
              <a:gd name="connsiteY37" fmla="*/ 261617 h 739526"/>
              <a:gd name="connsiteX38" fmla="*/ 2411806 w 7948307"/>
              <a:gd name="connsiteY38" fmla="*/ 358604 h 739526"/>
              <a:gd name="connsiteX39" fmla="*/ 2512821 w 7948307"/>
              <a:gd name="connsiteY39" fmla="*/ 328296 h 739526"/>
              <a:gd name="connsiteX40" fmla="*/ 2318785 w 7948307"/>
              <a:gd name="connsiteY40" fmla="*/ 208164 h 739526"/>
              <a:gd name="connsiteX41" fmla="*/ 2819861 w 7948307"/>
              <a:gd name="connsiteY41" fmla="*/ 677807 h 739526"/>
              <a:gd name="connsiteX42" fmla="*/ 2698588 w 7948307"/>
              <a:gd name="connsiteY42" fmla="*/ 470746 h 739526"/>
              <a:gd name="connsiteX43" fmla="*/ 2819861 w 7948307"/>
              <a:gd name="connsiteY43" fmla="*/ 263684 h 739526"/>
              <a:gd name="connsiteX44" fmla="*/ 2941133 w 7948307"/>
              <a:gd name="connsiteY44" fmla="*/ 470746 h 739526"/>
              <a:gd name="connsiteX45" fmla="*/ 2819861 w 7948307"/>
              <a:gd name="connsiteY45" fmla="*/ 677807 h 739526"/>
              <a:gd name="connsiteX46" fmla="*/ 2819861 w 7948307"/>
              <a:gd name="connsiteY46" fmla="*/ 208164 h 739526"/>
              <a:gd name="connsiteX47" fmla="*/ 2573319 w 7948307"/>
              <a:gd name="connsiteY47" fmla="*/ 470746 h 739526"/>
              <a:gd name="connsiteX48" fmla="*/ 2819861 w 7948307"/>
              <a:gd name="connsiteY48" fmla="*/ 733327 h 739526"/>
              <a:gd name="connsiteX49" fmla="*/ 3066402 w 7948307"/>
              <a:gd name="connsiteY49" fmla="*/ 470746 h 739526"/>
              <a:gd name="connsiteX50" fmla="*/ 2819861 w 7948307"/>
              <a:gd name="connsiteY50" fmla="*/ 208164 h 739526"/>
              <a:gd name="connsiteX51" fmla="*/ 3401831 w 7948307"/>
              <a:gd name="connsiteY51" fmla="*/ 208164 h 739526"/>
              <a:gd name="connsiteX52" fmla="*/ 3262367 w 7948307"/>
              <a:gd name="connsiteY52" fmla="*/ 281869 h 739526"/>
              <a:gd name="connsiteX53" fmla="*/ 3256304 w 7948307"/>
              <a:gd name="connsiteY53" fmla="*/ 281869 h 739526"/>
              <a:gd name="connsiteX54" fmla="*/ 3256304 w 7948307"/>
              <a:gd name="connsiteY54" fmla="*/ 218221 h 739526"/>
              <a:gd name="connsiteX55" fmla="*/ 3137098 w 7948307"/>
              <a:gd name="connsiteY55" fmla="*/ 218221 h 739526"/>
              <a:gd name="connsiteX56" fmla="*/ 3137098 w 7948307"/>
              <a:gd name="connsiteY56" fmla="*/ 723270 h 739526"/>
              <a:gd name="connsiteX57" fmla="*/ 3256304 w 7948307"/>
              <a:gd name="connsiteY57" fmla="*/ 723270 h 739526"/>
              <a:gd name="connsiteX58" fmla="*/ 3256304 w 7948307"/>
              <a:gd name="connsiteY58" fmla="*/ 397041 h 739526"/>
              <a:gd name="connsiteX59" fmla="*/ 3356353 w 7948307"/>
              <a:gd name="connsiteY59" fmla="*/ 278838 h 739526"/>
              <a:gd name="connsiteX60" fmla="*/ 3442209 w 7948307"/>
              <a:gd name="connsiteY60" fmla="*/ 377891 h 739526"/>
              <a:gd name="connsiteX61" fmla="*/ 3442209 w 7948307"/>
              <a:gd name="connsiteY61" fmla="*/ 723270 h 739526"/>
              <a:gd name="connsiteX62" fmla="*/ 3561414 w 7948307"/>
              <a:gd name="connsiteY62" fmla="*/ 723270 h 739526"/>
              <a:gd name="connsiteX63" fmla="*/ 3561414 w 7948307"/>
              <a:gd name="connsiteY63" fmla="*/ 376789 h 739526"/>
              <a:gd name="connsiteX64" fmla="*/ 3401831 w 7948307"/>
              <a:gd name="connsiteY64" fmla="*/ 208164 h 739526"/>
              <a:gd name="connsiteX65" fmla="*/ 5172960 w 7948307"/>
              <a:gd name="connsiteY65" fmla="*/ 677807 h 739526"/>
              <a:gd name="connsiteX66" fmla="*/ 5051688 w 7948307"/>
              <a:gd name="connsiteY66" fmla="*/ 470746 h 739526"/>
              <a:gd name="connsiteX67" fmla="*/ 5172960 w 7948307"/>
              <a:gd name="connsiteY67" fmla="*/ 263684 h 739526"/>
              <a:gd name="connsiteX68" fmla="*/ 5294232 w 7948307"/>
              <a:gd name="connsiteY68" fmla="*/ 470746 h 739526"/>
              <a:gd name="connsiteX69" fmla="*/ 5172960 w 7948307"/>
              <a:gd name="connsiteY69" fmla="*/ 677807 h 739526"/>
              <a:gd name="connsiteX70" fmla="*/ 5172960 w 7948307"/>
              <a:gd name="connsiteY70" fmla="*/ 208164 h 739526"/>
              <a:gd name="connsiteX71" fmla="*/ 4926418 w 7948307"/>
              <a:gd name="connsiteY71" fmla="*/ 470746 h 739526"/>
              <a:gd name="connsiteX72" fmla="*/ 5172960 w 7948307"/>
              <a:gd name="connsiteY72" fmla="*/ 733327 h 739526"/>
              <a:gd name="connsiteX73" fmla="*/ 5419502 w 7948307"/>
              <a:gd name="connsiteY73" fmla="*/ 470746 h 739526"/>
              <a:gd name="connsiteX74" fmla="*/ 5172960 w 7948307"/>
              <a:gd name="connsiteY74" fmla="*/ 208164 h 739526"/>
              <a:gd name="connsiteX75" fmla="*/ 6275299 w 7948307"/>
              <a:gd name="connsiteY75" fmla="*/ 208164 h 739526"/>
              <a:gd name="connsiteX76" fmla="*/ 6135836 w 7948307"/>
              <a:gd name="connsiteY76" fmla="*/ 281869 h 739526"/>
              <a:gd name="connsiteX77" fmla="*/ 6129772 w 7948307"/>
              <a:gd name="connsiteY77" fmla="*/ 281869 h 739526"/>
              <a:gd name="connsiteX78" fmla="*/ 6129772 w 7948307"/>
              <a:gd name="connsiteY78" fmla="*/ 218221 h 739526"/>
              <a:gd name="connsiteX79" fmla="*/ 6010567 w 7948307"/>
              <a:gd name="connsiteY79" fmla="*/ 218221 h 739526"/>
              <a:gd name="connsiteX80" fmla="*/ 6010567 w 7948307"/>
              <a:gd name="connsiteY80" fmla="*/ 723270 h 739526"/>
              <a:gd name="connsiteX81" fmla="*/ 6129772 w 7948307"/>
              <a:gd name="connsiteY81" fmla="*/ 723270 h 739526"/>
              <a:gd name="connsiteX82" fmla="*/ 6129772 w 7948307"/>
              <a:gd name="connsiteY82" fmla="*/ 397041 h 739526"/>
              <a:gd name="connsiteX83" fmla="*/ 6229822 w 7948307"/>
              <a:gd name="connsiteY83" fmla="*/ 278838 h 739526"/>
              <a:gd name="connsiteX84" fmla="*/ 6315677 w 7948307"/>
              <a:gd name="connsiteY84" fmla="*/ 377891 h 739526"/>
              <a:gd name="connsiteX85" fmla="*/ 6315677 w 7948307"/>
              <a:gd name="connsiteY85" fmla="*/ 723270 h 739526"/>
              <a:gd name="connsiteX86" fmla="*/ 6434883 w 7948307"/>
              <a:gd name="connsiteY86" fmla="*/ 723270 h 739526"/>
              <a:gd name="connsiteX87" fmla="*/ 6434883 w 7948307"/>
              <a:gd name="connsiteY87" fmla="*/ 376789 h 739526"/>
              <a:gd name="connsiteX88" fmla="*/ 6275299 w 7948307"/>
              <a:gd name="connsiteY88" fmla="*/ 208164 h 739526"/>
              <a:gd name="connsiteX89" fmla="*/ 6705679 w 7948307"/>
              <a:gd name="connsiteY89" fmla="*/ 208164 h 739526"/>
              <a:gd name="connsiteX90" fmla="*/ 6512746 w 7948307"/>
              <a:gd name="connsiteY90" fmla="*/ 353645 h 739526"/>
              <a:gd name="connsiteX91" fmla="*/ 6634983 w 7948307"/>
              <a:gd name="connsiteY91" fmla="*/ 499125 h 739526"/>
              <a:gd name="connsiteX92" fmla="*/ 6735996 w 7948307"/>
              <a:gd name="connsiteY92" fmla="*/ 524336 h 739526"/>
              <a:gd name="connsiteX93" fmla="*/ 6813859 w 7948307"/>
              <a:gd name="connsiteY93" fmla="*/ 599143 h 739526"/>
              <a:gd name="connsiteX94" fmla="*/ 6713809 w 7948307"/>
              <a:gd name="connsiteY94" fmla="*/ 680012 h 739526"/>
              <a:gd name="connsiteX95" fmla="*/ 6598601 w 7948307"/>
              <a:gd name="connsiteY95" fmla="*/ 562911 h 739526"/>
              <a:gd name="connsiteX96" fmla="*/ 6491522 w 7948307"/>
              <a:gd name="connsiteY96" fmla="*/ 593219 h 739526"/>
              <a:gd name="connsiteX97" fmla="*/ 6700717 w 7948307"/>
              <a:gd name="connsiteY97" fmla="*/ 733603 h 739526"/>
              <a:gd name="connsiteX98" fmla="*/ 6910877 w 7948307"/>
              <a:gd name="connsiteY98" fmla="*/ 568973 h 739526"/>
              <a:gd name="connsiteX99" fmla="*/ 6776513 w 7948307"/>
              <a:gd name="connsiteY99" fmla="*/ 417430 h 739526"/>
              <a:gd name="connsiteX100" fmla="*/ 6679495 w 7948307"/>
              <a:gd name="connsiteY100" fmla="*/ 393183 h 739526"/>
              <a:gd name="connsiteX101" fmla="*/ 6609763 w 7948307"/>
              <a:gd name="connsiteY101" fmla="*/ 326505 h 739526"/>
              <a:gd name="connsiteX102" fmla="*/ 6695618 w 7948307"/>
              <a:gd name="connsiteY102" fmla="*/ 261893 h 739526"/>
              <a:gd name="connsiteX103" fmla="*/ 6798701 w 7948307"/>
              <a:gd name="connsiteY103" fmla="*/ 358880 h 739526"/>
              <a:gd name="connsiteX104" fmla="*/ 6899714 w 7948307"/>
              <a:gd name="connsiteY104" fmla="*/ 328571 h 739526"/>
              <a:gd name="connsiteX105" fmla="*/ 6705679 w 7948307"/>
              <a:gd name="connsiteY105" fmla="*/ 208440 h 739526"/>
              <a:gd name="connsiteX106" fmla="*/ 7206755 w 7948307"/>
              <a:gd name="connsiteY106" fmla="*/ 678083 h 739526"/>
              <a:gd name="connsiteX107" fmla="*/ 7085482 w 7948307"/>
              <a:gd name="connsiteY107" fmla="*/ 471021 h 739526"/>
              <a:gd name="connsiteX108" fmla="*/ 7206755 w 7948307"/>
              <a:gd name="connsiteY108" fmla="*/ 263959 h 739526"/>
              <a:gd name="connsiteX109" fmla="*/ 7328027 w 7948307"/>
              <a:gd name="connsiteY109" fmla="*/ 471021 h 739526"/>
              <a:gd name="connsiteX110" fmla="*/ 7206755 w 7948307"/>
              <a:gd name="connsiteY110" fmla="*/ 678083 h 739526"/>
              <a:gd name="connsiteX111" fmla="*/ 7206755 w 7948307"/>
              <a:gd name="connsiteY111" fmla="*/ 208440 h 739526"/>
              <a:gd name="connsiteX112" fmla="*/ 6960213 w 7948307"/>
              <a:gd name="connsiteY112" fmla="*/ 471021 h 739526"/>
              <a:gd name="connsiteX113" fmla="*/ 7206755 w 7948307"/>
              <a:gd name="connsiteY113" fmla="*/ 733603 h 739526"/>
              <a:gd name="connsiteX114" fmla="*/ 7453296 w 7948307"/>
              <a:gd name="connsiteY114" fmla="*/ 471021 h 739526"/>
              <a:gd name="connsiteX115" fmla="*/ 7206755 w 7948307"/>
              <a:gd name="connsiteY115" fmla="*/ 208440 h 739526"/>
              <a:gd name="connsiteX116" fmla="*/ 7788724 w 7948307"/>
              <a:gd name="connsiteY116" fmla="*/ 208440 h 739526"/>
              <a:gd name="connsiteX117" fmla="*/ 7649261 w 7948307"/>
              <a:gd name="connsiteY117" fmla="*/ 282144 h 739526"/>
              <a:gd name="connsiteX118" fmla="*/ 7643197 w 7948307"/>
              <a:gd name="connsiteY118" fmla="*/ 282144 h 739526"/>
              <a:gd name="connsiteX119" fmla="*/ 7643197 w 7948307"/>
              <a:gd name="connsiteY119" fmla="*/ 218496 h 739526"/>
              <a:gd name="connsiteX120" fmla="*/ 7523992 w 7948307"/>
              <a:gd name="connsiteY120" fmla="*/ 218496 h 739526"/>
              <a:gd name="connsiteX121" fmla="*/ 7523992 w 7948307"/>
              <a:gd name="connsiteY121" fmla="*/ 723546 h 739526"/>
              <a:gd name="connsiteX122" fmla="*/ 7643197 w 7948307"/>
              <a:gd name="connsiteY122" fmla="*/ 723546 h 739526"/>
              <a:gd name="connsiteX123" fmla="*/ 7643197 w 7948307"/>
              <a:gd name="connsiteY123" fmla="*/ 397316 h 739526"/>
              <a:gd name="connsiteX124" fmla="*/ 7743247 w 7948307"/>
              <a:gd name="connsiteY124" fmla="*/ 279113 h 739526"/>
              <a:gd name="connsiteX125" fmla="*/ 7829102 w 7948307"/>
              <a:gd name="connsiteY125" fmla="*/ 378167 h 739526"/>
              <a:gd name="connsiteX126" fmla="*/ 7829102 w 7948307"/>
              <a:gd name="connsiteY126" fmla="*/ 723546 h 739526"/>
              <a:gd name="connsiteX127" fmla="*/ 7948308 w 7948307"/>
              <a:gd name="connsiteY127" fmla="*/ 723546 h 739526"/>
              <a:gd name="connsiteX128" fmla="*/ 7948308 w 7948307"/>
              <a:gd name="connsiteY128" fmla="*/ 377065 h 739526"/>
              <a:gd name="connsiteX129" fmla="*/ 7788724 w 7948307"/>
              <a:gd name="connsiteY129" fmla="*/ 208440 h 739526"/>
              <a:gd name="connsiteX130" fmla="*/ 468828 w 7948307"/>
              <a:gd name="connsiteY130" fmla="*/ 16532 h 739526"/>
              <a:gd name="connsiteX131" fmla="*/ 343559 w 7948307"/>
              <a:gd name="connsiteY131" fmla="*/ 16532 h 739526"/>
              <a:gd name="connsiteX132" fmla="*/ 343559 w 7948307"/>
              <a:gd name="connsiteY132" fmla="*/ 538664 h 739526"/>
              <a:gd name="connsiteX133" fmla="*/ 234414 w 7948307"/>
              <a:gd name="connsiteY133" fmla="*/ 673950 h 739526"/>
              <a:gd name="connsiteX134" fmla="*/ 125269 w 7948307"/>
              <a:gd name="connsiteY134" fmla="*/ 528469 h 739526"/>
              <a:gd name="connsiteX135" fmla="*/ 125269 w 7948307"/>
              <a:gd name="connsiteY135" fmla="*/ 431482 h 739526"/>
              <a:gd name="connsiteX136" fmla="*/ 0 w 7948307"/>
              <a:gd name="connsiteY136" fmla="*/ 462755 h 739526"/>
              <a:gd name="connsiteX137" fmla="*/ 0 w 7948307"/>
              <a:gd name="connsiteY137" fmla="*/ 506151 h 739526"/>
              <a:gd name="connsiteX138" fmla="*/ 234414 w 7948307"/>
              <a:gd name="connsiteY138" fmla="*/ 739527 h 739526"/>
              <a:gd name="connsiteX139" fmla="*/ 468828 w 7948307"/>
              <a:gd name="connsiteY139" fmla="*/ 506151 h 739526"/>
              <a:gd name="connsiteX140" fmla="*/ 468828 w 7948307"/>
              <a:gd name="connsiteY140" fmla="*/ 16256 h 739526"/>
              <a:gd name="connsiteX141" fmla="*/ 1222509 w 7948307"/>
              <a:gd name="connsiteY141" fmla="*/ 16256 h 739526"/>
              <a:gd name="connsiteX142" fmla="*/ 1103304 w 7948307"/>
              <a:gd name="connsiteY142" fmla="*/ 16256 h 739526"/>
              <a:gd name="connsiteX143" fmla="*/ 1103304 w 7948307"/>
              <a:gd name="connsiteY143" fmla="*/ 723270 h 739526"/>
              <a:gd name="connsiteX144" fmla="*/ 1222509 w 7948307"/>
              <a:gd name="connsiteY144" fmla="*/ 723270 h 739526"/>
              <a:gd name="connsiteX145" fmla="*/ 1222509 w 7948307"/>
              <a:gd name="connsiteY145" fmla="*/ 397041 h 739526"/>
              <a:gd name="connsiteX146" fmla="*/ 1322559 w 7948307"/>
              <a:gd name="connsiteY146" fmla="*/ 278838 h 739526"/>
              <a:gd name="connsiteX147" fmla="*/ 1408415 w 7948307"/>
              <a:gd name="connsiteY147" fmla="*/ 377891 h 739526"/>
              <a:gd name="connsiteX148" fmla="*/ 1408415 w 7948307"/>
              <a:gd name="connsiteY148" fmla="*/ 723270 h 739526"/>
              <a:gd name="connsiteX149" fmla="*/ 1527620 w 7948307"/>
              <a:gd name="connsiteY149" fmla="*/ 723270 h 739526"/>
              <a:gd name="connsiteX150" fmla="*/ 1527620 w 7948307"/>
              <a:gd name="connsiteY150" fmla="*/ 376789 h 739526"/>
              <a:gd name="connsiteX151" fmla="*/ 1368036 w 7948307"/>
              <a:gd name="connsiteY151" fmla="*/ 208164 h 739526"/>
              <a:gd name="connsiteX152" fmla="*/ 1228573 w 7948307"/>
              <a:gd name="connsiteY152" fmla="*/ 281869 h 739526"/>
              <a:gd name="connsiteX153" fmla="*/ 1222509 w 7948307"/>
              <a:gd name="connsiteY153" fmla="*/ 281869 h 739526"/>
              <a:gd name="connsiteX154" fmla="*/ 1222509 w 7948307"/>
              <a:gd name="connsiteY154" fmla="*/ 16256 h 739526"/>
              <a:gd name="connsiteX155" fmla="*/ 4855722 w 7948307"/>
              <a:gd name="connsiteY155" fmla="*/ 16256 h 739526"/>
              <a:gd name="connsiteX156" fmla="*/ 4730453 w 7948307"/>
              <a:gd name="connsiteY156" fmla="*/ 16256 h 739526"/>
              <a:gd name="connsiteX157" fmla="*/ 4730453 w 7948307"/>
              <a:gd name="connsiteY157" fmla="*/ 538389 h 739526"/>
              <a:gd name="connsiteX158" fmla="*/ 4621308 w 7948307"/>
              <a:gd name="connsiteY158" fmla="*/ 673675 h 739526"/>
              <a:gd name="connsiteX159" fmla="*/ 4512163 w 7948307"/>
              <a:gd name="connsiteY159" fmla="*/ 528194 h 739526"/>
              <a:gd name="connsiteX160" fmla="*/ 4512163 w 7948307"/>
              <a:gd name="connsiteY160" fmla="*/ 431207 h 739526"/>
              <a:gd name="connsiteX161" fmla="*/ 4386894 w 7948307"/>
              <a:gd name="connsiteY161" fmla="*/ 462480 h 739526"/>
              <a:gd name="connsiteX162" fmla="*/ 4386894 w 7948307"/>
              <a:gd name="connsiteY162" fmla="*/ 505876 h 739526"/>
              <a:gd name="connsiteX163" fmla="*/ 4621308 w 7948307"/>
              <a:gd name="connsiteY163" fmla="*/ 739251 h 739526"/>
              <a:gd name="connsiteX164" fmla="*/ 4855722 w 7948307"/>
              <a:gd name="connsiteY164" fmla="*/ 505876 h 739526"/>
              <a:gd name="connsiteX165" fmla="*/ 4855722 w 7948307"/>
              <a:gd name="connsiteY165" fmla="*/ 15981 h 739526"/>
              <a:gd name="connsiteX166" fmla="*/ 5609403 w 7948307"/>
              <a:gd name="connsiteY166" fmla="*/ 15981 h 739526"/>
              <a:gd name="connsiteX167" fmla="*/ 5490198 w 7948307"/>
              <a:gd name="connsiteY167" fmla="*/ 15981 h 739526"/>
              <a:gd name="connsiteX168" fmla="*/ 5490198 w 7948307"/>
              <a:gd name="connsiteY168" fmla="*/ 722995 h 739526"/>
              <a:gd name="connsiteX169" fmla="*/ 5609403 w 7948307"/>
              <a:gd name="connsiteY169" fmla="*/ 722995 h 739526"/>
              <a:gd name="connsiteX170" fmla="*/ 5609403 w 7948307"/>
              <a:gd name="connsiteY170" fmla="*/ 396765 h 739526"/>
              <a:gd name="connsiteX171" fmla="*/ 5709453 w 7948307"/>
              <a:gd name="connsiteY171" fmla="*/ 278562 h 739526"/>
              <a:gd name="connsiteX172" fmla="*/ 5795308 w 7948307"/>
              <a:gd name="connsiteY172" fmla="*/ 377616 h 739526"/>
              <a:gd name="connsiteX173" fmla="*/ 5795308 w 7948307"/>
              <a:gd name="connsiteY173" fmla="*/ 722995 h 739526"/>
              <a:gd name="connsiteX174" fmla="*/ 5914514 w 7948307"/>
              <a:gd name="connsiteY174" fmla="*/ 722995 h 739526"/>
              <a:gd name="connsiteX175" fmla="*/ 5914514 w 7948307"/>
              <a:gd name="connsiteY175" fmla="*/ 376514 h 739526"/>
              <a:gd name="connsiteX176" fmla="*/ 5754930 w 7948307"/>
              <a:gd name="connsiteY176" fmla="*/ 207889 h 739526"/>
              <a:gd name="connsiteX177" fmla="*/ 5615466 w 7948307"/>
              <a:gd name="connsiteY177" fmla="*/ 281593 h 739526"/>
              <a:gd name="connsiteX178" fmla="*/ 5609403 w 7948307"/>
              <a:gd name="connsiteY178" fmla="*/ 281593 h 739526"/>
              <a:gd name="connsiteX179" fmla="*/ 5609403 w 7948307"/>
              <a:gd name="connsiteY179" fmla="*/ 15981 h 739526"/>
              <a:gd name="connsiteX180" fmla="*/ 3954447 w 7948307"/>
              <a:gd name="connsiteY180" fmla="*/ 665409 h 739526"/>
              <a:gd name="connsiteX181" fmla="*/ 3797895 w 7948307"/>
              <a:gd name="connsiteY181" fmla="*/ 502845 h 739526"/>
              <a:gd name="connsiteX182" fmla="*/ 3859496 w 7948307"/>
              <a:gd name="connsiteY182" fmla="*/ 374585 h 739526"/>
              <a:gd name="connsiteX183" fmla="*/ 4087847 w 7948307"/>
              <a:gd name="connsiteY183" fmla="*/ 624079 h 739526"/>
              <a:gd name="connsiteX184" fmla="*/ 3954447 w 7948307"/>
              <a:gd name="connsiteY184" fmla="*/ 665546 h 739526"/>
              <a:gd name="connsiteX185" fmla="*/ 4176734 w 7948307"/>
              <a:gd name="connsiteY185" fmla="*/ 541282 h 739526"/>
              <a:gd name="connsiteX186" fmla="*/ 3978702 w 7948307"/>
              <a:gd name="connsiteY186" fmla="*/ 323061 h 739526"/>
              <a:gd name="connsiteX187" fmla="*/ 4076684 w 7948307"/>
              <a:gd name="connsiteY187" fmla="*/ 303911 h 739526"/>
              <a:gd name="connsiteX188" fmla="*/ 4208981 w 7948307"/>
              <a:gd name="connsiteY188" fmla="*/ 433273 h 739526"/>
              <a:gd name="connsiteX189" fmla="*/ 4176596 w 7948307"/>
              <a:gd name="connsiteY189" fmla="*/ 541282 h 739526"/>
              <a:gd name="connsiteX190" fmla="*/ 3951278 w 7948307"/>
              <a:gd name="connsiteY190" fmla="*/ 293854 h 739526"/>
              <a:gd name="connsiteX191" fmla="*/ 3907868 w 7948307"/>
              <a:gd name="connsiteY191" fmla="*/ 245361 h 739526"/>
              <a:gd name="connsiteX192" fmla="*/ 3858394 w 7948307"/>
              <a:gd name="connsiteY192" fmla="*/ 145343 h 739526"/>
              <a:gd name="connsiteX193" fmla="*/ 3954309 w 7948307"/>
              <a:gd name="connsiteY193" fmla="*/ 53453 h 739526"/>
              <a:gd name="connsiteX194" fmla="*/ 4049260 w 7948307"/>
              <a:gd name="connsiteY194" fmla="*/ 150440 h 739526"/>
              <a:gd name="connsiteX195" fmla="*/ 3951278 w 7948307"/>
              <a:gd name="connsiteY195" fmla="*/ 293854 h 739526"/>
              <a:gd name="connsiteX196" fmla="*/ 3957341 w 7948307"/>
              <a:gd name="connsiteY196" fmla="*/ 0 h 739526"/>
              <a:gd name="connsiteX197" fmla="*/ 3749249 w 7948307"/>
              <a:gd name="connsiteY197" fmla="*/ 174687 h 739526"/>
              <a:gd name="connsiteX198" fmla="*/ 3830143 w 7948307"/>
              <a:gd name="connsiteY198" fmla="*/ 343312 h 739526"/>
              <a:gd name="connsiteX199" fmla="*/ 3831108 w 7948307"/>
              <a:gd name="connsiteY199" fmla="*/ 345379 h 739526"/>
              <a:gd name="connsiteX200" fmla="*/ 3686683 w 7948307"/>
              <a:gd name="connsiteY200" fmla="*/ 548445 h 739526"/>
              <a:gd name="connsiteX201" fmla="*/ 3889815 w 7948307"/>
              <a:gd name="connsiteY201" fmla="*/ 739389 h 739526"/>
              <a:gd name="connsiteX202" fmla="*/ 4118165 w 7948307"/>
              <a:gd name="connsiteY202" fmla="*/ 657556 h 739526"/>
              <a:gd name="connsiteX203" fmla="*/ 4178801 w 7948307"/>
              <a:gd name="connsiteY203" fmla="*/ 723270 h 739526"/>
              <a:gd name="connsiteX204" fmla="*/ 4337420 w 7948307"/>
              <a:gd name="connsiteY204" fmla="*/ 723270 h 739526"/>
              <a:gd name="connsiteX205" fmla="*/ 4337420 w 7948307"/>
              <a:gd name="connsiteY205" fmla="*/ 718173 h 739526"/>
              <a:gd name="connsiteX206" fmla="*/ 4208155 w 7948307"/>
              <a:gd name="connsiteY206" fmla="*/ 575723 h 739526"/>
              <a:gd name="connsiteX207" fmla="*/ 4294011 w 7948307"/>
              <a:gd name="connsiteY207" fmla="*/ 378718 h 739526"/>
              <a:gd name="connsiteX208" fmla="*/ 4161713 w 7948307"/>
              <a:gd name="connsiteY208" fmla="*/ 250458 h 739526"/>
              <a:gd name="connsiteX209" fmla="*/ 4040440 w 7948307"/>
              <a:gd name="connsiteY209" fmla="*/ 274705 h 739526"/>
              <a:gd name="connsiteX210" fmla="*/ 4038373 w 7948307"/>
              <a:gd name="connsiteY210" fmla="*/ 270710 h 739526"/>
              <a:gd name="connsiteX211" fmla="*/ 4147518 w 7948307"/>
              <a:gd name="connsiteY211" fmla="*/ 137352 h 739526"/>
              <a:gd name="connsiteX212" fmla="*/ 3957617 w 7948307"/>
              <a:gd name="connsiteY212" fmla="*/ 0 h 73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7948307" h="739526">
                <a:moveTo>
                  <a:pt x="786066" y="677532"/>
                </a:moveTo>
                <a:cubicBezTo>
                  <a:pt x="708204" y="677532"/>
                  <a:pt x="664794" y="603827"/>
                  <a:pt x="664794" y="470470"/>
                </a:cubicBezTo>
                <a:cubicBezTo>
                  <a:pt x="664794" y="337113"/>
                  <a:pt x="708204" y="263408"/>
                  <a:pt x="786066" y="263408"/>
                </a:cubicBezTo>
                <a:cubicBezTo>
                  <a:pt x="863929" y="263408"/>
                  <a:pt x="907339" y="336148"/>
                  <a:pt x="907339" y="470470"/>
                </a:cubicBezTo>
                <a:cubicBezTo>
                  <a:pt x="907339" y="604792"/>
                  <a:pt x="863929" y="677532"/>
                  <a:pt x="786066" y="677532"/>
                </a:cubicBezTo>
                <a:moveTo>
                  <a:pt x="786066" y="207889"/>
                </a:moveTo>
                <a:cubicBezTo>
                  <a:pt x="627447" y="207889"/>
                  <a:pt x="539525" y="326091"/>
                  <a:pt x="539525" y="470470"/>
                </a:cubicBezTo>
                <a:cubicBezTo>
                  <a:pt x="539525" y="614849"/>
                  <a:pt x="627447" y="733052"/>
                  <a:pt x="786066" y="733052"/>
                </a:cubicBezTo>
                <a:cubicBezTo>
                  <a:pt x="944685" y="733052"/>
                  <a:pt x="1032607" y="614849"/>
                  <a:pt x="1032607" y="470470"/>
                </a:cubicBezTo>
                <a:cubicBezTo>
                  <a:pt x="1032607" y="326091"/>
                  <a:pt x="944685" y="207889"/>
                  <a:pt x="786066" y="207889"/>
                </a:cubicBezTo>
                <a:moveTo>
                  <a:pt x="1888405" y="207889"/>
                </a:moveTo>
                <a:cubicBezTo>
                  <a:pt x="1813575" y="207889"/>
                  <a:pt x="1772232" y="240263"/>
                  <a:pt x="1748942" y="281593"/>
                </a:cubicBezTo>
                <a:lnTo>
                  <a:pt x="1742878" y="281593"/>
                </a:lnTo>
                <a:lnTo>
                  <a:pt x="1742878" y="217945"/>
                </a:lnTo>
                <a:lnTo>
                  <a:pt x="1623673" y="217945"/>
                </a:lnTo>
                <a:lnTo>
                  <a:pt x="1623673" y="722995"/>
                </a:lnTo>
                <a:lnTo>
                  <a:pt x="1742878" y="722995"/>
                </a:lnTo>
                <a:lnTo>
                  <a:pt x="1742878" y="396765"/>
                </a:lnTo>
                <a:cubicBezTo>
                  <a:pt x="1742878" y="322096"/>
                  <a:pt x="1781327" y="278562"/>
                  <a:pt x="1842928" y="278562"/>
                </a:cubicBezTo>
                <a:cubicBezTo>
                  <a:pt x="1904529" y="278562"/>
                  <a:pt x="1928783" y="317963"/>
                  <a:pt x="1928783" y="377616"/>
                </a:cubicBezTo>
                <a:lnTo>
                  <a:pt x="1928783" y="722995"/>
                </a:lnTo>
                <a:lnTo>
                  <a:pt x="2047989" y="722995"/>
                </a:lnTo>
                <a:lnTo>
                  <a:pt x="2047989" y="376514"/>
                </a:lnTo>
                <a:cubicBezTo>
                  <a:pt x="2047989" y="272501"/>
                  <a:pt x="1993416" y="207889"/>
                  <a:pt x="1888405" y="207889"/>
                </a:cubicBezTo>
                <a:moveTo>
                  <a:pt x="2318785" y="207889"/>
                </a:moveTo>
                <a:cubicBezTo>
                  <a:pt x="2208675" y="207889"/>
                  <a:pt x="2125851" y="254316"/>
                  <a:pt x="2125851" y="353369"/>
                </a:cubicBezTo>
                <a:cubicBezTo>
                  <a:pt x="2125851" y="437269"/>
                  <a:pt x="2183456" y="482731"/>
                  <a:pt x="2248089" y="498850"/>
                </a:cubicBezTo>
                <a:lnTo>
                  <a:pt x="2349103" y="524061"/>
                </a:lnTo>
                <a:cubicBezTo>
                  <a:pt x="2402711" y="537149"/>
                  <a:pt x="2426965" y="556436"/>
                  <a:pt x="2426965" y="598868"/>
                </a:cubicBezTo>
                <a:cubicBezTo>
                  <a:pt x="2426965" y="650392"/>
                  <a:pt x="2390584" y="679736"/>
                  <a:pt x="2326916" y="679736"/>
                </a:cubicBezTo>
                <a:cubicBezTo>
                  <a:pt x="2258148" y="679736"/>
                  <a:pt x="2222869" y="646397"/>
                  <a:pt x="2211707" y="562635"/>
                </a:cubicBezTo>
                <a:lnTo>
                  <a:pt x="2104629" y="592944"/>
                </a:lnTo>
                <a:cubicBezTo>
                  <a:pt x="2110692" y="679874"/>
                  <a:pt x="2191587" y="733327"/>
                  <a:pt x="2313824" y="733327"/>
                </a:cubicBezTo>
                <a:cubicBezTo>
                  <a:pt x="2450255" y="733327"/>
                  <a:pt x="2523983" y="669679"/>
                  <a:pt x="2523983" y="568697"/>
                </a:cubicBezTo>
                <a:cubicBezTo>
                  <a:pt x="2523983" y="473776"/>
                  <a:pt x="2458248" y="434375"/>
                  <a:pt x="2389619" y="417155"/>
                </a:cubicBezTo>
                <a:lnTo>
                  <a:pt x="2292601" y="392908"/>
                </a:lnTo>
                <a:cubicBezTo>
                  <a:pt x="2244092" y="380784"/>
                  <a:pt x="2222869" y="358604"/>
                  <a:pt x="2222869" y="326229"/>
                </a:cubicBezTo>
                <a:cubicBezTo>
                  <a:pt x="2222869" y="285864"/>
                  <a:pt x="2257184" y="261617"/>
                  <a:pt x="2308725" y="261617"/>
                </a:cubicBezTo>
                <a:cubicBezTo>
                  <a:pt x="2369361" y="261617"/>
                  <a:pt x="2406707" y="294957"/>
                  <a:pt x="2411806" y="358604"/>
                </a:cubicBezTo>
                <a:lnTo>
                  <a:pt x="2512821" y="328296"/>
                </a:lnTo>
                <a:cubicBezTo>
                  <a:pt x="2500693" y="257622"/>
                  <a:pt x="2430962" y="208164"/>
                  <a:pt x="2318785" y="208164"/>
                </a:cubicBezTo>
                <a:moveTo>
                  <a:pt x="2819861" y="677807"/>
                </a:moveTo>
                <a:cubicBezTo>
                  <a:pt x="2741998" y="677807"/>
                  <a:pt x="2698588" y="604103"/>
                  <a:pt x="2698588" y="470746"/>
                </a:cubicBezTo>
                <a:cubicBezTo>
                  <a:pt x="2698588" y="337388"/>
                  <a:pt x="2741998" y="263684"/>
                  <a:pt x="2819861" y="263684"/>
                </a:cubicBezTo>
                <a:cubicBezTo>
                  <a:pt x="2897723" y="263684"/>
                  <a:pt x="2941133" y="336424"/>
                  <a:pt x="2941133" y="470746"/>
                </a:cubicBezTo>
                <a:cubicBezTo>
                  <a:pt x="2941133" y="605067"/>
                  <a:pt x="2897723" y="677807"/>
                  <a:pt x="2819861" y="677807"/>
                </a:cubicBezTo>
                <a:moveTo>
                  <a:pt x="2819861" y="208164"/>
                </a:moveTo>
                <a:cubicBezTo>
                  <a:pt x="2661242" y="208164"/>
                  <a:pt x="2573319" y="326367"/>
                  <a:pt x="2573319" y="470746"/>
                </a:cubicBezTo>
                <a:cubicBezTo>
                  <a:pt x="2573319" y="615124"/>
                  <a:pt x="2661242" y="733327"/>
                  <a:pt x="2819861" y="733327"/>
                </a:cubicBezTo>
                <a:cubicBezTo>
                  <a:pt x="2978480" y="733327"/>
                  <a:pt x="3066402" y="615124"/>
                  <a:pt x="3066402" y="470746"/>
                </a:cubicBezTo>
                <a:cubicBezTo>
                  <a:pt x="3066402" y="326367"/>
                  <a:pt x="2978480" y="208164"/>
                  <a:pt x="2819861" y="208164"/>
                </a:cubicBezTo>
                <a:moveTo>
                  <a:pt x="3401831" y="208164"/>
                </a:moveTo>
                <a:cubicBezTo>
                  <a:pt x="3327000" y="208164"/>
                  <a:pt x="3285657" y="240539"/>
                  <a:pt x="3262367" y="281869"/>
                </a:cubicBezTo>
                <a:lnTo>
                  <a:pt x="3256304" y="281869"/>
                </a:lnTo>
                <a:lnTo>
                  <a:pt x="3256304" y="218221"/>
                </a:lnTo>
                <a:lnTo>
                  <a:pt x="3137098" y="218221"/>
                </a:lnTo>
                <a:lnTo>
                  <a:pt x="3137098" y="723270"/>
                </a:lnTo>
                <a:lnTo>
                  <a:pt x="3256304" y="723270"/>
                </a:lnTo>
                <a:lnTo>
                  <a:pt x="3256304" y="397041"/>
                </a:lnTo>
                <a:cubicBezTo>
                  <a:pt x="3256304" y="322372"/>
                  <a:pt x="3294752" y="278838"/>
                  <a:pt x="3356353" y="278838"/>
                </a:cubicBezTo>
                <a:cubicBezTo>
                  <a:pt x="3417954" y="278838"/>
                  <a:pt x="3442209" y="318239"/>
                  <a:pt x="3442209" y="377891"/>
                </a:cubicBezTo>
                <a:lnTo>
                  <a:pt x="3442209" y="723270"/>
                </a:lnTo>
                <a:lnTo>
                  <a:pt x="3561414" y="723270"/>
                </a:lnTo>
                <a:lnTo>
                  <a:pt x="3561414" y="376789"/>
                </a:lnTo>
                <a:cubicBezTo>
                  <a:pt x="3561414" y="272776"/>
                  <a:pt x="3506842" y="208164"/>
                  <a:pt x="3401831" y="208164"/>
                </a:cubicBezTo>
                <a:moveTo>
                  <a:pt x="5172960" y="677807"/>
                </a:moveTo>
                <a:cubicBezTo>
                  <a:pt x="5095097" y="677807"/>
                  <a:pt x="5051688" y="604103"/>
                  <a:pt x="5051688" y="470746"/>
                </a:cubicBezTo>
                <a:cubicBezTo>
                  <a:pt x="5051688" y="337388"/>
                  <a:pt x="5095097" y="263684"/>
                  <a:pt x="5172960" y="263684"/>
                </a:cubicBezTo>
                <a:cubicBezTo>
                  <a:pt x="5250823" y="263684"/>
                  <a:pt x="5294232" y="336424"/>
                  <a:pt x="5294232" y="470746"/>
                </a:cubicBezTo>
                <a:cubicBezTo>
                  <a:pt x="5294232" y="605067"/>
                  <a:pt x="5250823" y="677807"/>
                  <a:pt x="5172960" y="677807"/>
                </a:cubicBezTo>
                <a:moveTo>
                  <a:pt x="5172960" y="208164"/>
                </a:moveTo>
                <a:cubicBezTo>
                  <a:pt x="5014341" y="208164"/>
                  <a:pt x="4926418" y="326367"/>
                  <a:pt x="4926418" y="470746"/>
                </a:cubicBezTo>
                <a:cubicBezTo>
                  <a:pt x="4926418" y="615124"/>
                  <a:pt x="5014341" y="733327"/>
                  <a:pt x="5172960" y="733327"/>
                </a:cubicBezTo>
                <a:cubicBezTo>
                  <a:pt x="5331579" y="733327"/>
                  <a:pt x="5419502" y="615124"/>
                  <a:pt x="5419502" y="470746"/>
                </a:cubicBezTo>
                <a:cubicBezTo>
                  <a:pt x="5419502" y="326367"/>
                  <a:pt x="5331579" y="208164"/>
                  <a:pt x="5172960" y="208164"/>
                </a:cubicBezTo>
                <a:moveTo>
                  <a:pt x="6275299" y="208164"/>
                </a:moveTo>
                <a:cubicBezTo>
                  <a:pt x="6200468" y="208164"/>
                  <a:pt x="6159126" y="240539"/>
                  <a:pt x="6135836" y="281869"/>
                </a:cubicBezTo>
                <a:lnTo>
                  <a:pt x="6129772" y="281869"/>
                </a:lnTo>
                <a:lnTo>
                  <a:pt x="6129772" y="218221"/>
                </a:lnTo>
                <a:lnTo>
                  <a:pt x="6010567" y="218221"/>
                </a:lnTo>
                <a:lnTo>
                  <a:pt x="6010567" y="723270"/>
                </a:lnTo>
                <a:lnTo>
                  <a:pt x="6129772" y="723270"/>
                </a:lnTo>
                <a:lnTo>
                  <a:pt x="6129772" y="397041"/>
                </a:lnTo>
                <a:cubicBezTo>
                  <a:pt x="6129772" y="322372"/>
                  <a:pt x="6168222" y="278838"/>
                  <a:pt x="6229822" y="278838"/>
                </a:cubicBezTo>
                <a:cubicBezTo>
                  <a:pt x="6291422" y="278838"/>
                  <a:pt x="6315677" y="318239"/>
                  <a:pt x="6315677" y="377891"/>
                </a:cubicBezTo>
                <a:lnTo>
                  <a:pt x="6315677" y="723270"/>
                </a:lnTo>
                <a:lnTo>
                  <a:pt x="6434883" y="723270"/>
                </a:lnTo>
                <a:lnTo>
                  <a:pt x="6434883" y="376789"/>
                </a:lnTo>
                <a:cubicBezTo>
                  <a:pt x="6434883" y="272776"/>
                  <a:pt x="6380310" y="208164"/>
                  <a:pt x="6275299" y="208164"/>
                </a:cubicBezTo>
                <a:moveTo>
                  <a:pt x="6705679" y="208164"/>
                </a:moveTo>
                <a:cubicBezTo>
                  <a:pt x="6595568" y="208164"/>
                  <a:pt x="6512746" y="254591"/>
                  <a:pt x="6512746" y="353645"/>
                </a:cubicBezTo>
                <a:cubicBezTo>
                  <a:pt x="6512746" y="437544"/>
                  <a:pt x="6570350" y="483007"/>
                  <a:pt x="6634983" y="499125"/>
                </a:cubicBezTo>
                <a:lnTo>
                  <a:pt x="6735996" y="524336"/>
                </a:lnTo>
                <a:cubicBezTo>
                  <a:pt x="6789605" y="537424"/>
                  <a:pt x="6813859" y="556711"/>
                  <a:pt x="6813859" y="599143"/>
                </a:cubicBezTo>
                <a:cubicBezTo>
                  <a:pt x="6813859" y="650668"/>
                  <a:pt x="6777477" y="680012"/>
                  <a:pt x="6713809" y="680012"/>
                </a:cubicBezTo>
                <a:cubicBezTo>
                  <a:pt x="6645042" y="680012"/>
                  <a:pt x="6609763" y="646672"/>
                  <a:pt x="6598601" y="562911"/>
                </a:cubicBezTo>
                <a:lnTo>
                  <a:pt x="6491522" y="593219"/>
                </a:lnTo>
                <a:cubicBezTo>
                  <a:pt x="6497586" y="680149"/>
                  <a:pt x="6578480" y="733603"/>
                  <a:pt x="6700717" y="733603"/>
                </a:cubicBezTo>
                <a:cubicBezTo>
                  <a:pt x="6837149" y="733603"/>
                  <a:pt x="6910877" y="669955"/>
                  <a:pt x="6910877" y="568973"/>
                </a:cubicBezTo>
                <a:cubicBezTo>
                  <a:pt x="6910877" y="474052"/>
                  <a:pt x="6845142" y="434651"/>
                  <a:pt x="6776513" y="417430"/>
                </a:cubicBezTo>
                <a:lnTo>
                  <a:pt x="6679495" y="393183"/>
                </a:lnTo>
                <a:cubicBezTo>
                  <a:pt x="6630986" y="381060"/>
                  <a:pt x="6609763" y="358880"/>
                  <a:pt x="6609763" y="326505"/>
                </a:cubicBezTo>
                <a:cubicBezTo>
                  <a:pt x="6609763" y="286140"/>
                  <a:pt x="6644078" y="261893"/>
                  <a:pt x="6695618" y="261893"/>
                </a:cubicBezTo>
                <a:cubicBezTo>
                  <a:pt x="6756255" y="261893"/>
                  <a:pt x="6793601" y="295232"/>
                  <a:pt x="6798701" y="358880"/>
                </a:cubicBezTo>
                <a:lnTo>
                  <a:pt x="6899714" y="328571"/>
                </a:lnTo>
                <a:cubicBezTo>
                  <a:pt x="6887587" y="257897"/>
                  <a:pt x="6817855" y="208440"/>
                  <a:pt x="6705679" y="208440"/>
                </a:cubicBezTo>
                <a:moveTo>
                  <a:pt x="7206755" y="678083"/>
                </a:moveTo>
                <a:cubicBezTo>
                  <a:pt x="7128892" y="678083"/>
                  <a:pt x="7085482" y="604378"/>
                  <a:pt x="7085482" y="471021"/>
                </a:cubicBezTo>
                <a:cubicBezTo>
                  <a:pt x="7085482" y="337664"/>
                  <a:pt x="7128892" y="263959"/>
                  <a:pt x="7206755" y="263959"/>
                </a:cubicBezTo>
                <a:cubicBezTo>
                  <a:pt x="7284617" y="263959"/>
                  <a:pt x="7328027" y="336700"/>
                  <a:pt x="7328027" y="471021"/>
                </a:cubicBezTo>
                <a:cubicBezTo>
                  <a:pt x="7328027" y="605343"/>
                  <a:pt x="7284617" y="678083"/>
                  <a:pt x="7206755" y="678083"/>
                </a:cubicBezTo>
                <a:moveTo>
                  <a:pt x="7206755" y="208440"/>
                </a:moveTo>
                <a:cubicBezTo>
                  <a:pt x="7048136" y="208440"/>
                  <a:pt x="6960213" y="326643"/>
                  <a:pt x="6960213" y="471021"/>
                </a:cubicBezTo>
                <a:cubicBezTo>
                  <a:pt x="6960213" y="615400"/>
                  <a:pt x="7048136" y="733603"/>
                  <a:pt x="7206755" y="733603"/>
                </a:cubicBezTo>
                <a:cubicBezTo>
                  <a:pt x="7365374" y="733603"/>
                  <a:pt x="7453296" y="615400"/>
                  <a:pt x="7453296" y="471021"/>
                </a:cubicBezTo>
                <a:cubicBezTo>
                  <a:pt x="7453296" y="326643"/>
                  <a:pt x="7365374" y="208440"/>
                  <a:pt x="7206755" y="208440"/>
                </a:cubicBezTo>
                <a:moveTo>
                  <a:pt x="7788724" y="208440"/>
                </a:moveTo>
                <a:cubicBezTo>
                  <a:pt x="7713894" y="208440"/>
                  <a:pt x="7672551" y="240815"/>
                  <a:pt x="7649261" y="282144"/>
                </a:cubicBezTo>
                <a:lnTo>
                  <a:pt x="7643197" y="282144"/>
                </a:lnTo>
                <a:lnTo>
                  <a:pt x="7643197" y="218496"/>
                </a:lnTo>
                <a:lnTo>
                  <a:pt x="7523992" y="218496"/>
                </a:lnTo>
                <a:lnTo>
                  <a:pt x="7523992" y="723546"/>
                </a:lnTo>
                <a:lnTo>
                  <a:pt x="7643197" y="723546"/>
                </a:lnTo>
                <a:lnTo>
                  <a:pt x="7643197" y="397316"/>
                </a:lnTo>
                <a:cubicBezTo>
                  <a:pt x="7643197" y="322647"/>
                  <a:pt x="7681646" y="279113"/>
                  <a:pt x="7743247" y="279113"/>
                </a:cubicBezTo>
                <a:cubicBezTo>
                  <a:pt x="7804848" y="279113"/>
                  <a:pt x="7829102" y="318514"/>
                  <a:pt x="7829102" y="378167"/>
                </a:cubicBezTo>
                <a:lnTo>
                  <a:pt x="7829102" y="723546"/>
                </a:lnTo>
                <a:lnTo>
                  <a:pt x="7948308" y="723546"/>
                </a:lnTo>
                <a:lnTo>
                  <a:pt x="7948308" y="377065"/>
                </a:lnTo>
                <a:cubicBezTo>
                  <a:pt x="7948308" y="273052"/>
                  <a:pt x="7893735" y="208440"/>
                  <a:pt x="7788724" y="208440"/>
                </a:cubicBezTo>
                <a:moveTo>
                  <a:pt x="468828" y="16532"/>
                </a:moveTo>
                <a:lnTo>
                  <a:pt x="343559" y="16532"/>
                </a:lnTo>
                <a:lnTo>
                  <a:pt x="343559" y="538664"/>
                </a:lnTo>
                <a:cubicBezTo>
                  <a:pt x="343559" y="623528"/>
                  <a:pt x="311174" y="673950"/>
                  <a:pt x="234414" y="673950"/>
                </a:cubicBezTo>
                <a:cubicBezTo>
                  <a:pt x="157654" y="673950"/>
                  <a:pt x="125269" y="620359"/>
                  <a:pt x="125269" y="528469"/>
                </a:cubicBezTo>
                <a:lnTo>
                  <a:pt x="125269" y="431482"/>
                </a:lnTo>
                <a:lnTo>
                  <a:pt x="0" y="462755"/>
                </a:lnTo>
                <a:lnTo>
                  <a:pt x="0" y="506151"/>
                </a:lnTo>
                <a:cubicBezTo>
                  <a:pt x="0" y="638406"/>
                  <a:pt x="65735" y="739527"/>
                  <a:pt x="234414" y="739527"/>
                </a:cubicBezTo>
                <a:cubicBezTo>
                  <a:pt x="403093" y="739527"/>
                  <a:pt x="468828" y="638544"/>
                  <a:pt x="468828" y="506151"/>
                </a:cubicBezTo>
                <a:lnTo>
                  <a:pt x="468828" y="16256"/>
                </a:lnTo>
                <a:moveTo>
                  <a:pt x="1222509" y="16256"/>
                </a:moveTo>
                <a:lnTo>
                  <a:pt x="1103304" y="16256"/>
                </a:lnTo>
                <a:lnTo>
                  <a:pt x="1103304" y="723270"/>
                </a:lnTo>
                <a:lnTo>
                  <a:pt x="1222509" y="723270"/>
                </a:lnTo>
                <a:lnTo>
                  <a:pt x="1222509" y="397041"/>
                </a:lnTo>
                <a:cubicBezTo>
                  <a:pt x="1222509" y="322372"/>
                  <a:pt x="1260958" y="278838"/>
                  <a:pt x="1322559" y="278838"/>
                </a:cubicBezTo>
                <a:cubicBezTo>
                  <a:pt x="1384160" y="278838"/>
                  <a:pt x="1408415" y="318239"/>
                  <a:pt x="1408415" y="377891"/>
                </a:cubicBezTo>
                <a:lnTo>
                  <a:pt x="1408415" y="723270"/>
                </a:lnTo>
                <a:lnTo>
                  <a:pt x="1527620" y="723270"/>
                </a:lnTo>
                <a:lnTo>
                  <a:pt x="1527620" y="376789"/>
                </a:lnTo>
                <a:cubicBezTo>
                  <a:pt x="1527620" y="272776"/>
                  <a:pt x="1473047" y="208164"/>
                  <a:pt x="1368036" y="208164"/>
                </a:cubicBezTo>
                <a:cubicBezTo>
                  <a:pt x="1293206" y="208164"/>
                  <a:pt x="1251863" y="240539"/>
                  <a:pt x="1228573" y="281869"/>
                </a:cubicBezTo>
                <a:lnTo>
                  <a:pt x="1222509" y="281869"/>
                </a:lnTo>
                <a:lnTo>
                  <a:pt x="1222509" y="16256"/>
                </a:lnTo>
                <a:moveTo>
                  <a:pt x="4855722" y="16256"/>
                </a:moveTo>
                <a:lnTo>
                  <a:pt x="4730453" y="16256"/>
                </a:lnTo>
                <a:lnTo>
                  <a:pt x="4730453" y="538389"/>
                </a:lnTo>
                <a:cubicBezTo>
                  <a:pt x="4730453" y="623252"/>
                  <a:pt x="4698068" y="673675"/>
                  <a:pt x="4621308" y="673675"/>
                </a:cubicBezTo>
                <a:cubicBezTo>
                  <a:pt x="4544548" y="673675"/>
                  <a:pt x="4512163" y="620084"/>
                  <a:pt x="4512163" y="528194"/>
                </a:cubicBezTo>
                <a:lnTo>
                  <a:pt x="4512163" y="431207"/>
                </a:lnTo>
                <a:lnTo>
                  <a:pt x="4386894" y="462480"/>
                </a:lnTo>
                <a:lnTo>
                  <a:pt x="4386894" y="505876"/>
                </a:lnTo>
                <a:cubicBezTo>
                  <a:pt x="4386894" y="638131"/>
                  <a:pt x="4452629" y="739251"/>
                  <a:pt x="4621308" y="739251"/>
                </a:cubicBezTo>
                <a:cubicBezTo>
                  <a:pt x="4789987" y="739251"/>
                  <a:pt x="4855722" y="638269"/>
                  <a:pt x="4855722" y="505876"/>
                </a:cubicBezTo>
                <a:lnTo>
                  <a:pt x="4855722" y="15981"/>
                </a:lnTo>
                <a:moveTo>
                  <a:pt x="5609403" y="15981"/>
                </a:moveTo>
                <a:lnTo>
                  <a:pt x="5490198" y="15981"/>
                </a:lnTo>
                <a:lnTo>
                  <a:pt x="5490198" y="722995"/>
                </a:lnTo>
                <a:lnTo>
                  <a:pt x="5609403" y="722995"/>
                </a:lnTo>
                <a:lnTo>
                  <a:pt x="5609403" y="396765"/>
                </a:lnTo>
                <a:cubicBezTo>
                  <a:pt x="5609403" y="322096"/>
                  <a:pt x="5647852" y="278562"/>
                  <a:pt x="5709453" y="278562"/>
                </a:cubicBezTo>
                <a:cubicBezTo>
                  <a:pt x="5771054" y="278562"/>
                  <a:pt x="5795308" y="317963"/>
                  <a:pt x="5795308" y="377616"/>
                </a:cubicBezTo>
                <a:lnTo>
                  <a:pt x="5795308" y="722995"/>
                </a:lnTo>
                <a:lnTo>
                  <a:pt x="5914514" y="722995"/>
                </a:lnTo>
                <a:lnTo>
                  <a:pt x="5914514" y="376514"/>
                </a:lnTo>
                <a:cubicBezTo>
                  <a:pt x="5914514" y="272501"/>
                  <a:pt x="5859941" y="207889"/>
                  <a:pt x="5754930" y="207889"/>
                </a:cubicBezTo>
                <a:cubicBezTo>
                  <a:pt x="5680099" y="207889"/>
                  <a:pt x="5638756" y="240263"/>
                  <a:pt x="5615466" y="281593"/>
                </a:cubicBezTo>
                <a:lnTo>
                  <a:pt x="5609403" y="281593"/>
                </a:lnTo>
                <a:lnTo>
                  <a:pt x="5609403" y="15981"/>
                </a:lnTo>
                <a:moveTo>
                  <a:pt x="3954447" y="665409"/>
                </a:moveTo>
                <a:cubicBezTo>
                  <a:pt x="3857429" y="665409"/>
                  <a:pt x="3797895" y="586607"/>
                  <a:pt x="3797895" y="502845"/>
                </a:cubicBezTo>
                <a:cubicBezTo>
                  <a:pt x="3797895" y="450356"/>
                  <a:pt x="3821185" y="401863"/>
                  <a:pt x="3859496" y="374585"/>
                </a:cubicBezTo>
                <a:lnTo>
                  <a:pt x="4087847" y="624079"/>
                </a:lnTo>
                <a:cubicBezTo>
                  <a:pt x="4045401" y="649290"/>
                  <a:pt x="3997857" y="665546"/>
                  <a:pt x="3954447" y="665546"/>
                </a:cubicBezTo>
                <a:moveTo>
                  <a:pt x="4176734" y="541282"/>
                </a:moveTo>
                <a:lnTo>
                  <a:pt x="3978702" y="323061"/>
                </a:lnTo>
                <a:cubicBezTo>
                  <a:pt x="4014119" y="308871"/>
                  <a:pt x="4048433" y="303911"/>
                  <a:pt x="4076684" y="303911"/>
                </a:cubicBezTo>
                <a:cubicBezTo>
                  <a:pt x="4158543" y="303911"/>
                  <a:pt x="4208981" y="351440"/>
                  <a:pt x="4208981" y="433273"/>
                </a:cubicBezTo>
                <a:cubicBezTo>
                  <a:pt x="4208981" y="469643"/>
                  <a:pt x="4198922" y="506978"/>
                  <a:pt x="4176596" y="541282"/>
                </a:cubicBezTo>
                <a:moveTo>
                  <a:pt x="3951278" y="293854"/>
                </a:moveTo>
                <a:lnTo>
                  <a:pt x="3907868" y="245361"/>
                </a:lnTo>
                <a:cubicBezTo>
                  <a:pt x="3869419" y="202929"/>
                  <a:pt x="3858394" y="176616"/>
                  <a:pt x="3858394" y="145343"/>
                </a:cubicBezTo>
                <a:cubicBezTo>
                  <a:pt x="3858394" y="86792"/>
                  <a:pt x="3895740" y="53453"/>
                  <a:pt x="3954309" y="53453"/>
                </a:cubicBezTo>
                <a:cubicBezTo>
                  <a:pt x="4012879" y="53453"/>
                  <a:pt x="4049260" y="87757"/>
                  <a:pt x="4049260" y="150440"/>
                </a:cubicBezTo>
                <a:cubicBezTo>
                  <a:pt x="4049260" y="208026"/>
                  <a:pt x="4021009" y="262582"/>
                  <a:pt x="3951278" y="293854"/>
                </a:cubicBezTo>
                <a:moveTo>
                  <a:pt x="3957341" y="0"/>
                </a:moveTo>
                <a:cubicBezTo>
                  <a:pt x="3817878" y="0"/>
                  <a:pt x="3749249" y="77838"/>
                  <a:pt x="3749249" y="174687"/>
                </a:cubicBezTo>
                <a:cubicBezTo>
                  <a:pt x="3749249" y="227176"/>
                  <a:pt x="3771436" y="279802"/>
                  <a:pt x="3830143" y="343312"/>
                </a:cubicBezTo>
                <a:lnTo>
                  <a:pt x="3831108" y="345379"/>
                </a:lnTo>
                <a:cubicBezTo>
                  <a:pt x="3732160" y="392908"/>
                  <a:pt x="3686683" y="469643"/>
                  <a:pt x="3686683" y="548445"/>
                </a:cubicBezTo>
                <a:cubicBezTo>
                  <a:pt x="3686683" y="652459"/>
                  <a:pt x="3766475" y="739389"/>
                  <a:pt x="3889815" y="739389"/>
                </a:cubicBezTo>
                <a:cubicBezTo>
                  <a:pt x="3960511" y="739389"/>
                  <a:pt x="4043334" y="710045"/>
                  <a:pt x="4118165" y="657556"/>
                </a:cubicBezTo>
                <a:lnTo>
                  <a:pt x="4178801" y="723270"/>
                </a:lnTo>
                <a:lnTo>
                  <a:pt x="4337420" y="723270"/>
                </a:lnTo>
                <a:lnTo>
                  <a:pt x="4337420" y="718173"/>
                </a:lnTo>
                <a:lnTo>
                  <a:pt x="4208155" y="575723"/>
                </a:lnTo>
                <a:cubicBezTo>
                  <a:pt x="4262728" y="511111"/>
                  <a:pt x="4294011" y="440437"/>
                  <a:pt x="4294011" y="378718"/>
                </a:cubicBezTo>
                <a:cubicBezTo>
                  <a:pt x="4294011" y="301982"/>
                  <a:pt x="4242469" y="250458"/>
                  <a:pt x="4161713" y="250458"/>
                </a:cubicBezTo>
                <a:cubicBezTo>
                  <a:pt x="4119268" y="250458"/>
                  <a:pt x="4071723" y="262582"/>
                  <a:pt x="4040440" y="274705"/>
                </a:cubicBezTo>
                <a:lnTo>
                  <a:pt x="4038373" y="270710"/>
                </a:lnTo>
                <a:cubicBezTo>
                  <a:pt x="4115133" y="229242"/>
                  <a:pt x="4147518" y="190943"/>
                  <a:pt x="4147518" y="137352"/>
                </a:cubicBezTo>
                <a:cubicBezTo>
                  <a:pt x="4147518" y="60617"/>
                  <a:pt x="4078752" y="0"/>
                  <a:pt x="3957617" y="0"/>
                </a:cubicBezTo>
              </a:path>
            </a:pathLst>
          </a:custGeom>
          <a:solidFill>
            <a:schemeClr val="tx2"/>
          </a:solidFill>
          <a:ln w="13780" cap="flat">
            <a:noFill/>
            <a:prstDash val="solid"/>
            <a:miter/>
          </a:ln>
        </p:spPr>
        <p:txBody>
          <a:bodyPr rtlCol="0" anchor="ctr"/>
          <a:lstStyle/>
          <a:p>
            <a:endParaRPr lang="en-GB" b="0" i="0">
              <a:solidFill>
                <a:schemeClr val="tx1"/>
              </a:solidFill>
              <a:latin typeface="Johnson Text" pitchFamily="2" charset="77"/>
            </a:endParaRPr>
          </a:p>
        </p:txBody>
      </p:sp>
      <p:sp>
        <p:nvSpPr>
          <p:cNvPr id="3" name="Footer Placeholder 4">
            <a:extLst>
              <a:ext uri="{FF2B5EF4-FFF2-40B4-BE49-F238E27FC236}">
                <a16:creationId xmlns:a16="http://schemas.microsoft.com/office/drawing/2014/main" id="{0FBDFE4B-6993-D3B3-3F04-FE6E5AA1FC1D}"/>
              </a:ext>
            </a:extLst>
          </p:cNvPr>
          <p:cNvSpPr txBox="1">
            <a:spLocks/>
          </p:cNvSpPr>
          <p:nvPr/>
        </p:nvSpPr>
        <p:spPr>
          <a:xfrm>
            <a:off x="9772073" y="6424023"/>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0" i="0" kern="1200">
                <a:solidFill>
                  <a:schemeClr val="tx1"/>
                </a:solidFill>
                <a:latin typeface="+mn-lt"/>
                <a:ea typeface="+mn-ea"/>
                <a:cs typeface="+mn-cs"/>
              </a:rPr>
              <a:t>HEALTH CARE COMPLIANCE</a:t>
            </a:r>
          </a:p>
        </p:txBody>
      </p:sp>
    </p:spTree>
    <p:extLst>
      <p:ext uri="{BB962C8B-B14F-4D97-AF65-F5344CB8AC3E}">
        <p14:creationId xmlns:p14="http://schemas.microsoft.com/office/powerpoint/2010/main" val="663198504"/>
      </p:ext>
    </p:extLst>
  </p:cSld>
  <p:clrMapOvr>
    <a:masterClrMapping/>
  </p:clrMapOvr>
  <p:hf hdr="0" dt="0"/>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181580"/>
      </p:ext>
    </p:extLst>
  </p:cSld>
  <p:clrMapOvr>
    <a:masterClrMapping/>
  </p:clrMapOvr>
  <p:hf hdr="0" dt="0"/>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8298328"/>
      </p:ext>
    </p:extLst>
  </p:cSld>
  <p:clrMapOvr>
    <a:masterClrMapping/>
  </p:clrMapOvr>
  <p:hf hdr="0" dt="0"/>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cSld name="1_Title Slide [Accessible Version]">
    <p:bg>
      <p:bgPr>
        <a:solidFill>
          <a:srgbClr val="F6F3F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97A17AB-0114-CDE0-D80E-3AAA53BE4837}"/>
              </a:ext>
            </a:extLst>
          </p:cNvPr>
          <p:cNvSpPr>
            <a:spLocks noGrp="1"/>
          </p:cNvSpPr>
          <p:nvPr>
            <p:ph type="ctrTitle"/>
          </p:nvPr>
        </p:nvSpPr>
        <p:spPr>
          <a:xfrm>
            <a:off x="284806" y="261082"/>
            <a:ext cx="9656119" cy="1938992"/>
          </a:xfrm>
        </p:spPr>
        <p:txBody>
          <a:bodyPr anchor="t"/>
          <a:lstStyle>
            <a:lvl1pPr algn="l">
              <a:lnSpc>
                <a:spcPct val="80000"/>
              </a:lnSpc>
              <a:defRPr sz="7875" b="0" i="0" spc="0" baseline="0">
                <a:solidFill>
                  <a:schemeClr val="tx2"/>
                </a:solidFill>
                <a:latin typeface="+mj-lt"/>
              </a:defRPr>
            </a:lvl1pPr>
          </a:lstStyle>
          <a:p>
            <a:r>
              <a:rPr lang="zh-CN" altLang="en-US"/>
              <a:t>单击此处编辑母版标题样式</a:t>
            </a:r>
            <a:endParaRPr lang="en-GB"/>
          </a:p>
        </p:txBody>
      </p:sp>
      <p:sp>
        <p:nvSpPr>
          <p:cNvPr id="9" name="Subtitle 2">
            <a:extLst>
              <a:ext uri="{FF2B5EF4-FFF2-40B4-BE49-F238E27FC236}">
                <a16:creationId xmlns:a16="http://schemas.microsoft.com/office/drawing/2014/main" id="{565D7B25-1665-DB97-EC26-F653F638EABF}"/>
              </a:ext>
            </a:extLst>
          </p:cNvPr>
          <p:cNvSpPr>
            <a:spLocks noGrp="1"/>
          </p:cNvSpPr>
          <p:nvPr>
            <p:ph type="subTitle" idx="1" hasCustomPrompt="1"/>
          </p:nvPr>
        </p:nvSpPr>
        <p:spPr>
          <a:xfrm>
            <a:off x="6165851" y="5892920"/>
            <a:ext cx="2795587" cy="717180"/>
          </a:xfrm>
        </p:spPr>
        <p:txBody>
          <a:bodyPr anchor="b"/>
          <a:lstStyle>
            <a:lvl1pPr marL="0" indent="0" algn="l">
              <a:lnSpc>
                <a:spcPct val="100000"/>
              </a:lnSpc>
              <a:spcBef>
                <a:spcPts val="0"/>
              </a:spcBef>
              <a:spcAft>
                <a:spcPts val="0"/>
              </a:spcAft>
              <a:buNone/>
              <a:defRPr sz="105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Supporting details – delete if not required</a:t>
            </a:r>
          </a:p>
        </p:txBody>
      </p:sp>
      <p:sp>
        <p:nvSpPr>
          <p:cNvPr id="10" name="Text Placeholder 31">
            <a:extLst>
              <a:ext uri="{FF2B5EF4-FFF2-40B4-BE49-F238E27FC236}">
                <a16:creationId xmlns:a16="http://schemas.microsoft.com/office/drawing/2014/main" id="{938BB031-45ED-95FB-C1C5-66605571CD90}"/>
              </a:ext>
            </a:extLst>
          </p:cNvPr>
          <p:cNvSpPr>
            <a:spLocks noGrp="1"/>
          </p:cNvSpPr>
          <p:nvPr>
            <p:ph type="body" sz="quarter" idx="10" hasCustomPrompt="1"/>
          </p:nvPr>
        </p:nvSpPr>
        <p:spPr>
          <a:xfrm>
            <a:off x="9104313" y="5892920"/>
            <a:ext cx="2795587" cy="717180"/>
          </a:xfrm>
        </p:spPr>
        <p:txBody>
          <a:bodyPr anchor="b"/>
          <a:lstStyle>
            <a:lvl1pPr>
              <a:lnSpc>
                <a:spcPct val="100000"/>
              </a:lnSpc>
              <a:spcBef>
                <a:spcPts val="0"/>
              </a:spcBef>
              <a:spcAft>
                <a:spcPts val="0"/>
              </a:spcAft>
              <a:defRPr sz="1050">
                <a:solidFill>
                  <a:schemeClr val="tx1"/>
                </a:solidFill>
              </a:defRPr>
            </a:lvl1pPr>
          </a:lstStyle>
          <a:p>
            <a:r>
              <a:rPr lang="en-GB"/>
              <a:t>Supporting details – delete if not required</a:t>
            </a:r>
          </a:p>
        </p:txBody>
      </p:sp>
      <p:sp>
        <p:nvSpPr>
          <p:cNvPr id="2" name="Graphic 3">
            <a:extLst>
              <a:ext uri="{FF2B5EF4-FFF2-40B4-BE49-F238E27FC236}">
                <a16:creationId xmlns:a16="http://schemas.microsoft.com/office/drawing/2014/main" id="{F6FA51BA-59E9-FFE0-09DF-9DB6F0962CC9}"/>
              </a:ext>
            </a:extLst>
          </p:cNvPr>
          <p:cNvSpPr/>
          <p:nvPr/>
        </p:nvSpPr>
        <p:spPr>
          <a:xfrm>
            <a:off x="294331"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tx2"/>
          </a:solidFill>
          <a:ln w="25765" cap="flat">
            <a:noFill/>
            <a:prstDash val="solid"/>
            <a:miter/>
          </a:ln>
        </p:spPr>
        <p:txBody>
          <a:bodyPr rtlCol="0" anchor="ctr"/>
          <a:lstStyle/>
          <a:p>
            <a:endParaRPr lang="en-GB" sz="1350">
              <a:solidFill>
                <a:srgbClr val="FF0000"/>
              </a:solidFill>
            </a:endParaRPr>
          </a:p>
        </p:txBody>
      </p:sp>
    </p:spTree>
    <p:extLst>
      <p:ext uri="{BB962C8B-B14F-4D97-AF65-F5344CB8AC3E}">
        <p14:creationId xmlns:p14="http://schemas.microsoft.com/office/powerpoint/2010/main" val="653226077"/>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Right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6F6140-34D9-F6B3-6BCD-3A50DD37FE45}"/>
              </a:ext>
            </a:extLst>
          </p:cNvPr>
          <p:cNvSpPr>
            <a:spLocks noGrp="1"/>
          </p:cNvSpPr>
          <p:nvPr>
            <p:ph type="title" hasCustomPrompt="1"/>
          </p:nvPr>
        </p:nvSpPr>
        <p:spPr>
          <a:xfrm>
            <a:off x="288303" y="262267"/>
            <a:ext cx="5733084" cy="468590"/>
          </a:xfrm>
        </p:spPr>
        <p:txBody>
          <a:bodyPr/>
          <a:lstStyle/>
          <a:p>
            <a:r>
              <a:rPr lang="en-GB"/>
              <a:t>Master title style</a:t>
            </a:r>
          </a:p>
        </p:txBody>
      </p:sp>
      <p:sp>
        <p:nvSpPr>
          <p:cNvPr id="7" name="Content Placeholder 6">
            <a:extLst>
              <a:ext uri="{FF2B5EF4-FFF2-40B4-BE49-F238E27FC236}">
                <a16:creationId xmlns:a16="http://schemas.microsoft.com/office/drawing/2014/main" id="{BA7EE611-EA9F-2CB5-2ACF-EF4D756FF28C}"/>
              </a:ext>
            </a:extLst>
          </p:cNvPr>
          <p:cNvSpPr>
            <a:spLocks noGrp="1"/>
          </p:cNvSpPr>
          <p:nvPr>
            <p:ph sz="quarter" idx="14"/>
          </p:nvPr>
        </p:nvSpPr>
        <p:spPr>
          <a:xfrm>
            <a:off x="6166800" y="270000"/>
            <a:ext cx="5737225" cy="6008358"/>
          </a:xfrm>
        </p:spPr>
        <p:txBody>
          <a:bodyPr/>
          <a:lstStyle>
            <a:lvl1pPr>
              <a:defRPr sz="1800"/>
            </a:lvl1pPr>
            <a:lvl2pPr>
              <a:defRPr sz="1800"/>
            </a:lvl2pPr>
            <a:lvl3pPr>
              <a:defRPr sz="16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9781BB63-AF6A-9F70-47D8-BF333C16188A}"/>
              </a:ext>
            </a:extLst>
          </p:cNvPr>
          <p:cNvSpPr>
            <a:spLocks noGrp="1"/>
          </p:cNvSpPr>
          <p:nvPr>
            <p:ph type="body" sz="quarter" idx="15"/>
          </p:nvPr>
        </p:nvSpPr>
        <p:spPr>
          <a:xfrm>
            <a:off x="288925" y="4416523"/>
            <a:ext cx="3778250" cy="1816002"/>
          </a:xfrm>
        </p:spPr>
        <p:txBody>
          <a:bodyPr/>
          <a:lstStyle/>
          <a:p>
            <a:pPr lvl="0"/>
            <a:r>
              <a:rPr lang="en-US"/>
              <a:t>Click to edit Master text styles</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A9E0D3F3-D407-76CD-22B7-F52045970808}"/>
              </a:ext>
            </a:extLst>
          </p:cNvPr>
          <p:cNvSpPr>
            <a:spLocks noGrp="1"/>
          </p:cNvSpPr>
          <p:nvPr>
            <p:ph type="ftr" sz="quarter" idx="11"/>
          </p:nvPr>
        </p:nvSpPr>
        <p:spPr/>
        <p:txBody>
          <a:bodyPr/>
          <a:lstStyle/>
          <a:p>
            <a:r>
              <a:rPr lang="en-US"/>
              <a:t>Job Aid and Guidance Document still under review.</a:t>
            </a:r>
            <a:endParaRPr lang="en-GB"/>
          </a:p>
        </p:txBody>
      </p:sp>
      <p:sp>
        <p:nvSpPr>
          <p:cNvPr id="6" name="Slide Number Placeholder 5">
            <a:extLst>
              <a:ext uri="{FF2B5EF4-FFF2-40B4-BE49-F238E27FC236}">
                <a16:creationId xmlns:a16="http://schemas.microsoft.com/office/drawing/2014/main" id="{3FB68AB9-3222-3CF5-BF4D-DB291E974D21}"/>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8" name="Subtitle 2">
            <a:extLst>
              <a:ext uri="{FF2B5EF4-FFF2-40B4-BE49-F238E27FC236}">
                <a16:creationId xmlns:a16="http://schemas.microsoft.com/office/drawing/2014/main" id="{7093E36D-AA36-08D5-DD80-6469123BEA1A}"/>
              </a:ext>
            </a:extLst>
          </p:cNvPr>
          <p:cNvSpPr>
            <a:spLocks noGrp="1"/>
          </p:cNvSpPr>
          <p:nvPr>
            <p:ph type="subTitle" idx="1" hasCustomPrompt="1"/>
          </p:nvPr>
        </p:nvSpPr>
        <p:spPr>
          <a:xfrm>
            <a:off x="288302" y="713620"/>
            <a:ext cx="5733083" cy="274691"/>
          </a:xfrm>
        </p:spPr>
        <p:txBody>
          <a:bodyPr wrap="square" anchor="t">
            <a:spAutoFit/>
          </a:bodyPr>
          <a:lstStyle>
            <a:lvl1pPr marL="0" indent="0" algn="l">
              <a:lnSpc>
                <a:spcPct val="110000"/>
              </a:lnSpc>
              <a:spcBef>
                <a:spcPts val="0"/>
              </a:spcBef>
              <a:spcAft>
                <a:spcPts val="0"/>
              </a:spcAft>
              <a:buNone/>
              <a:tabLst/>
              <a:defRPr lang="en-GB" sz="18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Subtitle goes here if required</a:t>
            </a:r>
          </a:p>
        </p:txBody>
      </p:sp>
    </p:spTree>
    <p:extLst>
      <p:ext uri="{BB962C8B-B14F-4D97-AF65-F5344CB8AC3E}">
        <p14:creationId xmlns:p14="http://schemas.microsoft.com/office/powerpoint/2010/main" val="210826278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p:custDataLst>
              <p:tags r:id="rId2"/>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0"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20"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3" name="5. Source" hidden="1">
            <a:extLst>
              <a:ext uri="{FF2B5EF4-FFF2-40B4-BE49-F238E27FC236}">
                <a16:creationId xmlns:a16="http://schemas.microsoft.com/office/drawing/2014/main" id="{60FC582F-2A70-7697-B894-D7696F3DA16A}"/>
              </a:ext>
            </a:extLst>
          </p:cNvPr>
          <p:cNvSpPr txBox="1"/>
          <p:nvPr>
            <p:custDataLst>
              <p:tags r:id="rId4"/>
            </p:custDataLst>
          </p:nvPr>
        </p:nvSpPr>
        <p:spPr>
          <a:xfrm>
            <a:off x="3111124"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4" name="Graphic 6">
            <a:extLst>
              <a:ext uri="{FF2B5EF4-FFF2-40B4-BE49-F238E27FC236}">
                <a16:creationId xmlns:a16="http://schemas.microsoft.com/office/drawing/2014/main" id="{1CDA47C9-2F03-6752-1A87-E2DD260776D0}"/>
              </a:ext>
            </a:extLst>
          </p:cNvPr>
          <p:cNvSpPr>
            <a:spLocks noChangeAspect="1"/>
          </p:cNvSpPr>
          <p:nvPr/>
        </p:nvSpPr>
        <p:spPr>
          <a:xfrm>
            <a:off x="554736" y="6457516"/>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rgbClr val="EB1700"/>
          </a:solidFill>
          <a:ln w="15840" cap="flat">
            <a:noFill/>
            <a:prstDash val="solid"/>
            <a:miter/>
          </a:ln>
        </p:spPr>
        <p:txBody>
          <a:bodyPr rtlCol="0" anchor="ct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mn-lt"/>
            </a:endParaRPr>
          </a:p>
        </p:txBody>
      </p:sp>
      <p:sp>
        <p:nvSpPr>
          <p:cNvPr id="5" name="TextBox 4">
            <a:extLst>
              <a:ext uri="{FF2B5EF4-FFF2-40B4-BE49-F238E27FC236}">
                <a16:creationId xmlns:a16="http://schemas.microsoft.com/office/drawing/2014/main" id="{546109CB-2F77-3147-050E-3E7AE7CD3125}"/>
              </a:ext>
            </a:extLst>
          </p:cNvPr>
          <p:cNvSpPr txBox="1"/>
          <p:nvPr/>
        </p:nvSpPr>
        <p:spPr>
          <a:xfrm>
            <a:off x="8443084" y="6367097"/>
            <a:ext cx="2640969" cy="584775"/>
          </a:xfrm>
          <a:prstGeom prst="rect">
            <a:avLst/>
          </a:prstGeom>
          <a:solidFill>
            <a:srgbClr val="FFFFFF"/>
          </a:solidFill>
        </p:spPr>
        <p:txBody>
          <a:bodyPr wrap="square">
            <a:spAutoFit/>
          </a:bodyPr>
          <a:lstStyle/>
          <a:p>
            <a:pPr marL="0" marR="0" lvl="0" indent="0" defTabSz="914363" eaLnBrk="1" fontAlgn="auto" latinLnBrk="0" hangingPunct="1">
              <a:lnSpc>
                <a:spcPct val="100000"/>
              </a:lnSpc>
              <a:spcBef>
                <a:spcPts val="0"/>
              </a:spcBef>
              <a:spcAft>
                <a:spcPts val="0"/>
              </a:spcAft>
              <a:buClrTx/>
              <a:buSzTx/>
              <a:buFontTx/>
              <a:buNone/>
              <a:tabLst/>
              <a:defRPr/>
            </a:pPr>
            <a:r>
              <a:rPr kumimoji="0" lang="en-US" sz="1600" b="1" i="0" u="none" strike="noStrike" kern="0" cap="none" spc="-30" normalizeH="0" baseline="0" noProof="0">
                <a:ln>
                  <a:noFill/>
                </a:ln>
                <a:solidFill>
                  <a:srgbClr val="00A0DF"/>
                </a:solidFill>
                <a:effectLst/>
                <a:uLnTx/>
                <a:uFillTx/>
                <a:ea typeface="Verdana" panose="020B0604030504040204" pitchFamily="34" charset="0"/>
                <a:cs typeface="Times New Roman" panose="02020603050405020304" pitchFamily="18" charset="0"/>
              </a:rPr>
              <a:t>BELIEVE. </a:t>
            </a:r>
            <a:r>
              <a:rPr kumimoji="0" lang="en-US" sz="1600" b="1" i="0" u="none" strike="noStrike" kern="0" cap="none" spc="-30" normalizeH="0" baseline="0" noProof="0">
                <a:ln>
                  <a:noFill/>
                </a:ln>
                <a:solidFill>
                  <a:srgbClr val="7E2E78"/>
                </a:solidFill>
                <a:effectLst/>
                <a:uLnTx/>
                <a:uFillTx/>
                <a:ea typeface="Verdana" panose="020B0604030504040204" pitchFamily="34" charset="0"/>
                <a:cs typeface="Times New Roman" panose="02020603050405020304" pitchFamily="18" charset="0"/>
              </a:rPr>
              <a:t>BUILD. </a:t>
            </a:r>
            <a:r>
              <a:rPr kumimoji="0" lang="en-US" sz="1600" b="1" i="0" u="none" strike="noStrike" kern="0" cap="none" spc="-30" normalizeH="0" baseline="0" noProof="0">
                <a:ln>
                  <a:noFill/>
                </a:ln>
                <a:solidFill>
                  <a:srgbClr val="6EBD44"/>
                </a:solidFill>
                <a:effectLst/>
                <a:uLnTx/>
                <a:uFillTx/>
                <a:ea typeface="Verdana" panose="020B0604030504040204" pitchFamily="34" charset="0"/>
                <a:cs typeface="Times New Roman" panose="02020603050405020304" pitchFamily="18" charset="0"/>
              </a:rPr>
              <a:t>BELONG.</a:t>
            </a:r>
            <a:endParaRPr kumimoji="0" lang="en-US" sz="1600" b="0" i="0" u="none" strike="noStrike" kern="0" cap="none" spc="0" normalizeH="0" baseline="0" noProof="0">
              <a:ln>
                <a:noFill/>
              </a:ln>
              <a:solidFill>
                <a:srgbClr val="212121"/>
              </a:solidFill>
              <a:effectLst/>
              <a:uLnTx/>
              <a:uFillTx/>
            </a:endParaRPr>
          </a:p>
        </p:txBody>
      </p:sp>
    </p:spTree>
    <p:extLst>
      <p:ext uri="{BB962C8B-B14F-4D97-AF65-F5344CB8AC3E}">
        <p14:creationId xmlns:p14="http://schemas.microsoft.com/office/powerpoint/2010/main" val="3272989702"/>
      </p:ext>
    </p:extLst>
  </p:cSld>
  <p:clrMapOvr>
    <a:masterClrMapping/>
  </p:clrMapOvr>
  <p:hf hdr="0" dt="0"/>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p:custDataLst>
              <p:tags r:id="rId1"/>
            </p:custDataLst>
            <p:extLst>
              <p:ext uri="{D42A27DB-BD31-4B8C-83A1-F6EECF244321}">
                <p14:modId xmlns:p14="http://schemas.microsoft.com/office/powerpoint/2010/main" val="3835162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p:custDataLst>
              <p:tags r:id="rId2"/>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0"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20"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3" name="5. Source" hidden="1">
            <a:extLst>
              <a:ext uri="{FF2B5EF4-FFF2-40B4-BE49-F238E27FC236}">
                <a16:creationId xmlns:a16="http://schemas.microsoft.com/office/drawing/2014/main" id="{60FC582F-2A70-7697-B894-D7696F3DA16A}"/>
              </a:ext>
            </a:extLst>
          </p:cNvPr>
          <p:cNvSpPr txBox="1"/>
          <p:nvPr>
            <p:custDataLst>
              <p:tags r:id="rId4"/>
            </p:custDataLst>
          </p:nvPr>
        </p:nvSpPr>
        <p:spPr>
          <a:xfrm>
            <a:off x="3111124"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4" name="Graphic 6">
            <a:extLst>
              <a:ext uri="{FF2B5EF4-FFF2-40B4-BE49-F238E27FC236}">
                <a16:creationId xmlns:a16="http://schemas.microsoft.com/office/drawing/2014/main" id="{1CDA47C9-2F03-6752-1A87-E2DD260776D0}"/>
              </a:ext>
            </a:extLst>
          </p:cNvPr>
          <p:cNvSpPr>
            <a:spLocks noChangeAspect="1"/>
          </p:cNvSpPr>
          <p:nvPr/>
        </p:nvSpPr>
        <p:spPr>
          <a:xfrm>
            <a:off x="554736" y="6457516"/>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rgbClr val="EB1700"/>
          </a:solidFill>
          <a:ln w="15840" cap="flat">
            <a:noFill/>
            <a:prstDash val="solid"/>
            <a:miter/>
          </a:ln>
        </p:spPr>
        <p:txBody>
          <a:bodyPr rtlCol="0" anchor="ct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mn-lt"/>
            </a:endParaRPr>
          </a:p>
        </p:txBody>
      </p:sp>
      <p:sp>
        <p:nvSpPr>
          <p:cNvPr id="5" name="TextBox 4">
            <a:extLst>
              <a:ext uri="{FF2B5EF4-FFF2-40B4-BE49-F238E27FC236}">
                <a16:creationId xmlns:a16="http://schemas.microsoft.com/office/drawing/2014/main" id="{546109CB-2F77-3147-050E-3E7AE7CD3125}"/>
              </a:ext>
            </a:extLst>
          </p:cNvPr>
          <p:cNvSpPr txBox="1"/>
          <p:nvPr/>
        </p:nvSpPr>
        <p:spPr>
          <a:xfrm>
            <a:off x="8443084" y="6367097"/>
            <a:ext cx="2640969" cy="584775"/>
          </a:xfrm>
          <a:prstGeom prst="rect">
            <a:avLst/>
          </a:prstGeom>
          <a:solidFill>
            <a:srgbClr val="FFFFFF"/>
          </a:solidFill>
        </p:spPr>
        <p:txBody>
          <a:bodyPr wrap="square">
            <a:spAutoFit/>
          </a:bodyPr>
          <a:lstStyle/>
          <a:p>
            <a:pPr marL="0" marR="0" lvl="0" indent="0" defTabSz="914363" eaLnBrk="1" fontAlgn="auto" latinLnBrk="0" hangingPunct="1">
              <a:lnSpc>
                <a:spcPct val="100000"/>
              </a:lnSpc>
              <a:spcBef>
                <a:spcPts val="0"/>
              </a:spcBef>
              <a:spcAft>
                <a:spcPts val="0"/>
              </a:spcAft>
              <a:buClrTx/>
              <a:buSzTx/>
              <a:buFontTx/>
              <a:buNone/>
              <a:tabLst/>
              <a:defRPr/>
            </a:pPr>
            <a:r>
              <a:rPr kumimoji="0" lang="en-US" sz="1600" b="1" i="0" u="none" strike="noStrike" kern="0" cap="none" spc="-30" normalizeH="0" baseline="0" noProof="0">
                <a:ln>
                  <a:noFill/>
                </a:ln>
                <a:solidFill>
                  <a:srgbClr val="00A0DF"/>
                </a:solidFill>
                <a:effectLst/>
                <a:uLnTx/>
                <a:uFillTx/>
                <a:ea typeface="Verdana" panose="020B0604030504040204" pitchFamily="34" charset="0"/>
                <a:cs typeface="Times New Roman" panose="02020603050405020304" pitchFamily="18" charset="0"/>
              </a:rPr>
              <a:t>BELIEVE. </a:t>
            </a:r>
            <a:r>
              <a:rPr kumimoji="0" lang="en-US" sz="1600" b="1" i="0" u="none" strike="noStrike" kern="0" cap="none" spc="-30" normalizeH="0" baseline="0" noProof="0">
                <a:ln>
                  <a:noFill/>
                </a:ln>
                <a:solidFill>
                  <a:srgbClr val="7E2E78"/>
                </a:solidFill>
                <a:effectLst/>
                <a:uLnTx/>
                <a:uFillTx/>
                <a:ea typeface="Verdana" panose="020B0604030504040204" pitchFamily="34" charset="0"/>
                <a:cs typeface="Times New Roman" panose="02020603050405020304" pitchFamily="18" charset="0"/>
              </a:rPr>
              <a:t>BUILD. </a:t>
            </a:r>
            <a:r>
              <a:rPr kumimoji="0" lang="en-US" sz="1600" b="1" i="0" u="none" strike="noStrike" kern="0" cap="none" spc="-30" normalizeH="0" baseline="0" noProof="0">
                <a:ln>
                  <a:noFill/>
                </a:ln>
                <a:solidFill>
                  <a:srgbClr val="6EBD44"/>
                </a:solidFill>
                <a:effectLst/>
                <a:uLnTx/>
                <a:uFillTx/>
                <a:ea typeface="Verdana" panose="020B0604030504040204" pitchFamily="34" charset="0"/>
                <a:cs typeface="Times New Roman" panose="02020603050405020304" pitchFamily="18" charset="0"/>
              </a:rPr>
              <a:t>BELONG.</a:t>
            </a:r>
            <a:endParaRPr kumimoji="0" lang="en-US" sz="1600" b="0" i="0" u="none" strike="noStrike" kern="0" cap="none" spc="0" normalizeH="0" baseline="0" noProof="0">
              <a:ln>
                <a:noFill/>
              </a:ln>
              <a:solidFill>
                <a:srgbClr val="212121"/>
              </a:solidFill>
              <a:effectLst/>
              <a:uLnTx/>
              <a:uFillTx/>
            </a:endParaRPr>
          </a:p>
        </p:txBody>
      </p:sp>
    </p:spTree>
    <p:extLst>
      <p:ext uri="{BB962C8B-B14F-4D97-AF65-F5344CB8AC3E}">
        <p14:creationId xmlns:p14="http://schemas.microsoft.com/office/powerpoint/2010/main" val="3272989702"/>
      </p:ext>
    </p:extLst>
  </p:cSld>
  <p:clrMapOvr>
    <a:masterClrMapping/>
  </p:clrMapOvr>
  <p:hf hdr="0" dt="0"/>
</p:sldLayout>
</file>

<file path=ppt/slideLayouts/slideLayout162.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348636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AC08568-CB34-FA3A-354B-5E34EE1B1FD2}"/>
              </a:ext>
            </a:extLst>
          </p:cNvPr>
          <p:cNvSpPr>
            <a:spLocks noGrp="1"/>
          </p:cNvSpPr>
          <p:nvPr>
            <p:ph type="title"/>
          </p:nvPr>
        </p:nvSpPr>
        <p:spPr>
          <a:xfrm>
            <a:off x="288303" y="262267"/>
            <a:ext cx="6713538" cy="457818"/>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80450DE-2BB5-2901-3769-3BBFA07946C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7">
            <a:extLst>
              <a:ext uri="{FF2B5EF4-FFF2-40B4-BE49-F238E27FC236}">
                <a16:creationId xmlns:a16="http://schemas.microsoft.com/office/drawing/2014/main" id="{65B587F7-0E47-48EC-A5BC-5623F62D615C}"/>
              </a:ext>
            </a:extLst>
          </p:cNvPr>
          <p:cNvSpPr>
            <a:spLocks noGrp="1"/>
          </p:cNvSpPr>
          <p:nvPr>
            <p:ph type="body" sz="quarter" idx="14" hasCustomPrompt="1"/>
          </p:nvPr>
        </p:nvSpPr>
        <p:spPr>
          <a:xfrm>
            <a:off x="8124825" y="295200"/>
            <a:ext cx="3778250" cy="876375"/>
          </a:xfrm>
        </p:spPr>
        <p:txBody>
          <a:bodyPr/>
          <a:lstStyle>
            <a:lvl1pPr>
              <a:defRPr sz="1400"/>
            </a:lvl1pPr>
            <a:lvl2pPr>
              <a:defRPr sz="1400"/>
            </a:lvl2pPr>
            <a:lvl3pPr>
              <a:defRPr sz="1200"/>
            </a:lvl3pPr>
          </a:lstStyle>
          <a:p>
            <a:pPr lvl="0"/>
            <a:r>
              <a:rPr lang="en-GB"/>
              <a:t>Click to add text. Delete if not required.</a:t>
            </a:r>
          </a:p>
          <a:p>
            <a:pPr lvl="1"/>
            <a:r>
              <a:rPr lang="en-GB"/>
              <a:t>Second level</a:t>
            </a:r>
          </a:p>
          <a:p>
            <a:pPr lvl="2"/>
            <a:r>
              <a:rPr lang="en-GB"/>
              <a:t>Third level</a:t>
            </a:r>
          </a:p>
        </p:txBody>
      </p:sp>
      <p:sp>
        <p:nvSpPr>
          <p:cNvPr id="6" name="Slide Number Placeholder 5">
            <a:extLst>
              <a:ext uri="{FF2B5EF4-FFF2-40B4-BE49-F238E27FC236}">
                <a16:creationId xmlns:a16="http://schemas.microsoft.com/office/drawing/2014/main" id="{3FB68AB9-3222-3CF5-BF4D-DB291E974D21}"/>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4" name="Subtitle 2">
            <a:extLst>
              <a:ext uri="{FF2B5EF4-FFF2-40B4-BE49-F238E27FC236}">
                <a16:creationId xmlns:a16="http://schemas.microsoft.com/office/drawing/2014/main" id="{443DEE11-107C-6B66-46B9-BE5E88B65B71}"/>
              </a:ext>
            </a:extLst>
          </p:cNvPr>
          <p:cNvSpPr>
            <a:spLocks noGrp="1"/>
          </p:cNvSpPr>
          <p:nvPr>
            <p:ph type="subTitle" idx="15" hasCustomPrompt="1"/>
          </p:nvPr>
        </p:nvSpPr>
        <p:spPr>
          <a:xfrm>
            <a:off x="288302" y="713620"/>
            <a:ext cx="5733083" cy="292965"/>
          </a:xfrm>
        </p:spPr>
        <p:txBody>
          <a:bodyPr wrap="square" anchor="t">
            <a:spAutoFit/>
          </a:bodyPr>
          <a:lstStyle>
            <a:lvl1pPr marL="0" indent="0" algn="l">
              <a:lnSpc>
                <a:spcPct val="110000"/>
              </a:lnSpc>
              <a:spcBef>
                <a:spcPts val="0"/>
              </a:spcBef>
              <a:spcAft>
                <a:spcPts val="0"/>
              </a:spcAft>
              <a:buNone/>
              <a:tabLst/>
              <a:defRPr lang="en-GB" sz="18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Subtitle. Delete if not required.</a:t>
            </a:r>
          </a:p>
        </p:txBody>
      </p:sp>
      <p:sp>
        <p:nvSpPr>
          <p:cNvPr id="8" name="Footer Placeholder 4">
            <a:extLst>
              <a:ext uri="{FF2B5EF4-FFF2-40B4-BE49-F238E27FC236}">
                <a16:creationId xmlns:a16="http://schemas.microsoft.com/office/drawing/2014/main" id="{7234E43D-E2A8-6090-A515-BA67D1DC031F}"/>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11683915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line title,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8303" y="262267"/>
            <a:ext cx="9649446" cy="468590"/>
          </a:xfrm>
        </p:spPr>
        <p:txBody>
          <a:bodyPr/>
          <a:lstStyle/>
          <a:p>
            <a:r>
              <a:rPr lang="en-US"/>
              <a:t>Click to edit Master title style</a:t>
            </a:r>
          </a:p>
        </p:txBody>
      </p:sp>
      <p:sp>
        <p:nvSpPr>
          <p:cNvPr id="5" name="Text Placeholder 4"/>
          <p:cNvSpPr>
            <a:spLocks noGrp="1"/>
          </p:cNvSpPr>
          <p:nvPr>
            <p:ph type="body" sz="quarter" idx="10" hasCustomPrompt="1"/>
          </p:nvPr>
        </p:nvSpPr>
        <p:spPr>
          <a:xfrm>
            <a:off x="601928" y="1713179"/>
            <a:ext cx="10984706" cy="4169410"/>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8" name="Slide Number Placeholder 5">
            <a:extLst>
              <a:ext uri="{FF2B5EF4-FFF2-40B4-BE49-F238E27FC236}">
                <a16:creationId xmlns:a16="http://schemas.microsoft.com/office/drawing/2014/main" id="{D659774A-71E5-F941-B6C9-6ABEBC3C73D8}"/>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a:p>
        </p:txBody>
      </p:sp>
      <p:sp>
        <p:nvSpPr>
          <p:cNvPr id="7" name="Text Placeholder 4"/>
          <p:cNvSpPr>
            <a:spLocks noGrp="1"/>
          </p:cNvSpPr>
          <p:nvPr>
            <p:ph type="body" sz="quarter" idx="17" hasCustomPrompt="1"/>
          </p:nvPr>
        </p:nvSpPr>
        <p:spPr>
          <a:xfrm>
            <a:off x="601928" y="6279363"/>
            <a:ext cx="8382000" cy="275167"/>
          </a:xfrm>
        </p:spPr>
        <p:txBody>
          <a:bodyPr anchor="b"/>
          <a:lstStyle>
            <a:lvl1pPr marL="0" indent="0">
              <a:spcBef>
                <a:spcPts val="167"/>
              </a:spcBef>
              <a:buNone/>
              <a:defRPr sz="750">
                <a:solidFill>
                  <a:schemeClr val="tx1"/>
                </a:solidFill>
              </a:defRPr>
            </a:lvl1pPr>
          </a:lstStyle>
          <a:p>
            <a:pPr lvl="0"/>
            <a:r>
              <a:rPr lang="en-US"/>
              <a:t>Footnotes and Sources</a:t>
            </a:r>
          </a:p>
        </p:txBody>
      </p:sp>
    </p:spTree>
    <p:extLst>
      <p:ext uri="{BB962C8B-B14F-4D97-AF65-F5344CB8AC3E}">
        <p14:creationId xmlns:p14="http://schemas.microsoft.com/office/powerpoint/2010/main" val="1081952786"/>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标题幻灯片">
    <p:bg>
      <p:bgPr>
        <a:solidFill>
          <a:schemeClr val="accent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97A17AB-0114-CDE0-D80E-3AAA53BE4837}"/>
              </a:ext>
            </a:extLst>
          </p:cNvPr>
          <p:cNvSpPr>
            <a:spLocks noGrp="1"/>
          </p:cNvSpPr>
          <p:nvPr>
            <p:ph type="ctrTitle" hasCustomPrompt="1"/>
          </p:nvPr>
        </p:nvSpPr>
        <p:spPr>
          <a:xfrm>
            <a:off x="284806" y="262670"/>
            <a:ext cx="8676632" cy="3930563"/>
          </a:xfrm>
        </p:spPr>
        <p:txBody>
          <a:bodyPr anchor="t">
            <a:normAutofit/>
          </a:bodyPr>
          <a:lstStyle>
            <a:lvl1pPr algn="l">
              <a:lnSpc>
                <a:spcPct val="80000"/>
              </a:lnSpc>
              <a:defRPr sz="10500" b="0" i="0" spc="0" baseline="0">
                <a:solidFill>
                  <a:schemeClr val="bg1"/>
                </a:solidFill>
                <a:latin typeface="+mj-lt"/>
              </a:defRPr>
            </a:lvl1pPr>
          </a:lstStyle>
          <a:p>
            <a:r>
              <a:rPr lang="en-GB"/>
              <a:t>Longer titles will shrink automatically</a:t>
            </a:r>
          </a:p>
        </p:txBody>
      </p:sp>
      <p:sp>
        <p:nvSpPr>
          <p:cNvPr id="6" name="Subtitle 2">
            <a:extLst>
              <a:ext uri="{FF2B5EF4-FFF2-40B4-BE49-F238E27FC236}">
                <a16:creationId xmlns:a16="http://schemas.microsoft.com/office/drawing/2014/main" id="{342D80B8-9D94-A4FE-A104-C937BDCF8941}"/>
              </a:ext>
            </a:extLst>
          </p:cNvPr>
          <p:cNvSpPr>
            <a:spLocks noGrp="1"/>
          </p:cNvSpPr>
          <p:nvPr>
            <p:ph type="subTitle" idx="1" hasCustomPrompt="1"/>
          </p:nvPr>
        </p:nvSpPr>
        <p:spPr>
          <a:xfrm>
            <a:off x="284806" y="4889500"/>
            <a:ext cx="2795587" cy="865834"/>
          </a:xfrm>
        </p:spPr>
        <p:txBody>
          <a:bodyPr anchor="b"/>
          <a:lstStyle>
            <a:lvl1pPr marL="0" indent="0" algn="l">
              <a:lnSpc>
                <a:spcPct val="100000"/>
              </a:lnSpc>
              <a:spcBef>
                <a:spcPts val="0"/>
              </a:spcBef>
              <a:spcAft>
                <a:spcPts val="0"/>
              </a:spcAft>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pporting details. Delete if not required.</a:t>
            </a:r>
          </a:p>
        </p:txBody>
      </p:sp>
      <p:sp>
        <p:nvSpPr>
          <p:cNvPr id="2" name="Graphic 2">
            <a:extLst>
              <a:ext uri="{FF2B5EF4-FFF2-40B4-BE49-F238E27FC236}">
                <a16:creationId xmlns:a16="http://schemas.microsoft.com/office/drawing/2014/main" id="{FC18C372-E3E1-FE2B-B432-BD1E63E9A760}"/>
              </a:ext>
            </a:extLst>
          </p:cNvPr>
          <p:cNvSpPr>
            <a:spLocks noChangeAspect="1"/>
          </p:cNvSpPr>
          <p:nvPr/>
        </p:nvSpPr>
        <p:spPr>
          <a:xfrm>
            <a:off x="290513" y="6377853"/>
            <a:ext cx="2034000" cy="187309"/>
          </a:xfrm>
          <a:custGeom>
            <a:avLst/>
            <a:gdLst>
              <a:gd name="connsiteX0" fmla="*/ 542692 w 5487431"/>
              <a:gd name="connsiteY0" fmla="*/ 463149 h 505330"/>
              <a:gd name="connsiteX1" fmla="*/ 458967 w 5487431"/>
              <a:gd name="connsiteY1" fmla="*/ 321634 h 505330"/>
              <a:gd name="connsiteX2" fmla="*/ 542692 w 5487431"/>
              <a:gd name="connsiteY2" fmla="*/ 180119 h 505330"/>
              <a:gd name="connsiteX3" fmla="*/ 626417 w 5487431"/>
              <a:gd name="connsiteY3" fmla="*/ 321634 h 505330"/>
              <a:gd name="connsiteX4" fmla="*/ 542692 w 5487431"/>
              <a:gd name="connsiteY4" fmla="*/ 463149 h 505330"/>
              <a:gd name="connsiteX5" fmla="*/ 542692 w 5487431"/>
              <a:gd name="connsiteY5" fmla="*/ 142174 h 505330"/>
              <a:gd name="connsiteX6" fmla="*/ 372482 w 5487431"/>
              <a:gd name="connsiteY6" fmla="*/ 321634 h 505330"/>
              <a:gd name="connsiteX7" fmla="*/ 542692 w 5487431"/>
              <a:gd name="connsiteY7" fmla="*/ 501094 h 505330"/>
              <a:gd name="connsiteX8" fmla="*/ 712902 w 5487431"/>
              <a:gd name="connsiteY8" fmla="*/ 321634 h 505330"/>
              <a:gd name="connsiteX9" fmla="*/ 542692 w 5487431"/>
              <a:gd name="connsiteY9" fmla="*/ 142174 h 505330"/>
              <a:gd name="connsiteX10" fmla="*/ 1303641 w 5487431"/>
              <a:gd name="connsiteY10" fmla="*/ 142174 h 505330"/>
              <a:gd name="connsiteX11" fmla="*/ 1207357 w 5487431"/>
              <a:gd name="connsiteY11" fmla="*/ 192547 h 505330"/>
              <a:gd name="connsiteX12" fmla="*/ 1203170 w 5487431"/>
              <a:gd name="connsiteY12" fmla="*/ 192547 h 505330"/>
              <a:gd name="connsiteX13" fmla="*/ 1203170 w 5487431"/>
              <a:gd name="connsiteY13" fmla="*/ 149048 h 505330"/>
              <a:gd name="connsiteX14" fmla="*/ 1120872 w 5487431"/>
              <a:gd name="connsiteY14" fmla="*/ 149048 h 505330"/>
              <a:gd name="connsiteX15" fmla="*/ 1120872 w 5487431"/>
              <a:gd name="connsiteY15" fmla="*/ 494221 h 505330"/>
              <a:gd name="connsiteX16" fmla="*/ 1203170 w 5487431"/>
              <a:gd name="connsiteY16" fmla="*/ 494221 h 505330"/>
              <a:gd name="connsiteX17" fmla="*/ 1203170 w 5487431"/>
              <a:gd name="connsiteY17" fmla="*/ 271261 h 505330"/>
              <a:gd name="connsiteX18" fmla="*/ 1272244 w 5487431"/>
              <a:gd name="connsiteY18" fmla="*/ 190476 h 505330"/>
              <a:gd name="connsiteX19" fmla="*/ 1331518 w 5487431"/>
              <a:gd name="connsiteY19" fmla="*/ 258173 h 505330"/>
              <a:gd name="connsiteX20" fmla="*/ 1331518 w 5487431"/>
              <a:gd name="connsiteY20" fmla="*/ 494221 h 505330"/>
              <a:gd name="connsiteX21" fmla="*/ 1413816 w 5487431"/>
              <a:gd name="connsiteY21" fmla="*/ 494221 h 505330"/>
              <a:gd name="connsiteX22" fmla="*/ 1413816 w 5487431"/>
              <a:gd name="connsiteY22" fmla="*/ 257420 h 505330"/>
              <a:gd name="connsiteX23" fmla="*/ 1303641 w 5487431"/>
              <a:gd name="connsiteY23" fmla="*/ 142174 h 505330"/>
              <a:gd name="connsiteX24" fmla="*/ 1600771 w 5487431"/>
              <a:gd name="connsiteY24" fmla="*/ 142174 h 505330"/>
              <a:gd name="connsiteX25" fmla="*/ 1467571 w 5487431"/>
              <a:gd name="connsiteY25" fmla="*/ 241602 h 505330"/>
              <a:gd name="connsiteX26" fmla="*/ 1551962 w 5487431"/>
              <a:gd name="connsiteY26" fmla="*/ 341030 h 505330"/>
              <a:gd name="connsiteX27" fmla="*/ 1621702 w 5487431"/>
              <a:gd name="connsiteY27" fmla="*/ 358260 h 505330"/>
              <a:gd name="connsiteX28" fmla="*/ 1675457 w 5487431"/>
              <a:gd name="connsiteY28" fmla="*/ 409387 h 505330"/>
              <a:gd name="connsiteX29" fmla="*/ 1606384 w 5487431"/>
              <a:gd name="connsiteY29" fmla="*/ 464656 h 505330"/>
              <a:gd name="connsiteX30" fmla="*/ 1526845 w 5487431"/>
              <a:gd name="connsiteY30" fmla="*/ 384624 h 505330"/>
              <a:gd name="connsiteX31" fmla="*/ 1452919 w 5487431"/>
              <a:gd name="connsiteY31" fmla="*/ 405338 h 505330"/>
              <a:gd name="connsiteX32" fmla="*/ 1597345 w 5487431"/>
              <a:gd name="connsiteY32" fmla="*/ 501282 h 505330"/>
              <a:gd name="connsiteX33" fmla="*/ 1742438 w 5487431"/>
              <a:gd name="connsiteY33" fmla="*/ 388767 h 505330"/>
              <a:gd name="connsiteX34" fmla="*/ 1649674 w 5487431"/>
              <a:gd name="connsiteY34" fmla="*/ 285196 h 505330"/>
              <a:gd name="connsiteX35" fmla="*/ 1582693 w 5487431"/>
              <a:gd name="connsiteY35" fmla="*/ 268625 h 505330"/>
              <a:gd name="connsiteX36" fmla="*/ 1534551 w 5487431"/>
              <a:gd name="connsiteY36" fmla="*/ 223054 h 505330"/>
              <a:gd name="connsiteX37" fmla="*/ 1593825 w 5487431"/>
              <a:gd name="connsiteY37" fmla="*/ 178895 h 505330"/>
              <a:gd name="connsiteX38" fmla="*/ 1664992 w 5487431"/>
              <a:gd name="connsiteY38" fmla="*/ 245180 h 505330"/>
              <a:gd name="connsiteX39" fmla="*/ 1734731 w 5487431"/>
              <a:gd name="connsiteY39" fmla="*/ 224466 h 505330"/>
              <a:gd name="connsiteX40" fmla="*/ 1600771 w 5487431"/>
              <a:gd name="connsiteY40" fmla="*/ 142174 h 505330"/>
              <a:gd name="connsiteX41" fmla="*/ 1946803 w 5487431"/>
              <a:gd name="connsiteY41" fmla="*/ 463149 h 505330"/>
              <a:gd name="connsiteX42" fmla="*/ 1863078 w 5487431"/>
              <a:gd name="connsiteY42" fmla="*/ 321634 h 505330"/>
              <a:gd name="connsiteX43" fmla="*/ 1946803 w 5487431"/>
              <a:gd name="connsiteY43" fmla="*/ 180119 h 505330"/>
              <a:gd name="connsiteX44" fmla="*/ 2030529 w 5487431"/>
              <a:gd name="connsiteY44" fmla="*/ 321634 h 505330"/>
              <a:gd name="connsiteX45" fmla="*/ 1946803 w 5487431"/>
              <a:gd name="connsiteY45" fmla="*/ 463149 h 505330"/>
              <a:gd name="connsiteX46" fmla="*/ 1946803 w 5487431"/>
              <a:gd name="connsiteY46" fmla="*/ 142174 h 505330"/>
              <a:gd name="connsiteX47" fmla="*/ 1776594 w 5487431"/>
              <a:gd name="connsiteY47" fmla="*/ 321634 h 505330"/>
              <a:gd name="connsiteX48" fmla="*/ 1946803 w 5487431"/>
              <a:gd name="connsiteY48" fmla="*/ 501094 h 505330"/>
              <a:gd name="connsiteX49" fmla="*/ 2117013 w 5487431"/>
              <a:gd name="connsiteY49" fmla="*/ 321634 h 505330"/>
              <a:gd name="connsiteX50" fmla="*/ 1946803 w 5487431"/>
              <a:gd name="connsiteY50" fmla="*/ 142174 h 505330"/>
              <a:gd name="connsiteX51" fmla="*/ 2348590 w 5487431"/>
              <a:gd name="connsiteY51" fmla="*/ 142174 h 505330"/>
              <a:gd name="connsiteX52" fmla="*/ 2252306 w 5487431"/>
              <a:gd name="connsiteY52" fmla="*/ 192547 h 505330"/>
              <a:gd name="connsiteX53" fmla="*/ 2248119 w 5487431"/>
              <a:gd name="connsiteY53" fmla="*/ 192547 h 505330"/>
              <a:gd name="connsiteX54" fmla="*/ 2248119 w 5487431"/>
              <a:gd name="connsiteY54" fmla="*/ 149048 h 505330"/>
              <a:gd name="connsiteX55" fmla="*/ 2165821 w 5487431"/>
              <a:gd name="connsiteY55" fmla="*/ 149048 h 505330"/>
              <a:gd name="connsiteX56" fmla="*/ 2165821 w 5487431"/>
              <a:gd name="connsiteY56" fmla="*/ 494221 h 505330"/>
              <a:gd name="connsiteX57" fmla="*/ 2248119 w 5487431"/>
              <a:gd name="connsiteY57" fmla="*/ 494221 h 505330"/>
              <a:gd name="connsiteX58" fmla="*/ 2248119 w 5487431"/>
              <a:gd name="connsiteY58" fmla="*/ 271261 h 505330"/>
              <a:gd name="connsiteX59" fmla="*/ 2317193 w 5487431"/>
              <a:gd name="connsiteY59" fmla="*/ 190476 h 505330"/>
              <a:gd name="connsiteX60" fmla="*/ 2376466 w 5487431"/>
              <a:gd name="connsiteY60" fmla="*/ 258173 h 505330"/>
              <a:gd name="connsiteX61" fmla="*/ 2376466 w 5487431"/>
              <a:gd name="connsiteY61" fmla="*/ 494221 h 505330"/>
              <a:gd name="connsiteX62" fmla="*/ 2458764 w 5487431"/>
              <a:gd name="connsiteY62" fmla="*/ 494221 h 505330"/>
              <a:gd name="connsiteX63" fmla="*/ 2458764 w 5487431"/>
              <a:gd name="connsiteY63" fmla="*/ 257420 h 505330"/>
              <a:gd name="connsiteX64" fmla="*/ 2348590 w 5487431"/>
              <a:gd name="connsiteY64" fmla="*/ 142174 h 505330"/>
              <a:gd name="connsiteX65" fmla="*/ 3571359 w 5487431"/>
              <a:gd name="connsiteY65" fmla="*/ 463149 h 505330"/>
              <a:gd name="connsiteX66" fmla="*/ 3487634 w 5487431"/>
              <a:gd name="connsiteY66" fmla="*/ 321634 h 505330"/>
              <a:gd name="connsiteX67" fmla="*/ 3571359 w 5487431"/>
              <a:gd name="connsiteY67" fmla="*/ 180119 h 505330"/>
              <a:gd name="connsiteX68" fmla="*/ 3655085 w 5487431"/>
              <a:gd name="connsiteY68" fmla="*/ 321634 h 505330"/>
              <a:gd name="connsiteX69" fmla="*/ 3571359 w 5487431"/>
              <a:gd name="connsiteY69" fmla="*/ 463149 h 505330"/>
              <a:gd name="connsiteX70" fmla="*/ 3571359 w 5487431"/>
              <a:gd name="connsiteY70" fmla="*/ 142174 h 505330"/>
              <a:gd name="connsiteX71" fmla="*/ 3401150 w 5487431"/>
              <a:gd name="connsiteY71" fmla="*/ 321634 h 505330"/>
              <a:gd name="connsiteX72" fmla="*/ 3571359 w 5487431"/>
              <a:gd name="connsiteY72" fmla="*/ 501094 h 505330"/>
              <a:gd name="connsiteX73" fmla="*/ 3741569 w 5487431"/>
              <a:gd name="connsiteY73" fmla="*/ 321634 h 505330"/>
              <a:gd name="connsiteX74" fmla="*/ 3571359 w 5487431"/>
              <a:gd name="connsiteY74" fmla="*/ 142174 h 505330"/>
              <a:gd name="connsiteX75" fmla="*/ 4332308 w 5487431"/>
              <a:gd name="connsiteY75" fmla="*/ 142174 h 505330"/>
              <a:gd name="connsiteX76" fmla="*/ 4236024 w 5487431"/>
              <a:gd name="connsiteY76" fmla="*/ 192547 h 505330"/>
              <a:gd name="connsiteX77" fmla="*/ 4231838 w 5487431"/>
              <a:gd name="connsiteY77" fmla="*/ 192547 h 505330"/>
              <a:gd name="connsiteX78" fmla="*/ 4231838 w 5487431"/>
              <a:gd name="connsiteY78" fmla="*/ 149048 h 505330"/>
              <a:gd name="connsiteX79" fmla="*/ 4149539 w 5487431"/>
              <a:gd name="connsiteY79" fmla="*/ 149048 h 505330"/>
              <a:gd name="connsiteX80" fmla="*/ 4149539 w 5487431"/>
              <a:gd name="connsiteY80" fmla="*/ 494221 h 505330"/>
              <a:gd name="connsiteX81" fmla="*/ 4231838 w 5487431"/>
              <a:gd name="connsiteY81" fmla="*/ 494221 h 505330"/>
              <a:gd name="connsiteX82" fmla="*/ 4231838 w 5487431"/>
              <a:gd name="connsiteY82" fmla="*/ 271261 h 505330"/>
              <a:gd name="connsiteX83" fmla="*/ 4300911 w 5487431"/>
              <a:gd name="connsiteY83" fmla="*/ 190476 h 505330"/>
              <a:gd name="connsiteX84" fmla="*/ 4360185 w 5487431"/>
              <a:gd name="connsiteY84" fmla="*/ 258173 h 505330"/>
              <a:gd name="connsiteX85" fmla="*/ 4360185 w 5487431"/>
              <a:gd name="connsiteY85" fmla="*/ 494221 h 505330"/>
              <a:gd name="connsiteX86" fmla="*/ 4442483 w 5487431"/>
              <a:gd name="connsiteY86" fmla="*/ 494221 h 505330"/>
              <a:gd name="connsiteX87" fmla="*/ 4442483 w 5487431"/>
              <a:gd name="connsiteY87" fmla="*/ 257420 h 505330"/>
              <a:gd name="connsiteX88" fmla="*/ 4332308 w 5487431"/>
              <a:gd name="connsiteY88" fmla="*/ 142174 h 505330"/>
              <a:gd name="connsiteX89" fmla="*/ 4629533 w 5487431"/>
              <a:gd name="connsiteY89" fmla="*/ 142174 h 505330"/>
              <a:gd name="connsiteX90" fmla="*/ 4496334 w 5487431"/>
              <a:gd name="connsiteY90" fmla="*/ 241602 h 505330"/>
              <a:gd name="connsiteX91" fmla="*/ 4580725 w 5487431"/>
              <a:gd name="connsiteY91" fmla="*/ 341030 h 505330"/>
              <a:gd name="connsiteX92" fmla="*/ 4650464 w 5487431"/>
              <a:gd name="connsiteY92" fmla="*/ 358260 h 505330"/>
              <a:gd name="connsiteX93" fmla="*/ 4704220 w 5487431"/>
              <a:gd name="connsiteY93" fmla="*/ 409387 h 505330"/>
              <a:gd name="connsiteX94" fmla="*/ 4635146 w 5487431"/>
              <a:gd name="connsiteY94" fmla="*/ 464656 h 505330"/>
              <a:gd name="connsiteX95" fmla="*/ 4555607 w 5487431"/>
              <a:gd name="connsiteY95" fmla="*/ 384624 h 505330"/>
              <a:gd name="connsiteX96" fmla="*/ 4481682 w 5487431"/>
              <a:gd name="connsiteY96" fmla="*/ 405338 h 505330"/>
              <a:gd name="connsiteX97" fmla="*/ 4626108 w 5487431"/>
              <a:gd name="connsiteY97" fmla="*/ 501282 h 505330"/>
              <a:gd name="connsiteX98" fmla="*/ 4771200 w 5487431"/>
              <a:gd name="connsiteY98" fmla="*/ 388767 h 505330"/>
              <a:gd name="connsiteX99" fmla="*/ 4678436 w 5487431"/>
              <a:gd name="connsiteY99" fmla="*/ 285196 h 505330"/>
              <a:gd name="connsiteX100" fmla="*/ 4611456 w 5487431"/>
              <a:gd name="connsiteY100" fmla="*/ 268625 h 505330"/>
              <a:gd name="connsiteX101" fmla="*/ 4563314 w 5487431"/>
              <a:gd name="connsiteY101" fmla="*/ 223054 h 505330"/>
              <a:gd name="connsiteX102" fmla="*/ 4622588 w 5487431"/>
              <a:gd name="connsiteY102" fmla="*/ 178895 h 505330"/>
              <a:gd name="connsiteX103" fmla="*/ 4693754 w 5487431"/>
              <a:gd name="connsiteY103" fmla="*/ 245180 h 505330"/>
              <a:gd name="connsiteX104" fmla="*/ 4763493 w 5487431"/>
              <a:gd name="connsiteY104" fmla="*/ 224466 h 505330"/>
              <a:gd name="connsiteX105" fmla="*/ 4629533 w 5487431"/>
              <a:gd name="connsiteY105" fmla="*/ 142174 h 505330"/>
              <a:gd name="connsiteX106" fmla="*/ 4975471 w 5487431"/>
              <a:gd name="connsiteY106" fmla="*/ 463149 h 505330"/>
              <a:gd name="connsiteX107" fmla="*/ 4891745 w 5487431"/>
              <a:gd name="connsiteY107" fmla="*/ 321634 h 505330"/>
              <a:gd name="connsiteX108" fmla="*/ 4975471 w 5487431"/>
              <a:gd name="connsiteY108" fmla="*/ 180119 h 505330"/>
              <a:gd name="connsiteX109" fmla="*/ 5059196 w 5487431"/>
              <a:gd name="connsiteY109" fmla="*/ 321634 h 505330"/>
              <a:gd name="connsiteX110" fmla="*/ 4975471 w 5487431"/>
              <a:gd name="connsiteY110" fmla="*/ 463149 h 505330"/>
              <a:gd name="connsiteX111" fmla="*/ 4975471 w 5487431"/>
              <a:gd name="connsiteY111" fmla="*/ 142174 h 505330"/>
              <a:gd name="connsiteX112" fmla="*/ 4805261 w 5487431"/>
              <a:gd name="connsiteY112" fmla="*/ 321634 h 505330"/>
              <a:gd name="connsiteX113" fmla="*/ 4975471 w 5487431"/>
              <a:gd name="connsiteY113" fmla="*/ 501094 h 505330"/>
              <a:gd name="connsiteX114" fmla="*/ 5145680 w 5487431"/>
              <a:gd name="connsiteY114" fmla="*/ 321634 h 505330"/>
              <a:gd name="connsiteX115" fmla="*/ 4975471 w 5487431"/>
              <a:gd name="connsiteY115" fmla="*/ 142174 h 505330"/>
              <a:gd name="connsiteX116" fmla="*/ 5377257 w 5487431"/>
              <a:gd name="connsiteY116" fmla="*/ 142174 h 505330"/>
              <a:gd name="connsiteX117" fmla="*/ 5280973 w 5487431"/>
              <a:gd name="connsiteY117" fmla="*/ 192547 h 505330"/>
              <a:gd name="connsiteX118" fmla="*/ 5276787 w 5487431"/>
              <a:gd name="connsiteY118" fmla="*/ 192547 h 505330"/>
              <a:gd name="connsiteX119" fmla="*/ 5276787 w 5487431"/>
              <a:gd name="connsiteY119" fmla="*/ 149048 h 505330"/>
              <a:gd name="connsiteX120" fmla="*/ 5194488 w 5487431"/>
              <a:gd name="connsiteY120" fmla="*/ 149048 h 505330"/>
              <a:gd name="connsiteX121" fmla="*/ 5194488 w 5487431"/>
              <a:gd name="connsiteY121" fmla="*/ 494221 h 505330"/>
              <a:gd name="connsiteX122" fmla="*/ 5276787 w 5487431"/>
              <a:gd name="connsiteY122" fmla="*/ 494221 h 505330"/>
              <a:gd name="connsiteX123" fmla="*/ 5276787 w 5487431"/>
              <a:gd name="connsiteY123" fmla="*/ 271261 h 505330"/>
              <a:gd name="connsiteX124" fmla="*/ 5345860 w 5487431"/>
              <a:gd name="connsiteY124" fmla="*/ 190476 h 505330"/>
              <a:gd name="connsiteX125" fmla="*/ 5405134 w 5487431"/>
              <a:gd name="connsiteY125" fmla="*/ 258173 h 505330"/>
              <a:gd name="connsiteX126" fmla="*/ 5405134 w 5487431"/>
              <a:gd name="connsiteY126" fmla="*/ 494221 h 505330"/>
              <a:gd name="connsiteX127" fmla="*/ 5487432 w 5487431"/>
              <a:gd name="connsiteY127" fmla="*/ 494221 h 505330"/>
              <a:gd name="connsiteX128" fmla="*/ 5487432 w 5487431"/>
              <a:gd name="connsiteY128" fmla="*/ 257420 h 505330"/>
              <a:gd name="connsiteX129" fmla="*/ 5377257 w 5487431"/>
              <a:gd name="connsiteY129" fmla="*/ 142174 h 505330"/>
              <a:gd name="connsiteX130" fmla="*/ 323674 w 5487431"/>
              <a:gd name="connsiteY130" fmla="*/ 11016 h 505330"/>
              <a:gd name="connsiteX131" fmla="*/ 237190 w 5487431"/>
              <a:gd name="connsiteY131" fmla="*/ 11016 h 505330"/>
              <a:gd name="connsiteX132" fmla="*/ 237190 w 5487431"/>
              <a:gd name="connsiteY132" fmla="*/ 367864 h 505330"/>
              <a:gd name="connsiteX133" fmla="*/ 161837 w 5487431"/>
              <a:gd name="connsiteY133" fmla="*/ 460325 h 505330"/>
              <a:gd name="connsiteX134" fmla="*/ 86484 w 5487431"/>
              <a:gd name="connsiteY134" fmla="*/ 360897 h 505330"/>
              <a:gd name="connsiteX135" fmla="*/ 86484 w 5487431"/>
              <a:gd name="connsiteY135" fmla="*/ 294612 h 505330"/>
              <a:gd name="connsiteX136" fmla="*/ 0 w 5487431"/>
              <a:gd name="connsiteY136" fmla="*/ 315985 h 505330"/>
              <a:gd name="connsiteX137" fmla="*/ 0 w 5487431"/>
              <a:gd name="connsiteY137" fmla="*/ 345644 h 505330"/>
              <a:gd name="connsiteX138" fmla="*/ 161837 w 5487431"/>
              <a:gd name="connsiteY138" fmla="*/ 505143 h 505330"/>
              <a:gd name="connsiteX139" fmla="*/ 323674 w 5487431"/>
              <a:gd name="connsiteY139" fmla="*/ 345644 h 505330"/>
              <a:gd name="connsiteX140" fmla="*/ 323674 w 5487431"/>
              <a:gd name="connsiteY140" fmla="*/ 11016 h 505330"/>
              <a:gd name="connsiteX141" fmla="*/ 844008 w 5487431"/>
              <a:gd name="connsiteY141" fmla="*/ 11016 h 505330"/>
              <a:gd name="connsiteX142" fmla="*/ 761710 w 5487431"/>
              <a:gd name="connsiteY142" fmla="*/ 11016 h 505330"/>
              <a:gd name="connsiteX143" fmla="*/ 761710 w 5487431"/>
              <a:gd name="connsiteY143" fmla="*/ 494221 h 505330"/>
              <a:gd name="connsiteX144" fmla="*/ 844008 w 5487431"/>
              <a:gd name="connsiteY144" fmla="*/ 494221 h 505330"/>
              <a:gd name="connsiteX145" fmla="*/ 844008 w 5487431"/>
              <a:gd name="connsiteY145" fmla="*/ 271261 h 505330"/>
              <a:gd name="connsiteX146" fmla="*/ 913081 w 5487431"/>
              <a:gd name="connsiteY146" fmla="*/ 190476 h 505330"/>
              <a:gd name="connsiteX147" fmla="*/ 972355 w 5487431"/>
              <a:gd name="connsiteY147" fmla="*/ 258173 h 505330"/>
              <a:gd name="connsiteX148" fmla="*/ 972355 w 5487431"/>
              <a:gd name="connsiteY148" fmla="*/ 494221 h 505330"/>
              <a:gd name="connsiteX149" fmla="*/ 1054653 w 5487431"/>
              <a:gd name="connsiteY149" fmla="*/ 494221 h 505330"/>
              <a:gd name="connsiteX150" fmla="*/ 1054653 w 5487431"/>
              <a:gd name="connsiteY150" fmla="*/ 257420 h 505330"/>
              <a:gd name="connsiteX151" fmla="*/ 944478 w 5487431"/>
              <a:gd name="connsiteY151" fmla="*/ 142174 h 505330"/>
              <a:gd name="connsiteX152" fmla="*/ 848194 w 5487431"/>
              <a:gd name="connsiteY152" fmla="*/ 192547 h 505330"/>
              <a:gd name="connsiteX153" fmla="*/ 844008 w 5487431"/>
              <a:gd name="connsiteY153" fmla="*/ 192547 h 505330"/>
              <a:gd name="connsiteX154" fmla="*/ 844008 w 5487431"/>
              <a:gd name="connsiteY154" fmla="*/ 11016 h 505330"/>
              <a:gd name="connsiteX155" fmla="*/ 3352342 w 5487431"/>
              <a:gd name="connsiteY155" fmla="*/ 11016 h 505330"/>
              <a:gd name="connsiteX156" fmla="*/ 3265857 w 5487431"/>
              <a:gd name="connsiteY156" fmla="*/ 11016 h 505330"/>
              <a:gd name="connsiteX157" fmla="*/ 3265857 w 5487431"/>
              <a:gd name="connsiteY157" fmla="*/ 367864 h 505330"/>
              <a:gd name="connsiteX158" fmla="*/ 3190504 w 5487431"/>
              <a:gd name="connsiteY158" fmla="*/ 460325 h 505330"/>
              <a:gd name="connsiteX159" fmla="*/ 3115152 w 5487431"/>
              <a:gd name="connsiteY159" fmla="*/ 360897 h 505330"/>
              <a:gd name="connsiteX160" fmla="*/ 3115152 w 5487431"/>
              <a:gd name="connsiteY160" fmla="*/ 294612 h 505330"/>
              <a:gd name="connsiteX161" fmla="*/ 3028667 w 5487431"/>
              <a:gd name="connsiteY161" fmla="*/ 315985 h 505330"/>
              <a:gd name="connsiteX162" fmla="*/ 3028667 w 5487431"/>
              <a:gd name="connsiteY162" fmla="*/ 345644 h 505330"/>
              <a:gd name="connsiteX163" fmla="*/ 3190504 w 5487431"/>
              <a:gd name="connsiteY163" fmla="*/ 505143 h 505330"/>
              <a:gd name="connsiteX164" fmla="*/ 3352342 w 5487431"/>
              <a:gd name="connsiteY164" fmla="*/ 345644 h 505330"/>
              <a:gd name="connsiteX165" fmla="*/ 3352342 w 5487431"/>
              <a:gd name="connsiteY165" fmla="*/ 11016 h 505330"/>
              <a:gd name="connsiteX166" fmla="*/ 3872675 w 5487431"/>
              <a:gd name="connsiteY166" fmla="*/ 11016 h 505330"/>
              <a:gd name="connsiteX167" fmla="*/ 3790377 w 5487431"/>
              <a:gd name="connsiteY167" fmla="*/ 11016 h 505330"/>
              <a:gd name="connsiteX168" fmla="*/ 3790377 w 5487431"/>
              <a:gd name="connsiteY168" fmla="*/ 494221 h 505330"/>
              <a:gd name="connsiteX169" fmla="*/ 3872675 w 5487431"/>
              <a:gd name="connsiteY169" fmla="*/ 494221 h 505330"/>
              <a:gd name="connsiteX170" fmla="*/ 3872675 w 5487431"/>
              <a:gd name="connsiteY170" fmla="*/ 271261 h 505330"/>
              <a:gd name="connsiteX171" fmla="*/ 3941749 w 5487431"/>
              <a:gd name="connsiteY171" fmla="*/ 190476 h 505330"/>
              <a:gd name="connsiteX172" fmla="*/ 4001022 w 5487431"/>
              <a:gd name="connsiteY172" fmla="*/ 258173 h 505330"/>
              <a:gd name="connsiteX173" fmla="*/ 4001022 w 5487431"/>
              <a:gd name="connsiteY173" fmla="*/ 494221 h 505330"/>
              <a:gd name="connsiteX174" fmla="*/ 4083320 w 5487431"/>
              <a:gd name="connsiteY174" fmla="*/ 494221 h 505330"/>
              <a:gd name="connsiteX175" fmla="*/ 4083320 w 5487431"/>
              <a:gd name="connsiteY175" fmla="*/ 257420 h 505330"/>
              <a:gd name="connsiteX176" fmla="*/ 3973146 w 5487431"/>
              <a:gd name="connsiteY176" fmla="*/ 142174 h 505330"/>
              <a:gd name="connsiteX177" fmla="*/ 3876861 w 5487431"/>
              <a:gd name="connsiteY177" fmla="*/ 192547 h 505330"/>
              <a:gd name="connsiteX178" fmla="*/ 3872675 w 5487431"/>
              <a:gd name="connsiteY178" fmla="*/ 192547 h 505330"/>
              <a:gd name="connsiteX179" fmla="*/ 3872675 w 5487431"/>
              <a:gd name="connsiteY179" fmla="*/ 11016 h 505330"/>
              <a:gd name="connsiteX180" fmla="*/ 2730110 w 5487431"/>
              <a:gd name="connsiteY180" fmla="*/ 454864 h 505330"/>
              <a:gd name="connsiteX181" fmla="*/ 2622029 w 5487431"/>
              <a:gd name="connsiteY181" fmla="*/ 343761 h 505330"/>
              <a:gd name="connsiteX182" fmla="*/ 2664557 w 5487431"/>
              <a:gd name="connsiteY182" fmla="*/ 256102 h 505330"/>
              <a:gd name="connsiteX183" fmla="*/ 2822208 w 5487431"/>
              <a:gd name="connsiteY183" fmla="*/ 426617 h 505330"/>
              <a:gd name="connsiteX184" fmla="*/ 2730110 w 5487431"/>
              <a:gd name="connsiteY184" fmla="*/ 454864 h 505330"/>
              <a:gd name="connsiteX185" fmla="*/ 2883575 w 5487431"/>
              <a:gd name="connsiteY185" fmla="*/ 369936 h 505330"/>
              <a:gd name="connsiteX186" fmla="*/ 2746856 w 5487431"/>
              <a:gd name="connsiteY186" fmla="*/ 220794 h 505330"/>
              <a:gd name="connsiteX187" fmla="*/ 2814502 w 5487431"/>
              <a:gd name="connsiteY187" fmla="*/ 207706 h 505330"/>
              <a:gd name="connsiteX188" fmla="*/ 2905838 w 5487431"/>
              <a:gd name="connsiteY188" fmla="*/ 296118 h 505330"/>
              <a:gd name="connsiteX189" fmla="*/ 2883575 w 5487431"/>
              <a:gd name="connsiteY189" fmla="*/ 369936 h 505330"/>
              <a:gd name="connsiteX190" fmla="*/ 2728017 w 5487431"/>
              <a:gd name="connsiteY190" fmla="*/ 200833 h 505330"/>
              <a:gd name="connsiteX191" fmla="*/ 2698047 w 5487431"/>
              <a:gd name="connsiteY191" fmla="*/ 167690 h 505330"/>
              <a:gd name="connsiteX192" fmla="*/ 2663891 w 5487431"/>
              <a:gd name="connsiteY192" fmla="*/ 99334 h 505330"/>
              <a:gd name="connsiteX193" fmla="*/ 2730110 w 5487431"/>
              <a:gd name="connsiteY193" fmla="*/ 36532 h 505330"/>
              <a:gd name="connsiteX194" fmla="*/ 2795664 w 5487431"/>
              <a:gd name="connsiteY194" fmla="*/ 102817 h 505330"/>
              <a:gd name="connsiteX195" fmla="*/ 2728017 w 5487431"/>
              <a:gd name="connsiteY195" fmla="*/ 200833 h 505330"/>
              <a:gd name="connsiteX196" fmla="*/ 2732204 w 5487431"/>
              <a:gd name="connsiteY196" fmla="*/ 0 h 505330"/>
              <a:gd name="connsiteX197" fmla="*/ 2588539 w 5487431"/>
              <a:gd name="connsiteY197" fmla="*/ 119389 h 505330"/>
              <a:gd name="connsiteX198" fmla="*/ 2644387 w 5487431"/>
              <a:gd name="connsiteY198" fmla="*/ 234635 h 505330"/>
              <a:gd name="connsiteX199" fmla="*/ 2645053 w 5487431"/>
              <a:gd name="connsiteY199" fmla="*/ 236047 h 505330"/>
              <a:gd name="connsiteX200" fmla="*/ 2545344 w 5487431"/>
              <a:gd name="connsiteY200" fmla="*/ 374832 h 505330"/>
              <a:gd name="connsiteX201" fmla="*/ 2685584 w 5487431"/>
              <a:gd name="connsiteY201" fmla="*/ 505331 h 505330"/>
              <a:gd name="connsiteX202" fmla="*/ 2843235 w 5487431"/>
              <a:gd name="connsiteY202" fmla="*/ 449403 h 505330"/>
              <a:gd name="connsiteX203" fmla="*/ 2885097 w 5487431"/>
              <a:gd name="connsiteY203" fmla="*/ 494315 h 505330"/>
              <a:gd name="connsiteX204" fmla="*/ 2994606 w 5487431"/>
              <a:gd name="connsiteY204" fmla="*/ 494315 h 505330"/>
              <a:gd name="connsiteX205" fmla="*/ 2994606 w 5487431"/>
              <a:gd name="connsiteY205" fmla="*/ 490831 h 505330"/>
              <a:gd name="connsiteX206" fmla="*/ 2905363 w 5487431"/>
              <a:gd name="connsiteY206" fmla="*/ 393474 h 505330"/>
              <a:gd name="connsiteX207" fmla="*/ 2964637 w 5487431"/>
              <a:gd name="connsiteY207" fmla="*/ 258833 h 505330"/>
              <a:gd name="connsiteX208" fmla="*/ 2873300 w 5487431"/>
              <a:gd name="connsiteY208" fmla="*/ 171174 h 505330"/>
              <a:gd name="connsiteX209" fmla="*/ 2789574 w 5487431"/>
              <a:gd name="connsiteY209" fmla="*/ 187745 h 505330"/>
              <a:gd name="connsiteX210" fmla="*/ 2788147 w 5487431"/>
              <a:gd name="connsiteY210" fmla="*/ 185015 h 505330"/>
              <a:gd name="connsiteX211" fmla="*/ 2863500 w 5487431"/>
              <a:gd name="connsiteY211" fmla="*/ 93873 h 505330"/>
              <a:gd name="connsiteX212" fmla="*/ 2732204 w 5487431"/>
              <a:gd name="connsiteY212" fmla="*/ 0 h 50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5487431" h="505330">
                <a:moveTo>
                  <a:pt x="542692" y="463149"/>
                </a:moveTo>
                <a:cubicBezTo>
                  <a:pt x="488937" y="463149"/>
                  <a:pt x="458967" y="412776"/>
                  <a:pt x="458967" y="321634"/>
                </a:cubicBezTo>
                <a:cubicBezTo>
                  <a:pt x="458967" y="229080"/>
                  <a:pt x="488937" y="180119"/>
                  <a:pt x="542692" y="180119"/>
                </a:cubicBezTo>
                <a:cubicBezTo>
                  <a:pt x="596448" y="180119"/>
                  <a:pt x="626417" y="229833"/>
                  <a:pt x="626417" y="321634"/>
                </a:cubicBezTo>
                <a:cubicBezTo>
                  <a:pt x="626322" y="414189"/>
                  <a:pt x="596352" y="463149"/>
                  <a:pt x="542692" y="463149"/>
                </a:cubicBezTo>
                <a:moveTo>
                  <a:pt x="542692" y="142174"/>
                </a:moveTo>
                <a:cubicBezTo>
                  <a:pt x="433183" y="142174"/>
                  <a:pt x="372482" y="222959"/>
                  <a:pt x="372482" y="321634"/>
                </a:cubicBezTo>
                <a:cubicBezTo>
                  <a:pt x="372482" y="420309"/>
                  <a:pt x="433183" y="501094"/>
                  <a:pt x="542692" y="501094"/>
                </a:cubicBezTo>
                <a:cubicBezTo>
                  <a:pt x="652201" y="501094"/>
                  <a:pt x="712902" y="420309"/>
                  <a:pt x="712902" y="321634"/>
                </a:cubicBezTo>
                <a:cubicBezTo>
                  <a:pt x="712902" y="222959"/>
                  <a:pt x="652201" y="142174"/>
                  <a:pt x="542692" y="142174"/>
                </a:cubicBezTo>
                <a:moveTo>
                  <a:pt x="1303641" y="142174"/>
                </a:moveTo>
                <a:cubicBezTo>
                  <a:pt x="1251979" y="142174"/>
                  <a:pt x="1223436" y="164301"/>
                  <a:pt x="1207357" y="192547"/>
                </a:cubicBezTo>
                <a:lnTo>
                  <a:pt x="1203170" y="192547"/>
                </a:lnTo>
                <a:lnTo>
                  <a:pt x="1203170" y="149048"/>
                </a:lnTo>
                <a:lnTo>
                  <a:pt x="1120872" y="149048"/>
                </a:lnTo>
                <a:lnTo>
                  <a:pt x="1120872" y="494221"/>
                </a:lnTo>
                <a:lnTo>
                  <a:pt x="1203170" y="494221"/>
                </a:lnTo>
                <a:lnTo>
                  <a:pt x="1203170" y="271261"/>
                </a:lnTo>
                <a:cubicBezTo>
                  <a:pt x="1203170" y="220229"/>
                  <a:pt x="1229715" y="190476"/>
                  <a:pt x="1272244" y="190476"/>
                </a:cubicBezTo>
                <a:cubicBezTo>
                  <a:pt x="1313440" y="190476"/>
                  <a:pt x="1331518" y="217404"/>
                  <a:pt x="1331518" y="258173"/>
                </a:cubicBezTo>
                <a:lnTo>
                  <a:pt x="1331518" y="494221"/>
                </a:lnTo>
                <a:lnTo>
                  <a:pt x="1413816" y="494221"/>
                </a:lnTo>
                <a:lnTo>
                  <a:pt x="1413816" y="257420"/>
                </a:lnTo>
                <a:cubicBezTo>
                  <a:pt x="1413911" y="186333"/>
                  <a:pt x="1376234" y="142174"/>
                  <a:pt x="1303641" y="142174"/>
                </a:cubicBezTo>
                <a:moveTo>
                  <a:pt x="1600771" y="142174"/>
                </a:moveTo>
                <a:cubicBezTo>
                  <a:pt x="1524752" y="142174"/>
                  <a:pt x="1467571" y="173905"/>
                  <a:pt x="1467571" y="241602"/>
                </a:cubicBezTo>
                <a:cubicBezTo>
                  <a:pt x="1467571" y="298943"/>
                  <a:pt x="1507341" y="330014"/>
                  <a:pt x="1551962" y="341030"/>
                </a:cubicBezTo>
                <a:lnTo>
                  <a:pt x="1621702" y="358260"/>
                </a:lnTo>
                <a:cubicBezTo>
                  <a:pt x="1658712" y="367205"/>
                  <a:pt x="1675457" y="380387"/>
                  <a:pt x="1675457" y="409387"/>
                </a:cubicBezTo>
                <a:cubicBezTo>
                  <a:pt x="1675457" y="444601"/>
                  <a:pt x="1650340" y="464656"/>
                  <a:pt x="1606384" y="464656"/>
                </a:cubicBezTo>
                <a:cubicBezTo>
                  <a:pt x="1558908" y="464656"/>
                  <a:pt x="1534551" y="441870"/>
                  <a:pt x="1526845" y="384624"/>
                </a:cubicBezTo>
                <a:lnTo>
                  <a:pt x="1452919" y="405338"/>
                </a:lnTo>
                <a:cubicBezTo>
                  <a:pt x="1457106" y="464750"/>
                  <a:pt x="1512954" y="501282"/>
                  <a:pt x="1597345" y="501282"/>
                </a:cubicBezTo>
                <a:cubicBezTo>
                  <a:pt x="1691536" y="501282"/>
                  <a:pt x="1742438" y="457782"/>
                  <a:pt x="1742438" y="388767"/>
                </a:cubicBezTo>
                <a:cubicBezTo>
                  <a:pt x="1742438" y="323894"/>
                  <a:pt x="1697055" y="296965"/>
                  <a:pt x="1649674" y="285196"/>
                </a:cubicBezTo>
                <a:lnTo>
                  <a:pt x="1582693" y="268625"/>
                </a:lnTo>
                <a:cubicBezTo>
                  <a:pt x="1549203" y="260339"/>
                  <a:pt x="1534551" y="245180"/>
                  <a:pt x="1534551" y="223054"/>
                </a:cubicBezTo>
                <a:cubicBezTo>
                  <a:pt x="1534551" y="195466"/>
                  <a:pt x="1558242" y="178895"/>
                  <a:pt x="1593825" y="178895"/>
                </a:cubicBezTo>
                <a:cubicBezTo>
                  <a:pt x="1635688" y="178895"/>
                  <a:pt x="1661471" y="201680"/>
                  <a:pt x="1664992" y="245180"/>
                </a:cubicBezTo>
                <a:lnTo>
                  <a:pt x="1734731" y="224466"/>
                </a:lnTo>
                <a:cubicBezTo>
                  <a:pt x="1726358" y="175976"/>
                  <a:pt x="1678216" y="142174"/>
                  <a:pt x="1600771" y="142174"/>
                </a:cubicBezTo>
                <a:moveTo>
                  <a:pt x="1946803" y="463149"/>
                </a:moveTo>
                <a:cubicBezTo>
                  <a:pt x="1893048" y="463149"/>
                  <a:pt x="1863078" y="412776"/>
                  <a:pt x="1863078" y="321634"/>
                </a:cubicBezTo>
                <a:cubicBezTo>
                  <a:pt x="1863078" y="229080"/>
                  <a:pt x="1893048" y="180119"/>
                  <a:pt x="1946803" y="180119"/>
                </a:cubicBezTo>
                <a:cubicBezTo>
                  <a:pt x="2000559" y="180119"/>
                  <a:pt x="2030529" y="229833"/>
                  <a:pt x="2030529" y="321634"/>
                </a:cubicBezTo>
                <a:cubicBezTo>
                  <a:pt x="2030529" y="414189"/>
                  <a:pt x="2000464" y="463149"/>
                  <a:pt x="1946803" y="463149"/>
                </a:cubicBezTo>
                <a:moveTo>
                  <a:pt x="1946803" y="142174"/>
                </a:moveTo>
                <a:cubicBezTo>
                  <a:pt x="1837294" y="142174"/>
                  <a:pt x="1776594" y="222959"/>
                  <a:pt x="1776594" y="321634"/>
                </a:cubicBezTo>
                <a:cubicBezTo>
                  <a:pt x="1776594" y="420309"/>
                  <a:pt x="1837294" y="501094"/>
                  <a:pt x="1946803" y="501094"/>
                </a:cubicBezTo>
                <a:cubicBezTo>
                  <a:pt x="2056312" y="501094"/>
                  <a:pt x="2117013" y="420309"/>
                  <a:pt x="2117013" y="321634"/>
                </a:cubicBezTo>
                <a:cubicBezTo>
                  <a:pt x="2117013" y="222959"/>
                  <a:pt x="2056312" y="142174"/>
                  <a:pt x="1946803" y="142174"/>
                </a:cubicBezTo>
                <a:moveTo>
                  <a:pt x="2348590" y="142174"/>
                </a:moveTo>
                <a:cubicBezTo>
                  <a:pt x="2296927" y="142174"/>
                  <a:pt x="2268385" y="164301"/>
                  <a:pt x="2252306" y="192547"/>
                </a:cubicBezTo>
                <a:lnTo>
                  <a:pt x="2248119" y="192547"/>
                </a:lnTo>
                <a:lnTo>
                  <a:pt x="2248119" y="149048"/>
                </a:lnTo>
                <a:lnTo>
                  <a:pt x="2165821" y="149048"/>
                </a:lnTo>
                <a:lnTo>
                  <a:pt x="2165821" y="494221"/>
                </a:lnTo>
                <a:lnTo>
                  <a:pt x="2248119" y="494221"/>
                </a:lnTo>
                <a:lnTo>
                  <a:pt x="2248119" y="271261"/>
                </a:lnTo>
                <a:cubicBezTo>
                  <a:pt x="2248119" y="220229"/>
                  <a:pt x="2274664" y="190476"/>
                  <a:pt x="2317193" y="190476"/>
                </a:cubicBezTo>
                <a:cubicBezTo>
                  <a:pt x="2358389" y="190476"/>
                  <a:pt x="2376466" y="217404"/>
                  <a:pt x="2376466" y="258173"/>
                </a:cubicBezTo>
                <a:lnTo>
                  <a:pt x="2376466" y="494221"/>
                </a:lnTo>
                <a:lnTo>
                  <a:pt x="2458764" y="494221"/>
                </a:lnTo>
                <a:lnTo>
                  <a:pt x="2458764" y="257420"/>
                </a:lnTo>
                <a:cubicBezTo>
                  <a:pt x="2458764" y="186333"/>
                  <a:pt x="2421088" y="142174"/>
                  <a:pt x="2348590" y="142174"/>
                </a:cubicBezTo>
                <a:moveTo>
                  <a:pt x="3571359" y="463149"/>
                </a:moveTo>
                <a:cubicBezTo>
                  <a:pt x="3517604" y="463149"/>
                  <a:pt x="3487634" y="412776"/>
                  <a:pt x="3487634" y="321634"/>
                </a:cubicBezTo>
                <a:cubicBezTo>
                  <a:pt x="3487634" y="229080"/>
                  <a:pt x="3517604" y="180119"/>
                  <a:pt x="3571359" y="180119"/>
                </a:cubicBezTo>
                <a:cubicBezTo>
                  <a:pt x="3625115" y="180119"/>
                  <a:pt x="3655085" y="229833"/>
                  <a:pt x="3655085" y="321634"/>
                </a:cubicBezTo>
                <a:cubicBezTo>
                  <a:pt x="3655085" y="414189"/>
                  <a:pt x="3625020" y="463149"/>
                  <a:pt x="3571359" y="463149"/>
                </a:cubicBezTo>
                <a:moveTo>
                  <a:pt x="3571359" y="142174"/>
                </a:moveTo>
                <a:cubicBezTo>
                  <a:pt x="3461850" y="142174"/>
                  <a:pt x="3401150" y="222959"/>
                  <a:pt x="3401150" y="321634"/>
                </a:cubicBezTo>
                <a:cubicBezTo>
                  <a:pt x="3401150" y="420309"/>
                  <a:pt x="3461850" y="501094"/>
                  <a:pt x="3571359" y="501094"/>
                </a:cubicBezTo>
                <a:cubicBezTo>
                  <a:pt x="3680868" y="501094"/>
                  <a:pt x="3741569" y="420309"/>
                  <a:pt x="3741569" y="321634"/>
                </a:cubicBezTo>
                <a:cubicBezTo>
                  <a:pt x="3741569" y="222959"/>
                  <a:pt x="3680868" y="142174"/>
                  <a:pt x="3571359" y="142174"/>
                </a:cubicBezTo>
                <a:moveTo>
                  <a:pt x="4332308" y="142174"/>
                </a:moveTo>
                <a:cubicBezTo>
                  <a:pt x="4280646" y="142174"/>
                  <a:pt x="4252103" y="164301"/>
                  <a:pt x="4236024" y="192547"/>
                </a:cubicBezTo>
                <a:lnTo>
                  <a:pt x="4231838" y="192547"/>
                </a:lnTo>
                <a:lnTo>
                  <a:pt x="4231838" y="149048"/>
                </a:lnTo>
                <a:lnTo>
                  <a:pt x="4149539" y="149048"/>
                </a:lnTo>
                <a:lnTo>
                  <a:pt x="4149539" y="494221"/>
                </a:lnTo>
                <a:lnTo>
                  <a:pt x="4231838" y="494221"/>
                </a:lnTo>
                <a:lnTo>
                  <a:pt x="4231838" y="271261"/>
                </a:lnTo>
                <a:cubicBezTo>
                  <a:pt x="4231838" y="220229"/>
                  <a:pt x="4258383" y="190476"/>
                  <a:pt x="4300911" y="190476"/>
                </a:cubicBezTo>
                <a:cubicBezTo>
                  <a:pt x="4342108" y="190476"/>
                  <a:pt x="4360185" y="217404"/>
                  <a:pt x="4360185" y="258173"/>
                </a:cubicBezTo>
                <a:lnTo>
                  <a:pt x="4360185" y="494221"/>
                </a:lnTo>
                <a:lnTo>
                  <a:pt x="4442483" y="494221"/>
                </a:lnTo>
                <a:lnTo>
                  <a:pt x="4442483" y="257420"/>
                </a:lnTo>
                <a:cubicBezTo>
                  <a:pt x="4442578" y="186333"/>
                  <a:pt x="4404902" y="142174"/>
                  <a:pt x="4332308" y="142174"/>
                </a:cubicBezTo>
                <a:moveTo>
                  <a:pt x="4629533" y="142174"/>
                </a:moveTo>
                <a:cubicBezTo>
                  <a:pt x="4553514" y="142174"/>
                  <a:pt x="4496334" y="173905"/>
                  <a:pt x="4496334" y="241602"/>
                </a:cubicBezTo>
                <a:cubicBezTo>
                  <a:pt x="4496334" y="298943"/>
                  <a:pt x="4536103" y="330014"/>
                  <a:pt x="4580725" y="341030"/>
                </a:cubicBezTo>
                <a:lnTo>
                  <a:pt x="4650464" y="358260"/>
                </a:lnTo>
                <a:cubicBezTo>
                  <a:pt x="4687475" y="367205"/>
                  <a:pt x="4704220" y="380387"/>
                  <a:pt x="4704220" y="409387"/>
                </a:cubicBezTo>
                <a:cubicBezTo>
                  <a:pt x="4704220" y="444601"/>
                  <a:pt x="4679102" y="464656"/>
                  <a:pt x="4635146" y="464656"/>
                </a:cubicBezTo>
                <a:cubicBezTo>
                  <a:pt x="4587670" y="464656"/>
                  <a:pt x="4563314" y="441870"/>
                  <a:pt x="4555607" y="384624"/>
                </a:cubicBezTo>
                <a:lnTo>
                  <a:pt x="4481682" y="405338"/>
                </a:lnTo>
                <a:cubicBezTo>
                  <a:pt x="4485868" y="464750"/>
                  <a:pt x="4541716" y="501282"/>
                  <a:pt x="4626108" y="501282"/>
                </a:cubicBezTo>
                <a:cubicBezTo>
                  <a:pt x="4720299" y="501282"/>
                  <a:pt x="4771200" y="457782"/>
                  <a:pt x="4771200" y="388767"/>
                </a:cubicBezTo>
                <a:cubicBezTo>
                  <a:pt x="4771200" y="323894"/>
                  <a:pt x="4725817" y="296965"/>
                  <a:pt x="4678436" y="285196"/>
                </a:cubicBezTo>
                <a:lnTo>
                  <a:pt x="4611456" y="268625"/>
                </a:lnTo>
                <a:cubicBezTo>
                  <a:pt x="4577966" y="260339"/>
                  <a:pt x="4563314" y="245180"/>
                  <a:pt x="4563314" y="223054"/>
                </a:cubicBezTo>
                <a:cubicBezTo>
                  <a:pt x="4563314" y="195466"/>
                  <a:pt x="4587004" y="178895"/>
                  <a:pt x="4622588" y="178895"/>
                </a:cubicBezTo>
                <a:cubicBezTo>
                  <a:pt x="4664450" y="178895"/>
                  <a:pt x="4690234" y="201680"/>
                  <a:pt x="4693754" y="245180"/>
                </a:cubicBezTo>
                <a:lnTo>
                  <a:pt x="4763493" y="224466"/>
                </a:lnTo>
                <a:cubicBezTo>
                  <a:pt x="4755026" y="175976"/>
                  <a:pt x="4706884" y="142174"/>
                  <a:pt x="4629533" y="142174"/>
                </a:cubicBezTo>
                <a:moveTo>
                  <a:pt x="4975471" y="463149"/>
                </a:moveTo>
                <a:cubicBezTo>
                  <a:pt x="4921715" y="463149"/>
                  <a:pt x="4891745" y="412776"/>
                  <a:pt x="4891745" y="321634"/>
                </a:cubicBezTo>
                <a:cubicBezTo>
                  <a:pt x="4891745" y="229080"/>
                  <a:pt x="4921715" y="180119"/>
                  <a:pt x="4975471" y="180119"/>
                </a:cubicBezTo>
                <a:cubicBezTo>
                  <a:pt x="5029226" y="180119"/>
                  <a:pt x="5059196" y="229833"/>
                  <a:pt x="5059196" y="321634"/>
                </a:cubicBezTo>
                <a:cubicBezTo>
                  <a:pt x="5059196" y="414189"/>
                  <a:pt x="5029131" y="463149"/>
                  <a:pt x="4975471" y="463149"/>
                </a:cubicBezTo>
                <a:moveTo>
                  <a:pt x="4975471" y="142174"/>
                </a:moveTo>
                <a:cubicBezTo>
                  <a:pt x="4865962" y="142174"/>
                  <a:pt x="4805261" y="222959"/>
                  <a:pt x="4805261" y="321634"/>
                </a:cubicBezTo>
                <a:cubicBezTo>
                  <a:pt x="4805261" y="420309"/>
                  <a:pt x="4865962" y="501094"/>
                  <a:pt x="4975471" y="501094"/>
                </a:cubicBezTo>
                <a:cubicBezTo>
                  <a:pt x="5084980" y="501094"/>
                  <a:pt x="5145680" y="420309"/>
                  <a:pt x="5145680" y="321634"/>
                </a:cubicBezTo>
                <a:cubicBezTo>
                  <a:pt x="5145680" y="222959"/>
                  <a:pt x="5084980" y="142174"/>
                  <a:pt x="4975471" y="142174"/>
                </a:cubicBezTo>
                <a:moveTo>
                  <a:pt x="5377257" y="142174"/>
                </a:moveTo>
                <a:cubicBezTo>
                  <a:pt x="5325595" y="142174"/>
                  <a:pt x="5297052" y="164301"/>
                  <a:pt x="5280973" y="192547"/>
                </a:cubicBezTo>
                <a:lnTo>
                  <a:pt x="5276787" y="192547"/>
                </a:lnTo>
                <a:lnTo>
                  <a:pt x="5276787" y="149048"/>
                </a:lnTo>
                <a:lnTo>
                  <a:pt x="5194488" y="149048"/>
                </a:lnTo>
                <a:lnTo>
                  <a:pt x="5194488" y="494221"/>
                </a:lnTo>
                <a:lnTo>
                  <a:pt x="5276787" y="494221"/>
                </a:lnTo>
                <a:lnTo>
                  <a:pt x="5276787" y="271261"/>
                </a:lnTo>
                <a:cubicBezTo>
                  <a:pt x="5276787" y="220229"/>
                  <a:pt x="5303331" y="190476"/>
                  <a:pt x="5345860" y="190476"/>
                </a:cubicBezTo>
                <a:cubicBezTo>
                  <a:pt x="5387057" y="190476"/>
                  <a:pt x="5405134" y="217404"/>
                  <a:pt x="5405134" y="258173"/>
                </a:cubicBezTo>
                <a:lnTo>
                  <a:pt x="5405134" y="494221"/>
                </a:lnTo>
                <a:lnTo>
                  <a:pt x="5487432" y="494221"/>
                </a:lnTo>
                <a:lnTo>
                  <a:pt x="5487432" y="257420"/>
                </a:lnTo>
                <a:cubicBezTo>
                  <a:pt x="5487432" y="186333"/>
                  <a:pt x="5449755" y="142174"/>
                  <a:pt x="5377257" y="142174"/>
                </a:cubicBezTo>
                <a:moveTo>
                  <a:pt x="323674" y="11016"/>
                </a:moveTo>
                <a:lnTo>
                  <a:pt x="237190" y="11016"/>
                </a:lnTo>
                <a:lnTo>
                  <a:pt x="237190" y="367864"/>
                </a:lnTo>
                <a:cubicBezTo>
                  <a:pt x="237190" y="425864"/>
                  <a:pt x="214831" y="460325"/>
                  <a:pt x="161837" y="460325"/>
                </a:cubicBezTo>
                <a:cubicBezTo>
                  <a:pt x="109509" y="460325"/>
                  <a:pt x="86484" y="423698"/>
                  <a:pt x="86484" y="360897"/>
                </a:cubicBezTo>
                <a:lnTo>
                  <a:pt x="86484" y="294612"/>
                </a:lnTo>
                <a:lnTo>
                  <a:pt x="0" y="315985"/>
                </a:lnTo>
                <a:lnTo>
                  <a:pt x="0" y="345644"/>
                </a:lnTo>
                <a:cubicBezTo>
                  <a:pt x="0" y="436033"/>
                  <a:pt x="45383" y="505143"/>
                  <a:pt x="161837" y="505143"/>
                </a:cubicBezTo>
                <a:cubicBezTo>
                  <a:pt x="278291" y="505143"/>
                  <a:pt x="323674" y="436127"/>
                  <a:pt x="323674" y="345644"/>
                </a:cubicBezTo>
                <a:lnTo>
                  <a:pt x="323674" y="11016"/>
                </a:lnTo>
                <a:moveTo>
                  <a:pt x="844008" y="11016"/>
                </a:moveTo>
                <a:lnTo>
                  <a:pt x="761710" y="11016"/>
                </a:lnTo>
                <a:lnTo>
                  <a:pt x="761710" y="494221"/>
                </a:lnTo>
                <a:lnTo>
                  <a:pt x="844008" y="494221"/>
                </a:lnTo>
                <a:lnTo>
                  <a:pt x="844008" y="271261"/>
                </a:lnTo>
                <a:cubicBezTo>
                  <a:pt x="844008" y="220229"/>
                  <a:pt x="870553" y="190476"/>
                  <a:pt x="913081" y="190476"/>
                </a:cubicBezTo>
                <a:cubicBezTo>
                  <a:pt x="954278" y="190476"/>
                  <a:pt x="972355" y="217404"/>
                  <a:pt x="972355" y="258173"/>
                </a:cubicBezTo>
                <a:lnTo>
                  <a:pt x="972355" y="494221"/>
                </a:lnTo>
                <a:lnTo>
                  <a:pt x="1054653" y="494221"/>
                </a:lnTo>
                <a:lnTo>
                  <a:pt x="1054653" y="257420"/>
                </a:lnTo>
                <a:cubicBezTo>
                  <a:pt x="1054653" y="186333"/>
                  <a:pt x="1016977" y="142174"/>
                  <a:pt x="944478" y="142174"/>
                </a:cubicBezTo>
                <a:cubicBezTo>
                  <a:pt x="892816" y="142174"/>
                  <a:pt x="864273" y="164301"/>
                  <a:pt x="848194" y="192547"/>
                </a:cubicBezTo>
                <a:lnTo>
                  <a:pt x="844008" y="192547"/>
                </a:lnTo>
                <a:lnTo>
                  <a:pt x="844008" y="11016"/>
                </a:lnTo>
                <a:moveTo>
                  <a:pt x="3352342" y="11016"/>
                </a:moveTo>
                <a:lnTo>
                  <a:pt x="3265857" y="11016"/>
                </a:lnTo>
                <a:lnTo>
                  <a:pt x="3265857" y="367864"/>
                </a:lnTo>
                <a:cubicBezTo>
                  <a:pt x="3265857" y="425864"/>
                  <a:pt x="3243499" y="460325"/>
                  <a:pt x="3190504" y="460325"/>
                </a:cubicBezTo>
                <a:cubicBezTo>
                  <a:pt x="3138176" y="460325"/>
                  <a:pt x="3115152" y="423698"/>
                  <a:pt x="3115152" y="360897"/>
                </a:cubicBezTo>
                <a:lnTo>
                  <a:pt x="3115152" y="294612"/>
                </a:lnTo>
                <a:lnTo>
                  <a:pt x="3028667" y="315985"/>
                </a:lnTo>
                <a:lnTo>
                  <a:pt x="3028667" y="345644"/>
                </a:lnTo>
                <a:cubicBezTo>
                  <a:pt x="3028667" y="436033"/>
                  <a:pt x="3074050" y="505143"/>
                  <a:pt x="3190504" y="505143"/>
                </a:cubicBezTo>
                <a:cubicBezTo>
                  <a:pt x="3306959" y="505143"/>
                  <a:pt x="3352342" y="436127"/>
                  <a:pt x="3352342" y="345644"/>
                </a:cubicBezTo>
                <a:lnTo>
                  <a:pt x="3352342" y="11016"/>
                </a:lnTo>
                <a:moveTo>
                  <a:pt x="3872675" y="11016"/>
                </a:moveTo>
                <a:lnTo>
                  <a:pt x="3790377" y="11016"/>
                </a:lnTo>
                <a:lnTo>
                  <a:pt x="3790377" y="494221"/>
                </a:lnTo>
                <a:lnTo>
                  <a:pt x="3872675" y="494221"/>
                </a:lnTo>
                <a:lnTo>
                  <a:pt x="3872675" y="271261"/>
                </a:lnTo>
                <a:cubicBezTo>
                  <a:pt x="3872675" y="220229"/>
                  <a:pt x="3899220" y="190476"/>
                  <a:pt x="3941749" y="190476"/>
                </a:cubicBezTo>
                <a:cubicBezTo>
                  <a:pt x="3982945" y="190476"/>
                  <a:pt x="4001022" y="217404"/>
                  <a:pt x="4001022" y="258173"/>
                </a:cubicBezTo>
                <a:lnTo>
                  <a:pt x="4001022" y="494221"/>
                </a:lnTo>
                <a:lnTo>
                  <a:pt x="4083320" y="494221"/>
                </a:lnTo>
                <a:lnTo>
                  <a:pt x="4083320" y="257420"/>
                </a:lnTo>
                <a:cubicBezTo>
                  <a:pt x="4083320" y="186333"/>
                  <a:pt x="4045644" y="142174"/>
                  <a:pt x="3973146" y="142174"/>
                </a:cubicBezTo>
                <a:cubicBezTo>
                  <a:pt x="3921483" y="142174"/>
                  <a:pt x="3892941" y="164301"/>
                  <a:pt x="3876861" y="192547"/>
                </a:cubicBezTo>
                <a:lnTo>
                  <a:pt x="3872675" y="192547"/>
                </a:lnTo>
                <a:lnTo>
                  <a:pt x="3872675" y="11016"/>
                </a:lnTo>
                <a:moveTo>
                  <a:pt x="2730110" y="454864"/>
                </a:moveTo>
                <a:cubicBezTo>
                  <a:pt x="2663130" y="454864"/>
                  <a:pt x="2622029" y="401007"/>
                  <a:pt x="2622029" y="343761"/>
                </a:cubicBezTo>
                <a:cubicBezTo>
                  <a:pt x="2622029" y="307887"/>
                  <a:pt x="2638108" y="274745"/>
                  <a:pt x="2664557" y="256102"/>
                </a:cubicBezTo>
                <a:lnTo>
                  <a:pt x="2822208" y="426617"/>
                </a:lnTo>
                <a:cubicBezTo>
                  <a:pt x="2792904" y="443848"/>
                  <a:pt x="2760080" y="454864"/>
                  <a:pt x="2730110" y="454864"/>
                </a:cubicBezTo>
                <a:moveTo>
                  <a:pt x="2883575" y="369936"/>
                </a:moveTo>
                <a:lnTo>
                  <a:pt x="2746856" y="220794"/>
                </a:lnTo>
                <a:cubicBezTo>
                  <a:pt x="2771307" y="211096"/>
                  <a:pt x="2794998" y="207706"/>
                  <a:pt x="2814502" y="207706"/>
                </a:cubicBezTo>
                <a:cubicBezTo>
                  <a:pt x="2871016" y="207706"/>
                  <a:pt x="2905838" y="240190"/>
                  <a:pt x="2905838" y="296118"/>
                </a:cubicBezTo>
                <a:cubicBezTo>
                  <a:pt x="2905934" y="320975"/>
                  <a:pt x="2898893" y="346491"/>
                  <a:pt x="2883575" y="369936"/>
                </a:cubicBezTo>
                <a:moveTo>
                  <a:pt x="2728017" y="200833"/>
                </a:moveTo>
                <a:lnTo>
                  <a:pt x="2698047" y="167690"/>
                </a:lnTo>
                <a:cubicBezTo>
                  <a:pt x="2671503" y="138691"/>
                  <a:pt x="2663891" y="120707"/>
                  <a:pt x="2663891" y="99334"/>
                </a:cubicBezTo>
                <a:cubicBezTo>
                  <a:pt x="2663891" y="59318"/>
                  <a:pt x="2689675" y="36532"/>
                  <a:pt x="2730110" y="36532"/>
                </a:cubicBezTo>
                <a:cubicBezTo>
                  <a:pt x="2771307" y="36532"/>
                  <a:pt x="2795664" y="59977"/>
                  <a:pt x="2795664" y="102817"/>
                </a:cubicBezTo>
                <a:cubicBezTo>
                  <a:pt x="2795664" y="142174"/>
                  <a:pt x="2776159" y="179460"/>
                  <a:pt x="2728017" y="200833"/>
                </a:cubicBezTo>
                <a:moveTo>
                  <a:pt x="2732204" y="0"/>
                </a:moveTo>
                <a:cubicBezTo>
                  <a:pt x="2635920" y="0"/>
                  <a:pt x="2588539" y="53198"/>
                  <a:pt x="2588539" y="119389"/>
                </a:cubicBezTo>
                <a:cubicBezTo>
                  <a:pt x="2588539" y="155262"/>
                  <a:pt x="2603857" y="191229"/>
                  <a:pt x="2644387" y="234635"/>
                </a:cubicBezTo>
                <a:lnTo>
                  <a:pt x="2645053" y="236047"/>
                </a:lnTo>
                <a:cubicBezTo>
                  <a:pt x="2576741" y="268531"/>
                  <a:pt x="2545344" y="320975"/>
                  <a:pt x="2545344" y="374832"/>
                </a:cubicBezTo>
                <a:cubicBezTo>
                  <a:pt x="2545344" y="445919"/>
                  <a:pt x="2600432" y="505331"/>
                  <a:pt x="2685584" y="505331"/>
                </a:cubicBezTo>
                <a:cubicBezTo>
                  <a:pt x="2734392" y="505331"/>
                  <a:pt x="2791573" y="485276"/>
                  <a:pt x="2843235" y="449403"/>
                </a:cubicBezTo>
                <a:lnTo>
                  <a:pt x="2885097" y="494315"/>
                </a:lnTo>
                <a:lnTo>
                  <a:pt x="2994606" y="494315"/>
                </a:lnTo>
                <a:lnTo>
                  <a:pt x="2994606" y="490831"/>
                </a:lnTo>
                <a:lnTo>
                  <a:pt x="2905363" y="393474"/>
                </a:lnTo>
                <a:cubicBezTo>
                  <a:pt x="2943039" y="349316"/>
                  <a:pt x="2964637" y="301014"/>
                  <a:pt x="2964637" y="258833"/>
                </a:cubicBezTo>
                <a:cubicBezTo>
                  <a:pt x="2964637" y="206388"/>
                  <a:pt x="2929053" y="171174"/>
                  <a:pt x="2873300" y="171174"/>
                </a:cubicBezTo>
                <a:cubicBezTo>
                  <a:pt x="2843996" y="171174"/>
                  <a:pt x="2811172" y="179460"/>
                  <a:pt x="2789574" y="187745"/>
                </a:cubicBezTo>
                <a:lnTo>
                  <a:pt x="2788147" y="185015"/>
                </a:lnTo>
                <a:cubicBezTo>
                  <a:pt x="2841142" y="156674"/>
                  <a:pt x="2863500" y="130499"/>
                  <a:pt x="2863500" y="93873"/>
                </a:cubicBezTo>
                <a:cubicBezTo>
                  <a:pt x="2863310" y="41428"/>
                  <a:pt x="2815929" y="0"/>
                  <a:pt x="2732204" y="0"/>
                </a:cubicBezTo>
              </a:path>
            </a:pathLst>
          </a:custGeom>
          <a:solidFill>
            <a:schemeClr val="bg1"/>
          </a:solidFill>
          <a:ln w="9509" cap="flat">
            <a:noFill/>
            <a:prstDash val="solid"/>
            <a:miter/>
          </a:ln>
        </p:spPr>
        <p:txBody>
          <a:bodyPr rtlCol="0" anchor="ctr"/>
          <a:lstStyle/>
          <a:p>
            <a:endParaRPr lang="en-GB"/>
          </a:p>
        </p:txBody>
      </p:sp>
    </p:spTree>
    <p:extLst>
      <p:ext uri="{BB962C8B-B14F-4D97-AF65-F5344CB8AC3E}">
        <p14:creationId xmlns:p14="http://schemas.microsoft.com/office/powerpoint/2010/main" val="338707414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Title Slide [Accessible Version]">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97A17AB-0114-CDE0-D80E-3AAA53BE4837}"/>
              </a:ext>
            </a:extLst>
          </p:cNvPr>
          <p:cNvSpPr>
            <a:spLocks noGrp="1"/>
          </p:cNvSpPr>
          <p:nvPr>
            <p:ph type="ctrTitle" hasCustomPrompt="1"/>
          </p:nvPr>
        </p:nvSpPr>
        <p:spPr>
          <a:xfrm>
            <a:off x="284805" y="261082"/>
            <a:ext cx="8676633" cy="3930563"/>
          </a:xfrm>
        </p:spPr>
        <p:txBody>
          <a:bodyPr anchor="t">
            <a:normAutofit/>
          </a:bodyPr>
          <a:lstStyle>
            <a:lvl1pPr algn="l">
              <a:lnSpc>
                <a:spcPct val="80000"/>
              </a:lnSpc>
              <a:defRPr sz="10500" b="0" i="0" spc="0" baseline="0">
                <a:solidFill>
                  <a:schemeClr val="accent1"/>
                </a:solidFill>
                <a:latin typeface="+mj-lt"/>
              </a:defRPr>
            </a:lvl1pPr>
          </a:lstStyle>
          <a:p>
            <a:r>
              <a:rPr lang="en-GB"/>
              <a:t>Longer titles will shrink automatically</a:t>
            </a:r>
          </a:p>
        </p:txBody>
      </p:sp>
      <p:sp>
        <p:nvSpPr>
          <p:cNvPr id="6" name="Subtitle 2">
            <a:extLst>
              <a:ext uri="{FF2B5EF4-FFF2-40B4-BE49-F238E27FC236}">
                <a16:creationId xmlns:a16="http://schemas.microsoft.com/office/drawing/2014/main" id="{CA32A6B3-A100-17C8-83CF-514F06C3D029}"/>
              </a:ext>
            </a:extLst>
          </p:cNvPr>
          <p:cNvSpPr>
            <a:spLocks noGrp="1"/>
          </p:cNvSpPr>
          <p:nvPr>
            <p:ph type="subTitle" idx="1" hasCustomPrompt="1"/>
          </p:nvPr>
        </p:nvSpPr>
        <p:spPr>
          <a:xfrm>
            <a:off x="284806" y="4889500"/>
            <a:ext cx="2795587" cy="865834"/>
          </a:xfrm>
        </p:spPr>
        <p:txBody>
          <a:bodyPr anchor="b"/>
          <a:lstStyle>
            <a:lvl1pPr marL="0" indent="0" algn="l">
              <a:lnSpc>
                <a:spcPct val="100000"/>
              </a:lnSpc>
              <a:spcBef>
                <a:spcPts val="0"/>
              </a:spcBef>
              <a:spcAft>
                <a:spcPts val="0"/>
              </a:spcAft>
              <a:buNone/>
              <a:defRPr sz="1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pporting details. Delete if not required.</a:t>
            </a:r>
          </a:p>
        </p:txBody>
      </p:sp>
      <p:sp>
        <p:nvSpPr>
          <p:cNvPr id="4" name="Graphic 2">
            <a:extLst>
              <a:ext uri="{FF2B5EF4-FFF2-40B4-BE49-F238E27FC236}">
                <a16:creationId xmlns:a16="http://schemas.microsoft.com/office/drawing/2014/main" id="{0C91DE01-8580-80A7-12D8-EA90EF5CA36F}"/>
              </a:ext>
            </a:extLst>
          </p:cNvPr>
          <p:cNvSpPr>
            <a:spLocks noChangeAspect="1"/>
          </p:cNvSpPr>
          <p:nvPr/>
        </p:nvSpPr>
        <p:spPr>
          <a:xfrm>
            <a:off x="290513" y="6377853"/>
            <a:ext cx="2034000" cy="187309"/>
          </a:xfrm>
          <a:custGeom>
            <a:avLst/>
            <a:gdLst>
              <a:gd name="connsiteX0" fmla="*/ 542692 w 5487431"/>
              <a:gd name="connsiteY0" fmla="*/ 463149 h 505330"/>
              <a:gd name="connsiteX1" fmla="*/ 458967 w 5487431"/>
              <a:gd name="connsiteY1" fmla="*/ 321634 h 505330"/>
              <a:gd name="connsiteX2" fmla="*/ 542692 w 5487431"/>
              <a:gd name="connsiteY2" fmla="*/ 180119 h 505330"/>
              <a:gd name="connsiteX3" fmla="*/ 626417 w 5487431"/>
              <a:gd name="connsiteY3" fmla="*/ 321634 h 505330"/>
              <a:gd name="connsiteX4" fmla="*/ 542692 w 5487431"/>
              <a:gd name="connsiteY4" fmla="*/ 463149 h 505330"/>
              <a:gd name="connsiteX5" fmla="*/ 542692 w 5487431"/>
              <a:gd name="connsiteY5" fmla="*/ 142174 h 505330"/>
              <a:gd name="connsiteX6" fmla="*/ 372482 w 5487431"/>
              <a:gd name="connsiteY6" fmla="*/ 321634 h 505330"/>
              <a:gd name="connsiteX7" fmla="*/ 542692 w 5487431"/>
              <a:gd name="connsiteY7" fmla="*/ 501094 h 505330"/>
              <a:gd name="connsiteX8" fmla="*/ 712902 w 5487431"/>
              <a:gd name="connsiteY8" fmla="*/ 321634 h 505330"/>
              <a:gd name="connsiteX9" fmla="*/ 542692 w 5487431"/>
              <a:gd name="connsiteY9" fmla="*/ 142174 h 505330"/>
              <a:gd name="connsiteX10" fmla="*/ 1303641 w 5487431"/>
              <a:gd name="connsiteY10" fmla="*/ 142174 h 505330"/>
              <a:gd name="connsiteX11" fmla="*/ 1207357 w 5487431"/>
              <a:gd name="connsiteY11" fmla="*/ 192547 h 505330"/>
              <a:gd name="connsiteX12" fmla="*/ 1203170 w 5487431"/>
              <a:gd name="connsiteY12" fmla="*/ 192547 h 505330"/>
              <a:gd name="connsiteX13" fmla="*/ 1203170 w 5487431"/>
              <a:gd name="connsiteY13" fmla="*/ 149048 h 505330"/>
              <a:gd name="connsiteX14" fmla="*/ 1120872 w 5487431"/>
              <a:gd name="connsiteY14" fmla="*/ 149048 h 505330"/>
              <a:gd name="connsiteX15" fmla="*/ 1120872 w 5487431"/>
              <a:gd name="connsiteY15" fmla="*/ 494221 h 505330"/>
              <a:gd name="connsiteX16" fmla="*/ 1203170 w 5487431"/>
              <a:gd name="connsiteY16" fmla="*/ 494221 h 505330"/>
              <a:gd name="connsiteX17" fmla="*/ 1203170 w 5487431"/>
              <a:gd name="connsiteY17" fmla="*/ 271261 h 505330"/>
              <a:gd name="connsiteX18" fmla="*/ 1272244 w 5487431"/>
              <a:gd name="connsiteY18" fmla="*/ 190476 h 505330"/>
              <a:gd name="connsiteX19" fmla="*/ 1331518 w 5487431"/>
              <a:gd name="connsiteY19" fmla="*/ 258173 h 505330"/>
              <a:gd name="connsiteX20" fmla="*/ 1331518 w 5487431"/>
              <a:gd name="connsiteY20" fmla="*/ 494221 h 505330"/>
              <a:gd name="connsiteX21" fmla="*/ 1413816 w 5487431"/>
              <a:gd name="connsiteY21" fmla="*/ 494221 h 505330"/>
              <a:gd name="connsiteX22" fmla="*/ 1413816 w 5487431"/>
              <a:gd name="connsiteY22" fmla="*/ 257420 h 505330"/>
              <a:gd name="connsiteX23" fmla="*/ 1303641 w 5487431"/>
              <a:gd name="connsiteY23" fmla="*/ 142174 h 505330"/>
              <a:gd name="connsiteX24" fmla="*/ 1600771 w 5487431"/>
              <a:gd name="connsiteY24" fmla="*/ 142174 h 505330"/>
              <a:gd name="connsiteX25" fmla="*/ 1467571 w 5487431"/>
              <a:gd name="connsiteY25" fmla="*/ 241602 h 505330"/>
              <a:gd name="connsiteX26" fmla="*/ 1551962 w 5487431"/>
              <a:gd name="connsiteY26" fmla="*/ 341030 h 505330"/>
              <a:gd name="connsiteX27" fmla="*/ 1621702 w 5487431"/>
              <a:gd name="connsiteY27" fmla="*/ 358260 h 505330"/>
              <a:gd name="connsiteX28" fmla="*/ 1675457 w 5487431"/>
              <a:gd name="connsiteY28" fmla="*/ 409387 h 505330"/>
              <a:gd name="connsiteX29" fmla="*/ 1606384 w 5487431"/>
              <a:gd name="connsiteY29" fmla="*/ 464656 h 505330"/>
              <a:gd name="connsiteX30" fmla="*/ 1526845 w 5487431"/>
              <a:gd name="connsiteY30" fmla="*/ 384624 h 505330"/>
              <a:gd name="connsiteX31" fmla="*/ 1452919 w 5487431"/>
              <a:gd name="connsiteY31" fmla="*/ 405338 h 505330"/>
              <a:gd name="connsiteX32" fmla="*/ 1597345 w 5487431"/>
              <a:gd name="connsiteY32" fmla="*/ 501282 h 505330"/>
              <a:gd name="connsiteX33" fmla="*/ 1742438 w 5487431"/>
              <a:gd name="connsiteY33" fmla="*/ 388767 h 505330"/>
              <a:gd name="connsiteX34" fmla="*/ 1649674 w 5487431"/>
              <a:gd name="connsiteY34" fmla="*/ 285196 h 505330"/>
              <a:gd name="connsiteX35" fmla="*/ 1582693 w 5487431"/>
              <a:gd name="connsiteY35" fmla="*/ 268625 h 505330"/>
              <a:gd name="connsiteX36" fmla="*/ 1534551 w 5487431"/>
              <a:gd name="connsiteY36" fmla="*/ 223054 h 505330"/>
              <a:gd name="connsiteX37" fmla="*/ 1593825 w 5487431"/>
              <a:gd name="connsiteY37" fmla="*/ 178895 h 505330"/>
              <a:gd name="connsiteX38" fmla="*/ 1664992 w 5487431"/>
              <a:gd name="connsiteY38" fmla="*/ 245180 h 505330"/>
              <a:gd name="connsiteX39" fmla="*/ 1734731 w 5487431"/>
              <a:gd name="connsiteY39" fmla="*/ 224466 h 505330"/>
              <a:gd name="connsiteX40" fmla="*/ 1600771 w 5487431"/>
              <a:gd name="connsiteY40" fmla="*/ 142174 h 505330"/>
              <a:gd name="connsiteX41" fmla="*/ 1946803 w 5487431"/>
              <a:gd name="connsiteY41" fmla="*/ 463149 h 505330"/>
              <a:gd name="connsiteX42" fmla="*/ 1863078 w 5487431"/>
              <a:gd name="connsiteY42" fmla="*/ 321634 h 505330"/>
              <a:gd name="connsiteX43" fmla="*/ 1946803 w 5487431"/>
              <a:gd name="connsiteY43" fmla="*/ 180119 h 505330"/>
              <a:gd name="connsiteX44" fmla="*/ 2030529 w 5487431"/>
              <a:gd name="connsiteY44" fmla="*/ 321634 h 505330"/>
              <a:gd name="connsiteX45" fmla="*/ 1946803 w 5487431"/>
              <a:gd name="connsiteY45" fmla="*/ 463149 h 505330"/>
              <a:gd name="connsiteX46" fmla="*/ 1946803 w 5487431"/>
              <a:gd name="connsiteY46" fmla="*/ 142174 h 505330"/>
              <a:gd name="connsiteX47" fmla="*/ 1776594 w 5487431"/>
              <a:gd name="connsiteY47" fmla="*/ 321634 h 505330"/>
              <a:gd name="connsiteX48" fmla="*/ 1946803 w 5487431"/>
              <a:gd name="connsiteY48" fmla="*/ 501094 h 505330"/>
              <a:gd name="connsiteX49" fmla="*/ 2117013 w 5487431"/>
              <a:gd name="connsiteY49" fmla="*/ 321634 h 505330"/>
              <a:gd name="connsiteX50" fmla="*/ 1946803 w 5487431"/>
              <a:gd name="connsiteY50" fmla="*/ 142174 h 505330"/>
              <a:gd name="connsiteX51" fmla="*/ 2348590 w 5487431"/>
              <a:gd name="connsiteY51" fmla="*/ 142174 h 505330"/>
              <a:gd name="connsiteX52" fmla="*/ 2252306 w 5487431"/>
              <a:gd name="connsiteY52" fmla="*/ 192547 h 505330"/>
              <a:gd name="connsiteX53" fmla="*/ 2248119 w 5487431"/>
              <a:gd name="connsiteY53" fmla="*/ 192547 h 505330"/>
              <a:gd name="connsiteX54" fmla="*/ 2248119 w 5487431"/>
              <a:gd name="connsiteY54" fmla="*/ 149048 h 505330"/>
              <a:gd name="connsiteX55" fmla="*/ 2165821 w 5487431"/>
              <a:gd name="connsiteY55" fmla="*/ 149048 h 505330"/>
              <a:gd name="connsiteX56" fmla="*/ 2165821 w 5487431"/>
              <a:gd name="connsiteY56" fmla="*/ 494221 h 505330"/>
              <a:gd name="connsiteX57" fmla="*/ 2248119 w 5487431"/>
              <a:gd name="connsiteY57" fmla="*/ 494221 h 505330"/>
              <a:gd name="connsiteX58" fmla="*/ 2248119 w 5487431"/>
              <a:gd name="connsiteY58" fmla="*/ 271261 h 505330"/>
              <a:gd name="connsiteX59" fmla="*/ 2317193 w 5487431"/>
              <a:gd name="connsiteY59" fmla="*/ 190476 h 505330"/>
              <a:gd name="connsiteX60" fmla="*/ 2376466 w 5487431"/>
              <a:gd name="connsiteY60" fmla="*/ 258173 h 505330"/>
              <a:gd name="connsiteX61" fmla="*/ 2376466 w 5487431"/>
              <a:gd name="connsiteY61" fmla="*/ 494221 h 505330"/>
              <a:gd name="connsiteX62" fmla="*/ 2458764 w 5487431"/>
              <a:gd name="connsiteY62" fmla="*/ 494221 h 505330"/>
              <a:gd name="connsiteX63" fmla="*/ 2458764 w 5487431"/>
              <a:gd name="connsiteY63" fmla="*/ 257420 h 505330"/>
              <a:gd name="connsiteX64" fmla="*/ 2348590 w 5487431"/>
              <a:gd name="connsiteY64" fmla="*/ 142174 h 505330"/>
              <a:gd name="connsiteX65" fmla="*/ 3571359 w 5487431"/>
              <a:gd name="connsiteY65" fmla="*/ 463149 h 505330"/>
              <a:gd name="connsiteX66" fmla="*/ 3487634 w 5487431"/>
              <a:gd name="connsiteY66" fmla="*/ 321634 h 505330"/>
              <a:gd name="connsiteX67" fmla="*/ 3571359 w 5487431"/>
              <a:gd name="connsiteY67" fmla="*/ 180119 h 505330"/>
              <a:gd name="connsiteX68" fmla="*/ 3655085 w 5487431"/>
              <a:gd name="connsiteY68" fmla="*/ 321634 h 505330"/>
              <a:gd name="connsiteX69" fmla="*/ 3571359 w 5487431"/>
              <a:gd name="connsiteY69" fmla="*/ 463149 h 505330"/>
              <a:gd name="connsiteX70" fmla="*/ 3571359 w 5487431"/>
              <a:gd name="connsiteY70" fmla="*/ 142174 h 505330"/>
              <a:gd name="connsiteX71" fmla="*/ 3401150 w 5487431"/>
              <a:gd name="connsiteY71" fmla="*/ 321634 h 505330"/>
              <a:gd name="connsiteX72" fmla="*/ 3571359 w 5487431"/>
              <a:gd name="connsiteY72" fmla="*/ 501094 h 505330"/>
              <a:gd name="connsiteX73" fmla="*/ 3741569 w 5487431"/>
              <a:gd name="connsiteY73" fmla="*/ 321634 h 505330"/>
              <a:gd name="connsiteX74" fmla="*/ 3571359 w 5487431"/>
              <a:gd name="connsiteY74" fmla="*/ 142174 h 505330"/>
              <a:gd name="connsiteX75" fmla="*/ 4332308 w 5487431"/>
              <a:gd name="connsiteY75" fmla="*/ 142174 h 505330"/>
              <a:gd name="connsiteX76" fmla="*/ 4236024 w 5487431"/>
              <a:gd name="connsiteY76" fmla="*/ 192547 h 505330"/>
              <a:gd name="connsiteX77" fmla="*/ 4231838 w 5487431"/>
              <a:gd name="connsiteY77" fmla="*/ 192547 h 505330"/>
              <a:gd name="connsiteX78" fmla="*/ 4231838 w 5487431"/>
              <a:gd name="connsiteY78" fmla="*/ 149048 h 505330"/>
              <a:gd name="connsiteX79" fmla="*/ 4149539 w 5487431"/>
              <a:gd name="connsiteY79" fmla="*/ 149048 h 505330"/>
              <a:gd name="connsiteX80" fmla="*/ 4149539 w 5487431"/>
              <a:gd name="connsiteY80" fmla="*/ 494221 h 505330"/>
              <a:gd name="connsiteX81" fmla="*/ 4231838 w 5487431"/>
              <a:gd name="connsiteY81" fmla="*/ 494221 h 505330"/>
              <a:gd name="connsiteX82" fmla="*/ 4231838 w 5487431"/>
              <a:gd name="connsiteY82" fmla="*/ 271261 h 505330"/>
              <a:gd name="connsiteX83" fmla="*/ 4300911 w 5487431"/>
              <a:gd name="connsiteY83" fmla="*/ 190476 h 505330"/>
              <a:gd name="connsiteX84" fmla="*/ 4360185 w 5487431"/>
              <a:gd name="connsiteY84" fmla="*/ 258173 h 505330"/>
              <a:gd name="connsiteX85" fmla="*/ 4360185 w 5487431"/>
              <a:gd name="connsiteY85" fmla="*/ 494221 h 505330"/>
              <a:gd name="connsiteX86" fmla="*/ 4442483 w 5487431"/>
              <a:gd name="connsiteY86" fmla="*/ 494221 h 505330"/>
              <a:gd name="connsiteX87" fmla="*/ 4442483 w 5487431"/>
              <a:gd name="connsiteY87" fmla="*/ 257420 h 505330"/>
              <a:gd name="connsiteX88" fmla="*/ 4332308 w 5487431"/>
              <a:gd name="connsiteY88" fmla="*/ 142174 h 505330"/>
              <a:gd name="connsiteX89" fmla="*/ 4629533 w 5487431"/>
              <a:gd name="connsiteY89" fmla="*/ 142174 h 505330"/>
              <a:gd name="connsiteX90" fmla="*/ 4496334 w 5487431"/>
              <a:gd name="connsiteY90" fmla="*/ 241602 h 505330"/>
              <a:gd name="connsiteX91" fmla="*/ 4580725 w 5487431"/>
              <a:gd name="connsiteY91" fmla="*/ 341030 h 505330"/>
              <a:gd name="connsiteX92" fmla="*/ 4650464 w 5487431"/>
              <a:gd name="connsiteY92" fmla="*/ 358260 h 505330"/>
              <a:gd name="connsiteX93" fmla="*/ 4704220 w 5487431"/>
              <a:gd name="connsiteY93" fmla="*/ 409387 h 505330"/>
              <a:gd name="connsiteX94" fmla="*/ 4635146 w 5487431"/>
              <a:gd name="connsiteY94" fmla="*/ 464656 h 505330"/>
              <a:gd name="connsiteX95" fmla="*/ 4555607 w 5487431"/>
              <a:gd name="connsiteY95" fmla="*/ 384624 h 505330"/>
              <a:gd name="connsiteX96" fmla="*/ 4481682 w 5487431"/>
              <a:gd name="connsiteY96" fmla="*/ 405338 h 505330"/>
              <a:gd name="connsiteX97" fmla="*/ 4626108 w 5487431"/>
              <a:gd name="connsiteY97" fmla="*/ 501282 h 505330"/>
              <a:gd name="connsiteX98" fmla="*/ 4771200 w 5487431"/>
              <a:gd name="connsiteY98" fmla="*/ 388767 h 505330"/>
              <a:gd name="connsiteX99" fmla="*/ 4678436 w 5487431"/>
              <a:gd name="connsiteY99" fmla="*/ 285196 h 505330"/>
              <a:gd name="connsiteX100" fmla="*/ 4611456 w 5487431"/>
              <a:gd name="connsiteY100" fmla="*/ 268625 h 505330"/>
              <a:gd name="connsiteX101" fmla="*/ 4563314 w 5487431"/>
              <a:gd name="connsiteY101" fmla="*/ 223054 h 505330"/>
              <a:gd name="connsiteX102" fmla="*/ 4622588 w 5487431"/>
              <a:gd name="connsiteY102" fmla="*/ 178895 h 505330"/>
              <a:gd name="connsiteX103" fmla="*/ 4693754 w 5487431"/>
              <a:gd name="connsiteY103" fmla="*/ 245180 h 505330"/>
              <a:gd name="connsiteX104" fmla="*/ 4763493 w 5487431"/>
              <a:gd name="connsiteY104" fmla="*/ 224466 h 505330"/>
              <a:gd name="connsiteX105" fmla="*/ 4629533 w 5487431"/>
              <a:gd name="connsiteY105" fmla="*/ 142174 h 505330"/>
              <a:gd name="connsiteX106" fmla="*/ 4975471 w 5487431"/>
              <a:gd name="connsiteY106" fmla="*/ 463149 h 505330"/>
              <a:gd name="connsiteX107" fmla="*/ 4891745 w 5487431"/>
              <a:gd name="connsiteY107" fmla="*/ 321634 h 505330"/>
              <a:gd name="connsiteX108" fmla="*/ 4975471 w 5487431"/>
              <a:gd name="connsiteY108" fmla="*/ 180119 h 505330"/>
              <a:gd name="connsiteX109" fmla="*/ 5059196 w 5487431"/>
              <a:gd name="connsiteY109" fmla="*/ 321634 h 505330"/>
              <a:gd name="connsiteX110" fmla="*/ 4975471 w 5487431"/>
              <a:gd name="connsiteY110" fmla="*/ 463149 h 505330"/>
              <a:gd name="connsiteX111" fmla="*/ 4975471 w 5487431"/>
              <a:gd name="connsiteY111" fmla="*/ 142174 h 505330"/>
              <a:gd name="connsiteX112" fmla="*/ 4805261 w 5487431"/>
              <a:gd name="connsiteY112" fmla="*/ 321634 h 505330"/>
              <a:gd name="connsiteX113" fmla="*/ 4975471 w 5487431"/>
              <a:gd name="connsiteY113" fmla="*/ 501094 h 505330"/>
              <a:gd name="connsiteX114" fmla="*/ 5145680 w 5487431"/>
              <a:gd name="connsiteY114" fmla="*/ 321634 h 505330"/>
              <a:gd name="connsiteX115" fmla="*/ 4975471 w 5487431"/>
              <a:gd name="connsiteY115" fmla="*/ 142174 h 505330"/>
              <a:gd name="connsiteX116" fmla="*/ 5377257 w 5487431"/>
              <a:gd name="connsiteY116" fmla="*/ 142174 h 505330"/>
              <a:gd name="connsiteX117" fmla="*/ 5280973 w 5487431"/>
              <a:gd name="connsiteY117" fmla="*/ 192547 h 505330"/>
              <a:gd name="connsiteX118" fmla="*/ 5276787 w 5487431"/>
              <a:gd name="connsiteY118" fmla="*/ 192547 h 505330"/>
              <a:gd name="connsiteX119" fmla="*/ 5276787 w 5487431"/>
              <a:gd name="connsiteY119" fmla="*/ 149048 h 505330"/>
              <a:gd name="connsiteX120" fmla="*/ 5194488 w 5487431"/>
              <a:gd name="connsiteY120" fmla="*/ 149048 h 505330"/>
              <a:gd name="connsiteX121" fmla="*/ 5194488 w 5487431"/>
              <a:gd name="connsiteY121" fmla="*/ 494221 h 505330"/>
              <a:gd name="connsiteX122" fmla="*/ 5276787 w 5487431"/>
              <a:gd name="connsiteY122" fmla="*/ 494221 h 505330"/>
              <a:gd name="connsiteX123" fmla="*/ 5276787 w 5487431"/>
              <a:gd name="connsiteY123" fmla="*/ 271261 h 505330"/>
              <a:gd name="connsiteX124" fmla="*/ 5345860 w 5487431"/>
              <a:gd name="connsiteY124" fmla="*/ 190476 h 505330"/>
              <a:gd name="connsiteX125" fmla="*/ 5405134 w 5487431"/>
              <a:gd name="connsiteY125" fmla="*/ 258173 h 505330"/>
              <a:gd name="connsiteX126" fmla="*/ 5405134 w 5487431"/>
              <a:gd name="connsiteY126" fmla="*/ 494221 h 505330"/>
              <a:gd name="connsiteX127" fmla="*/ 5487432 w 5487431"/>
              <a:gd name="connsiteY127" fmla="*/ 494221 h 505330"/>
              <a:gd name="connsiteX128" fmla="*/ 5487432 w 5487431"/>
              <a:gd name="connsiteY128" fmla="*/ 257420 h 505330"/>
              <a:gd name="connsiteX129" fmla="*/ 5377257 w 5487431"/>
              <a:gd name="connsiteY129" fmla="*/ 142174 h 505330"/>
              <a:gd name="connsiteX130" fmla="*/ 323674 w 5487431"/>
              <a:gd name="connsiteY130" fmla="*/ 11016 h 505330"/>
              <a:gd name="connsiteX131" fmla="*/ 237190 w 5487431"/>
              <a:gd name="connsiteY131" fmla="*/ 11016 h 505330"/>
              <a:gd name="connsiteX132" fmla="*/ 237190 w 5487431"/>
              <a:gd name="connsiteY132" fmla="*/ 367864 h 505330"/>
              <a:gd name="connsiteX133" fmla="*/ 161837 w 5487431"/>
              <a:gd name="connsiteY133" fmla="*/ 460325 h 505330"/>
              <a:gd name="connsiteX134" fmla="*/ 86484 w 5487431"/>
              <a:gd name="connsiteY134" fmla="*/ 360897 h 505330"/>
              <a:gd name="connsiteX135" fmla="*/ 86484 w 5487431"/>
              <a:gd name="connsiteY135" fmla="*/ 294612 h 505330"/>
              <a:gd name="connsiteX136" fmla="*/ 0 w 5487431"/>
              <a:gd name="connsiteY136" fmla="*/ 315985 h 505330"/>
              <a:gd name="connsiteX137" fmla="*/ 0 w 5487431"/>
              <a:gd name="connsiteY137" fmla="*/ 345644 h 505330"/>
              <a:gd name="connsiteX138" fmla="*/ 161837 w 5487431"/>
              <a:gd name="connsiteY138" fmla="*/ 505143 h 505330"/>
              <a:gd name="connsiteX139" fmla="*/ 323674 w 5487431"/>
              <a:gd name="connsiteY139" fmla="*/ 345644 h 505330"/>
              <a:gd name="connsiteX140" fmla="*/ 323674 w 5487431"/>
              <a:gd name="connsiteY140" fmla="*/ 11016 h 505330"/>
              <a:gd name="connsiteX141" fmla="*/ 844008 w 5487431"/>
              <a:gd name="connsiteY141" fmla="*/ 11016 h 505330"/>
              <a:gd name="connsiteX142" fmla="*/ 761710 w 5487431"/>
              <a:gd name="connsiteY142" fmla="*/ 11016 h 505330"/>
              <a:gd name="connsiteX143" fmla="*/ 761710 w 5487431"/>
              <a:gd name="connsiteY143" fmla="*/ 494221 h 505330"/>
              <a:gd name="connsiteX144" fmla="*/ 844008 w 5487431"/>
              <a:gd name="connsiteY144" fmla="*/ 494221 h 505330"/>
              <a:gd name="connsiteX145" fmla="*/ 844008 w 5487431"/>
              <a:gd name="connsiteY145" fmla="*/ 271261 h 505330"/>
              <a:gd name="connsiteX146" fmla="*/ 913081 w 5487431"/>
              <a:gd name="connsiteY146" fmla="*/ 190476 h 505330"/>
              <a:gd name="connsiteX147" fmla="*/ 972355 w 5487431"/>
              <a:gd name="connsiteY147" fmla="*/ 258173 h 505330"/>
              <a:gd name="connsiteX148" fmla="*/ 972355 w 5487431"/>
              <a:gd name="connsiteY148" fmla="*/ 494221 h 505330"/>
              <a:gd name="connsiteX149" fmla="*/ 1054653 w 5487431"/>
              <a:gd name="connsiteY149" fmla="*/ 494221 h 505330"/>
              <a:gd name="connsiteX150" fmla="*/ 1054653 w 5487431"/>
              <a:gd name="connsiteY150" fmla="*/ 257420 h 505330"/>
              <a:gd name="connsiteX151" fmla="*/ 944478 w 5487431"/>
              <a:gd name="connsiteY151" fmla="*/ 142174 h 505330"/>
              <a:gd name="connsiteX152" fmla="*/ 848194 w 5487431"/>
              <a:gd name="connsiteY152" fmla="*/ 192547 h 505330"/>
              <a:gd name="connsiteX153" fmla="*/ 844008 w 5487431"/>
              <a:gd name="connsiteY153" fmla="*/ 192547 h 505330"/>
              <a:gd name="connsiteX154" fmla="*/ 844008 w 5487431"/>
              <a:gd name="connsiteY154" fmla="*/ 11016 h 505330"/>
              <a:gd name="connsiteX155" fmla="*/ 3352342 w 5487431"/>
              <a:gd name="connsiteY155" fmla="*/ 11016 h 505330"/>
              <a:gd name="connsiteX156" fmla="*/ 3265857 w 5487431"/>
              <a:gd name="connsiteY156" fmla="*/ 11016 h 505330"/>
              <a:gd name="connsiteX157" fmla="*/ 3265857 w 5487431"/>
              <a:gd name="connsiteY157" fmla="*/ 367864 h 505330"/>
              <a:gd name="connsiteX158" fmla="*/ 3190504 w 5487431"/>
              <a:gd name="connsiteY158" fmla="*/ 460325 h 505330"/>
              <a:gd name="connsiteX159" fmla="*/ 3115152 w 5487431"/>
              <a:gd name="connsiteY159" fmla="*/ 360897 h 505330"/>
              <a:gd name="connsiteX160" fmla="*/ 3115152 w 5487431"/>
              <a:gd name="connsiteY160" fmla="*/ 294612 h 505330"/>
              <a:gd name="connsiteX161" fmla="*/ 3028667 w 5487431"/>
              <a:gd name="connsiteY161" fmla="*/ 315985 h 505330"/>
              <a:gd name="connsiteX162" fmla="*/ 3028667 w 5487431"/>
              <a:gd name="connsiteY162" fmla="*/ 345644 h 505330"/>
              <a:gd name="connsiteX163" fmla="*/ 3190504 w 5487431"/>
              <a:gd name="connsiteY163" fmla="*/ 505143 h 505330"/>
              <a:gd name="connsiteX164" fmla="*/ 3352342 w 5487431"/>
              <a:gd name="connsiteY164" fmla="*/ 345644 h 505330"/>
              <a:gd name="connsiteX165" fmla="*/ 3352342 w 5487431"/>
              <a:gd name="connsiteY165" fmla="*/ 11016 h 505330"/>
              <a:gd name="connsiteX166" fmla="*/ 3872675 w 5487431"/>
              <a:gd name="connsiteY166" fmla="*/ 11016 h 505330"/>
              <a:gd name="connsiteX167" fmla="*/ 3790377 w 5487431"/>
              <a:gd name="connsiteY167" fmla="*/ 11016 h 505330"/>
              <a:gd name="connsiteX168" fmla="*/ 3790377 w 5487431"/>
              <a:gd name="connsiteY168" fmla="*/ 494221 h 505330"/>
              <a:gd name="connsiteX169" fmla="*/ 3872675 w 5487431"/>
              <a:gd name="connsiteY169" fmla="*/ 494221 h 505330"/>
              <a:gd name="connsiteX170" fmla="*/ 3872675 w 5487431"/>
              <a:gd name="connsiteY170" fmla="*/ 271261 h 505330"/>
              <a:gd name="connsiteX171" fmla="*/ 3941749 w 5487431"/>
              <a:gd name="connsiteY171" fmla="*/ 190476 h 505330"/>
              <a:gd name="connsiteX172" fmla="*/ 4001022 w 5487431"/>
              <a:gd name="connsiteY172" fmla="*/ 258173 h 505330"/>
              <a:gd name="connsiteX173" fmla="*/ 4001022 w 5487431"/>
              <a:gd name="connsiteY173" fmla="*/ 494221 h 505330"/>
              <a:gd name="connsiteX174" fmla="*/ 4083320 w 5487431"/>
              <a:gd name="connsiteY174" fmla="*/ 494221 h 505330"/>
              <a:gd name="connsiteX175" fmla="*/ 4083320 w 5487431"/>
              <a:gd name="connsiteY175" fmla="*/ 257420 h 505330"/>
              <a:gd name="connsiteX176" fmla="*/ 3973146 w 5487431"/>
              <a:gd name="connsiteY176" fmla="*/ 142174 h 505330"/>
              <a:gd name="connsiteX177" fmla="*/ 3876861 w 5487431"/>
              <a:gd name="connsiteY177" fmla="*/ 192547 h 505330"/>
              <a:gd name="connsiteX178" fmla="*/ 3872675 w 5487431"/>
              <a:gd name="connsiteY178" fmla="*/ 192547 h 505330"/>
              <a:gd name="connsiteX179" fmla="*/ 3872675 w 5487431"/>
              <a:gd name="connsiteY179" fmla="*/ 11016 h 505330"/>
              <a:gd name="connsiteX180" fmla="*/ 2730110 w 5487431"/>
              <a:gd name="connsiteY180" fmla="*/ 454864 h 505330"/>
              <a:gd name="connsiteX181" fmla="*/ 2622029 w 5487431"/>
              <a:gd name="connsiteY181" fmla="*/ 343761 h 505330"/>
              <a:gd name="connsiteX182" fmla="*/ 2664557 w 5487431"/>
              <a:gd name="connsiteY182" fmla="*/ 256102 h 505330"/>
              <a:gd name="connsiteX183" fmla="*/ 2822208 w 5487431"/>
              <a:gd name="connsiteY183" fmla="*/ 426617 h 505330"/>
              <a:gd name="connsiteX184" fmla="*/ 2730110 w 5487431"/>
              <a:gd name="connsiteY184" fmla="*/ 454864 h 505330"/>
              <a:gd name="connsiteX185" fmla="*/ 2883575 w 5487431"/>
              <a:gd name="connsiteY185" fmla="*/ 369936 h 505330"/>
              <a:gd name="connsiteX186" fmla="*/ 2746856 w 5487431"/>
              <a:gd name="connsiteY186" fmla="*/ 220794 h 505330"/>
              <a:gd name="connsiteX187" fmla="*/ 2814502 w 5487431"/>
              <a:gd name="connsiteY187" fmla="*/ 207706 h 505330"/>
              <a:gd name="connsiteX188" fmla="*/ 2905838 w 5487431"/>
              <a:gd name="connsiteY188" fmla="*/ 296118 h 505330"/>
              <a:gd name="connsiteX189" fmla="*/ 2883575 w 5487431"/>
              <a:gd name="connsiteY189" fmla="*/ 369936 h 505330"/>
              <a:gd name="connsiteX190" fmla="*/ 2728017 w 5487431"/>
              <a:gd name="connsiteY190" fmla="*/ 200833 h 505330"/>
              <a:gd name="connsiteX191" fmla="*/ 2698047 w 5487431"/>
              <a:gd name="connsiteY191" fmla="*/ 167690 h 505330"/>
              <a:gd name="connsiteX192" fmla="*/ 2663891 w 5487431"/>
              <a:gd name="connsiteY192" fmla="*/ 99334 h 505330"/>
              <a:gd name="connsiteX193" fmla="*/ 2730110 w 5487431"/>
              <a:gd name="connsiteY193" fmla="*/ 36532 h 505330"/>
              <a:gd name="connsiteX194" fmla="*/ 2795664 w 5487431"/>
              <a:gd name="connsiteY194" fmla="*/ 102817 h 505330"/>
              <a:gd name="connsiteX195" fmla="*/ 2728017 w 5487431"/>
              <a:gd name="connsiteY195" fmla="*/ 200833 h 505330"/>
              <a:gd name="connsiteX196" fmla="*/ 2732204 w 5487431"/>
              <a:gd name="connsiteY196" fmla="*/ 0 h 505330"/>
              <a:gd name="connsiteX197" fmla="*/ 2588539 w 5487431"/>
              <a:gd name="connsiteY197" fmla="*/ 119389 h 505330"/>
              <a:gd name="connsiteX198" fmla="*/ 2644387 w 5487431"/>
              <a:gd name="connsiteY198" fmla="*/ 234635 h 505330"/>
              <a:gd name="connsiteX199" fmla="*/ 2645053 w 5487431"/>
              <a:gd name="connsiteY199" fmla="*/ 236047 h 505330"/>
              <a:gd name="connsiteX200" fmla="*/ 2545344 w 5487431"/>
              <a:gd name="connsiteY200" fmla="*/ 374832 h 505330"/>
              <a:gd name="connsiteX201" fmla="*/ 2685584 w 5487431"/>
              <a:gd name="connsiteY201" fmla="*/ 505331 h 505330"/>
              <a:gd name="connsiteX202" fmla="*/ 2843235 w 5487431"/>
              <a:gd name="connsiteY202" fmla="*/ 449403 h 505330"/>
              <a:gd name="connsiteX203" fmla="*/ 2885097 w 5487431"/>
              <a:gd name="connsiteY203" fmla="*/ 494315 h 505330"/>
              <a:gd name="connsiteX204" fmla="*/ 2994606 w 5487431"/>
              <a:gd name="connsiteY204" fmla="*/ 494315 h 505330"/>
              <a:gd name="connsiteX205" fmla="*/ 2994606 w 5487431"/>
              <a:gd name="connsiteY205" fmla="*/ 490831 h 505330"/>
              <a:gd name="connsiteX206" fmla="*/ 2905363 w 5487431"/>
              <a:gd name="connsiteY206" fmla="*/ 393474 h 505330"/>
              <a:gd name="connsiteX207" fmla="*/ 2964637 w 5487431"/>
              <a:gd name="connsiteY207" fmla="*/ 258833 h 505330"/>
              <a:gd name="connsiteX208" fmla="*/ 2873300 w 5487431"/>
              <a:gd name="connsiteY208" fmla="*/ 171174 h 505330"/>
              <a:gd name="connsiteX209" fmla="*/ 2789574 w 5487431"/>
              <a:gd name="connsiteY209" fmla="*/ 187745 h 505330"/>
              <a:gd name="connsiteX210" fmla="*/ 2788147 w 5487431"/>
              <a:gd name="connsiteY210" fmla="*/ 185015 h 505330"/>
              <a:gd name="connsiteX211" fmla="*/ 2863500 w 5487431"/>
              <a:gd name="connsiteY211" fmla="*/ 93873 h 505330"/>
              <a:gd name="connsiteX212" fmla="*/ 2732204 w 5487431"/>
              <a:gd name="connsiteY212" fmla="*/ 0 h 50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5487431" h="505330">
                <a:moveTo>
                  <a:pt x="542692" y="463149"/>
                </a:moveTo>
                <a:cubicBezTo>
                  <a:pt x="488937" y="463149"/>
                  <a:pt x="458967" y="412776"/>
                  <a:pt x="458967" y="321634"/>
                </a:cubicBezTo>
                <a:cubicBezTo>
                  <a:pt x="458967" y="229080"/>
                  <a:pt x="488937" y="180119"/>
                  <a:pt x="542692" y="180119"/>
                </a:cubicBezTo>
                <a:cubicBezTo>
                  <a:pt x="596448" y="180119"/>
                  <a:pt x="626417" y="229833"/>
                  <a:pt x="626417" y="321634"/>
                </a:cubicBezTo>
                <a:cubicBezTo>
                  <a:pt x="626322" y="414189"/>
                  <a:pt x="596352" y="463149"/>
                  <a:pt x="542692" y="463149"/>
                </a:cubicBezTo>
                <a:moveTo>
                  <a:pt x="542692" y="142174"/>
                </a:moveTo>
                <a:cubicBezTo>
                  <a:pt x="433183" y="142174"/>
                  <a:pt x="372482" y="222959"/>
                  <a:pt x="372482" y="321634"/>
                </a:cubicBezTo>
                <a:cubicBezTo>
                  <a:pt x="372482" y="420309"/>
                  <a:pt x="433183" y="501094"/>
                  <a:pt x="542692" y="501094"/>
                </a:cubicBezTo>
                <a:cubicBezTo>
                  <a:pt x="652201" y="501094"/>
                  <a:pt x="712902" y="420309"/>
                  <a:pt x="712902" y="321634"/>
                </a:cubicBezTo>
                <a:cubicBezTo>
                  <a:pt x="712902" y="222959"/>
                  <a:pt x="652201" y="142174"/>
                  <a:pt x="542692" y="142174"/>
                </a:cubicBezTo>
                <a:moveTo>
                  <a:pt x="1303641" y="142174"/>
                </a:moveTo>
                <a:cubicBezTo>
                  <a:pt x="1251979" y="142174"/>
                  <a:pt x="1223436" y="164301"/>
                  <a:pt x="1207357" y="192547"/>
                </a:cubicBezTo>
                <a:lnTo>
                  <a:pt x="1203170" y="192547"/>
                </a:lnTo>
                <a:lnTo>
                  <a:pt x="1203170" y="149048"/>
                </a:lnTo>
                <a:lnTo>
                  <a:pt x="1120872" y="149048"/>
                </a:lnTo>
                <a:lnTo>
                  <a:pt x="1120872" y="494221"/>
                </a:lnTo>
                <a:lnTo>
                  <a:pt x="1203170" y="494221"/>
                </a:lnTo>
                <a:lnTo>
                  <a:pt x="1203170" y="271261"/>
                </a:lnTo>
                <a:cubicBezTo>
                  <a:pt x="1203170" y="220229"/>
                  <a:pt x="1229715" y="190476"/>
                  <a:pt x="1272244" y="190476"/>
                </a:cubicBezTo>
                <a:cubicBezTo>
                  <a:pt x="1313440" y="190476"/>
                  <a:pt x="1331518" y="217404"/>
                  <a:pt x="1331518" y="258173"/>
                </a:cubicBezTo>
                <a:lnTo>
                  <a:pt x="1331518" y="494221"/>
                </a:lnTo>
                <a:lnTo>
                  <a:pt x="1413816" y="494221"/>
                </a:lnTo>
                <a:lnTo>
                  <a:pt x="1413816" y="257420"/>
                </a:lnTo>
                <a:cubicBezTo>
                  <a:pt x="1413911" y="186333"/>
                  <a:pt x="1376234" y="142174"/>
                  <a:pt x="1303641" y="142174"/>
                </a:cubicBezTo>
                <a:moveTo>
                  <a:pt x="1600771" y="142174"/>
                </a:moveTo>
                <a:cubicBezTo>
                  <a:pt x="1524752" y="142174"/>
                  <a:pt x="1467571" y="173905"/>
                  <a:pt x="1467571" y="241602"/>
                </a:cubicBezTo>
                <a:cubicBezTo>
                  <a:pt x="1467571" y="298943"/>
                  <a:pt x="1507341" y="330014"/>
                  <a:pt x="1551962" y="341030"/>
                </a:cubicBezTo>
                <a:lnTo>
                  <a:pt x="1621702" y="358260"/>
                </a:lnTo>
                <a:cubicBezTo>
                  <a:pt x="1658712" y="367205"/>
                  <a:pt x="1675457" y="380387"/>
                  <a:pt x="1675457" y="409387"/>
                </a:cubicBezTo>
                <a:cubicBezTo>
                  <a:pt x="1675457" y="444601"/>
                  <a:pt x="1650340" y="464656"/>
                  <a:pt x="1606384" y="464656"/>
                </a:cubicBezTo>
                <a:cubicBezTo>
                  <a:pt x="1558908" y="464656"/>
                  <a:pt x="1534551" y="441870"/>
                  <a:pt x="1526845" y="384624"/>
                </a:cubicBezTo>
                <a:lnTo>
                  <a:pt x="1452919" y="405338"/>
                </a:lnTo>
                <a:cubicBezTo>
                  <a:pt x="1457106" y="464750"/>
                  <a:pt x="1512954" y="501282"/>
                  <a:pt x="1597345" y="501282"/>
                </a:cubicBezTo>
                <a:cubicBezTo>
                  <a:pt x="1691536" y="501282"/>
                  <a:pt x="1742438" y="457782"/>
                  <a:pt x="1742438" y="388767"/>
                </a:cubicBezTo>
                <a:cubicBezTo>
                  <a:pt x="1742438" y="323894"/>
                  <a:pt x="1697055" y="296965"/>
                  <a:pt x="1649674" y="285196"/>
                </a:cubicBezTo>
                <a:lnTo>
                  <a:pt x="1582693" y="268625"/>
                </a:lnTo>
                <a:cubicBezTo>
                  <a:pt x="1549203" y="260339"/>
                  <a:pt x="1534551" y="245180"/>
                  <a:pt x="1534551" y="223054"/>
                </a:cubicBezTo>
                <a:cubicBezTo>
                  <a:pt x="1534551" y="195466"/>
                  <a:pt x="1558242" y="178895"/>
                  <a:pt x="1593825" y="178895"/>
                </a:cubicBezTo>
                <a:cubicBezTo>
                  <a:pt x="1635688" y="178895"/>
                  <a:pt x="1661471" y="201680"/>
                  <a:pt x="1664992" y="245180"/>
                </a:cubicBezTo>
                <a:lnTo>
                  <a:pt x="1734731" y="224466"/>
                </a:lnTo>
                <a:cubicBezTo>
                  <a:pt x="1726358" y="175976"/>
                  <a:pt x="1678216" y="142174"/>
                  <a:pt x="1600771" y="142174"/>
                </a:cubicBezTo>
                <a:moveTo>
                  <a:pt x="1946803" y="463149"/>
                </a:moveTo>
                <a:cubicBezTo>
                  <a:pt x="1893048" y="463149"/>
                  <a:pt x="1863078" y="412776"/>
                  <a:pt x="1863078" y="321634"/>
                </a:cubicBezTo>
                <a:cubicBezTo>
                  <a:pt x="1863078" y="229080"/>
                  <a:pt x="1893048" y="180119"/>
                  <a:pt x="1946803" y="180119"/>
                </a:cubicBezTo>
                <a:cubicBezTo>
                  <a:pt x="2000559" y="180119"/>
                  <a:pt x="2030529" y="229833"/>
                  <a:pt x="2030529" y="321634"/>
                </a:cubicBezTo>
                <a:cubicBezTo>
                  <a:pt x="2030529" y="414189"/>
                  <a:pt x="2000464" y="463149"/>
                  <a:pt x="1946803" y="463149"/>
                </a:cubicBezTo>
                <a:moveTo>
                  <a:pt x="1946803" y="142174"/>
                </a:moveTo>
                <a:cubicBezTo>
                  <a:pt x="1837294" y="142174"/>
                  <a:pt x="1776594" y="222959"/>
                  <a:pt x="1776594" y="321634"/>
                </a:cubicBezTo>
                <a:cubicBezTo>
                  <a:pt x="1776594" y="420309"/>
                  <a:pt x="1837294" y="501094"/>
                  <a:pt x="1946803" y="501094"/>
                </a:cubicBezTo>
                <a:cubicBezTo>
                  <a:pt x="2056312" y="501094"/>
                  <a:pt x="2117013" y="420309"/>
                  <a:pt x="2117013" y="321634"/>
                </a:cubicBezTo>
                <a:cubicBezTo>
                  <a:pt x="2117013" y="222959"/>
                  <a:pt x="2056312" y="142174"/>
                  <a:pt x="1946803" y="142174"/>
                </a:cubicBezTo>
                <a:moveTo>
                  <a:pt x="2348590" y="142174"/>
                </a:moveTo>
                <a:cubicBezTo>
                  <a:pt x="2296927" y="142174"/>
                  <a:pt x="2268385" y="164301"/>
                  <a:pt x="2252306" y="192547"/>
                </a:cubicBezTo>
                <a:lnTo>
                  <a:pt x="2248119" y="192547"/>
                </a:lnTo>
                <a:lnTo>
                  <a:pt x="2248119" y="149048"/>
                </a:lnTo>
                <a:lnTo>
                  <a:pt x="2165821" y="149048"/>
                </a:lnTo>
                <a:lnTo>
                  <a:pt x="2165821" y="494221"/>
                </a:lnTo>
                <a:lnTo>
                  <a:pt x="2248119" y="494221"/>
                </a:lnTo>
                <a:lnTo>
                  <a:pt x="2248119" y="271261"/>
                </a:lnTo>
                <a:cubicBezTo>
                  <a:pt x="2248119" y="220229"/>
                  <a:pt x="2274664" y="190476"/>
                  <a:pt x="2317193" y="190476"/>
                </a:cubicBezTo>
                <a:cubicBezTo>
                  <a:pt x="2358389" y="190476"/>
                  <a:pt x="2376466" y="217404"/>
                  <a:pt x="2376466" y="258173"/>
                </a:cubicBezTo>
                <a:lnTo>
                  <a:pt x="2376466" y="494221"/>
                </a:lnTo>
                <a:lnTo>
                  <a:pt x="2458764" y="494221"/>
                </a:lnTo>
                <a:lnTo>
                  <a:pt x="2458764" y="257420"/>
                </a:lnTo>
                <a:cubicBezTo>
                  <a:pt x="2458764" y="186333"/>
                  <a:pt x="2421088" y="142174"/>
                  <a:pt x="2348590" y="142174"/>
                </a:cubicBezTo>
                <a:moveTo>
                  <a:pt x="3571359" y="463149"/>
                </a:moveTo>
                <a:cubicBezTo>
                  <a:pt x="3517604" y="463149"/>
                  <a:pt x="3487634" y="412776"/>
                  <a:pt x="3487634" y="321634"/>
                </a:cubicBezTo>
                <a:cubicBezTo>
                  <a:pt x="3487634" y="229080"/>
                  <a:pt x="3517604" y="180119"/>
                  <a:pt x="3571359" y="180119"/>
                </a:cubicBezTo>
                <a:cubicBezTo>
                  <a:pt x="3625115" y="180119"/>
                  <a:pt x="3655085" y="229833"/>
                  <a:pt x="3655085" y="321634"/>
                </a:cubicBezTo>
                <a:cubicBezTo>
                  <a:pt x="3655085" y="414189"/>
                  <a:pt x="3625020" y="463149"/>
                  <a:pt x="3571359" y="463149"/>
                </a:cubicBezTo>
                <a:moveTo>
                  <a:pt x="3571359" y="142174"/>
                </a:moveTo>
                <a:cubicBezTo>
                  <a:pt x="3461850" y="142174"/>
                  <a:pt x="3401150" y="222959"/>
                  <a:pt x="3401150" y="321634"/>
                </a:cubicBezTo>
                <a:cubicBezTo>
                  <a:pt x="3401150" y="420309"/>
                  <a:pt x="3461850" y="501094"/>
                  <a:pt x="3571359" y="501094"/>
                </a:cubicBezTo>
                <a:cubicBezTo>
                  <a:pt x="3680868" y="501094"/>
                  <a:pt x="3741569" y="420309"/>
                  <a:pt x="3741569" y="321634"/>
                </a:cubicBezTo>
                <a:cubicBezTo>
                  <a:pt x="3741569" y="222959"/>
                  <a:pt x="3680868" y="142174"/>
                  <a:pt x="3571359" y="142174"/>
                </a:cubicBezTo>
                <a:moveTo>
                  <a:pt x="4332308" y="142174"/>
                </a:moveTo>
                <a:cubicBezTo>
                  <a:pt x="4280646" y="142174"/>
                  <a:pt x="4252103" y="164301"/>
                  <a:pt x="4236024" y="192547"/>
                </a:cubicBezTo>
                <a:lnTo>
                  <a:pt x="4231838" y="192547"/>
                </a:lnTo>
                <a:lnTo>
                  <a:pt x="4231838" y="149048"/>
                </a:lnTo>
                <a:lnTo>
                  <a:pt x="4149539" y="149048"/>
                </a:lnTo>
                <a:lnTo>
                  <a:pt x="4149539" y="494221"/>
                </a:lnTo>
                <a:lnTo>
                  <a:pt x="4231838" y="494221"/>
                </a:lnTo>
                <a:lnTo>
                  <a:pt x="4231838" y="271261"/>
                </a:lnTo>
                <a:cubicBezTo>
                  <a:pt x="4231838" y="220229"/>
                  <a:pt x="4258383" y="190476"/>
                  <a:pt x="4300911" y="190476"/>
                </a:cubicBezTo>
                <a:cubicBezTo>
                  <a:pt x="4342108" y="190476"/>
                  <a:pt x="4360185" y="217404"/>
                  <a:pt x="4360185" y="258173"/>
                </a:cubicBezTo>
                <a:lnTo>
                  <a:pt x="4360185" y="494221"/>
                </a:lnTo>
                <a:lnTo>
                  <a:pt x="4442483" y="494221"/>
                </a:lnTo>
                <a:lnTo>
                  <a:pt x="4442483" y="257420"/>
                </a:lnTo>
                <a:cubicBezTo>
                  <a:pt x="4442578" y="186333"/>
                  <a:pt x="4404902" y="142174"/>
                  <a:pt x="4332308" y="142174"/>
                </a:cubicBezTo>
                <a:moveTo>
                  <a:pt x="4629533" y="142174"/>
                </a:moveTo>
                <a:cubicBezTo>
                  <a:pt x="4553514" y="142174"/>
                  <a:pt x="4496334" y="173905"/>
                  <a:pt x="4496334" y="241602"/>
                </a:cubicBezTo>
                <a:cubicBezTo>
                  <a:pt x="4496334" y="298943"/>
                  <a:pt x="4536103" y="330014"/>
                  <a:pt x="4580725" y="341030"/>
                </a:cubicBezTo>
                <a:lnTo>
                  <a:pt x="4650464" y="358260"/>
                </a:lnTo>
                <a:cubicBezTo>
                  <a:pt x="4687475" y="367205"/>
                  <a:pt x="4704220" y="380387"/>
                  <a:pt x="4704220" y="409387"/>
                </a:cubicBezTo>
                <a:cubicBezTo>
                  <a:pt x="4704220" y="444601"/>
                  <a:pt x="4679102" y="464656"/>
                  <a:pt x="4635146" y="464656"/>
                </a:cubicBezTo>
                <a:cubicBezTo>
                  <a:pt x="4587670" y="464656"/>
                  <a:pt x="4563314" y="441870"/>
                  <a:pt x="4555607" y="384624"/>
                </a:cubicBezTo>
                <a:lnTo>
                  <a:pt x="4481682" y="405338"/>
                </a:lnTo>
                <a:cubicBezTo>
                  <a:pt x="4485868" y="464750"/>
                  <a:pt x="4541716" y="501282"/>
                  <a:pt x="4626108" y="501282"/>
                </a:cubicBezTo>
                <a:cubicBezTo>
                  <a:pt x="4720299" y="501282"/>
                  <a:pt x="4771200" y="457782"/>
                  <a:pt x="4771200" y="388767"/>
                </a:cubicBezTo>
                <a:cubicBezTo>
                  <a:pt x="4771200" y="323894"/>
                  <a:pt x="4725817" y="296965"/>
                  <a:pt x="4678436" y="285196"/>
                </a:cubicBezTo>
                <a:lnTo>
                  <a:pt x="4611456" y="268625"/>
                </a:lnTo>
                <a:cubicBezTo>
                  <a:pt x="4577966" y="260339"/>
                  <a:pt x="4563314" y="245180"/>
                  <a:pt x="4563314" y="223054"/>
                </a:cubicBezTo>
                <a:cubicBezTo>
                  <a:pt x="4563314" y="195466"/>
                  <a:pt x="4587004" y="178895"/>
                  <a:pt x="4622588" y="178895"/>
                </a:cubicBezTo>
                <a:cubicBezTo>
                  <a:pt x="4664450" y="178895"/>
                  <a:pt x="4690234" y="201680"/>
                  <a:pt x="4693754" y="245180"/>
                </a:cubicBezTo>
                <a:lnTo>
                  <a:pt x="4763493" y="224466"/>
                </a:lnTo>
                <a:cubicBezTo>
                  <a:pt x="4755026" y="175976"/>
                  <a:pt x="4706884" y="142174"/>
                  <a:pt x="4629533" y="142174"/>
                </a:cubicBezTo>
                <a:moveTo>
                  <a:pt x="4975471" y="463149"/>
                </a:moveTo>
                <a:cubicBezTo>
                  <a:pt x="4921715" y="463149"/>
                  <a:pt x="4891745" y="412776"/>
                  <a:pt x="4891745" y="321634"/>
                </a:cubicBezTo>
                <a:cubicBezTo>
                  <a:pt x="4891745" y="229080"/>
                  <a:pt x="4921715" y="180119"/>
                  <a:pt x="4975471" y="180119"/>
                </a:cubicBezTo>
                <a:cubicBezTo>
                  <a:pt x="5029226" y="180119"/>
                  <a:pt x="5059196" y="229833"/>
                  <a:pt x="5059196" y="321634"/>
                </a:cubicBezTo>
                <a:cubicBezTo>
                  <a:pt x="5059196" y="414189"/>
                  <a:pt x="5029131" y="463149"/>
                  <a:pt x="4975471" y="463149"/>
                </a:cubicBezTo>
                <a:moveTo>
                  <a:pt x="4975471" y="142174"/>
                </a:moveTo>
                <a:cubicBezTo>
                  <a:pt x="4865962" y="142174"/>
                  <a:pt x="4805261" y="222959"/>
                  <a:pt x="4805261" y="321634"/>
                </a:cubicBezTo>
                <a:cubicBezTo>
                  <a:pt x="4805261" y="420309"/>
                  <a:pt x="4865962" y="501094"/>
                  <a:pt x="4975471" y="501094"/>
                </a:cubicBezTo>
                <a:cubicBezTo>
                  <a:pt x="5084980" y="501094"/>
                  <a:pt x="5145680" y="420309"/>
                  <a:pt x="5145680" y="321634"/>
                </a:cubicBezTo>
                <a:cubicBezTo>
                  <a:pt x="5145680" y="222959"/>
                  <a:pt x="5084980" y="142174"/>
                  <a:pt x="4975471" y="142174"/>
                </a:cubicBezTo>
                <a:moveTo>
                  <a:pt x="5377257" y="142174"/>
                </a:moveTo>
                <a:cubicBezTo>
                  <a:pt x="5325595" y="142174"/>
                  <a:pt x="5297052" y="164301"/>
                  <a:pt x="5280973" y="192547"/>
                </a:cubicBezTo>
                <a:lnTo>
                  <a:pt x="5276787" y="192547"/>
                </a:lnTo>
                <a:lnTo>
                  <a:pt x="5276787" y="149048"/>
                </a:lnTo>
                <a:lnTo>
                  <a:pt x="5194488" y="149048"/>
                </a:lnTo>
                <a:lnTo>
                  <a:pt x="5194488" y="494221"/>
                </a:lnTo>
                <a:lnTo>
                  <a:pt x="5276787" y="494221"/>
                </a:lnTo>
                <a:lnTo>
                  <a:pt x="5276787" y="271261"/>
                </a:lnTo>
                <a:cubicBezTo>
                  <a:pt x="5276787" y="220229"/>
                  <a:pt x="5303331" y="190476"/>
                  <a:pt x="5345860" y="190476"/>
                </a:cubicBezTo>
                <a:cubicBezTo>
                  <a:pt x="5387057" y="190476"/>
                  <a:pt x="5405134" y="217404"/>
                  <a:pt x="5405134" y="258173"/>
                </a:cubicBezTo>
                <a:lnTo>
                  <a:pt x="5405134" y="494221"/>
                </a:lnTo>
                <a:lnTo>
                  <a:pt x="5487432" y="494221"/>
                </a:lnTo>
                <a:lnTo>
                  <a:pt x="5487432" y="257420"/>
                </a:lnTo>
                <a:cubicBezTo>
                  <a:pt x="5487432" y="186333"/>
                  <a:pt x="5449755" y="142174"/>
                  <a:pt x="5377257" y="142174"/>
                </a:cubicBezTo>
                <a:moveTo>
                  <a:pt x="323674" y="11016"/>
                </a:moveTo>
                <a:lnTo>
                  <a:pt x="237190" y="11016"/>
                </a:lnTo>
                <a:lnTo>
                  <a:pt x="237190" y="367864"/>
                </a:lnTo>
                <a:cubicBezTo>
                  <a:pt x="237190" y="425864"/>
                  <a:pt x="214831" y="460325"/>
                  <a:pt x="161837" y="460325"/>
                </a:cubicBezTo>
                <a:cubicBezTo>
                  <a:pt x="109509" y="460325"/>
                  <a:pt x="86484" y="423698"/>
                  <a:pt x="86484" y="360897"/>
                </a:cubicBezTo>
                <a:lnTo>
                  <a:pt x="86484" y="294612"/>
                </a:lnTo>
                <a:lnTo>
                  <a:pt x="0" y="315985"/>
                </a:lnTo>
                <a:lnTo>
                  <a:pt x="0" y="345644"/>
                </a:lnTo>
                <a:cubicBezTo>
                  <a:pt x="0" y="436033"/>
                  <a:pt x="45383" y="505143"/>
                  <a:pt x="161837" y="505143"/>
                </a:cubicBezTo>
                <a:cubicBezTo>
                  <a:pt x="278291" y="505143"/>
                  <a:pt x="323674" y="436127"/>
                  <a:pt x="323674" y="345644"/>
                </a:cubicBezTo>
                <a:lnTo>
                  <a:pt x="323674" y="11016"/>
                </a:lnTo>
                <a:moveTo>
                  <a:pt x="844008" y="11016"/>
                </a:moveTo>
                <a:lnTo>
                  <a:pt x="761710" y="11016"/>
                </a:lnTo>
                <a:lnTo>
                  <a:pt x="761710" y="494221"/>
                </a:lnTo>
                <a:lnTo>
                  <a:pt x="844008" y="494221"/>
                </a:lnTo>
                <a:lnTo>
                  <a:pt x="844008" y="271261"/>
                </a:lnTo>
                <a:cubicBezTo>
                  <a:pt x="844008" y="220229"/>
                  <a:pt x="870553" y="190476"/>
                  <a:pt x="913081" y="190476"/>
                </a:cubicBezTo>
                <a:cubicBezTo>
                  <a:pt x="954278" y="190476"/>
                  <a:pt x="972355" y="217404"/>
                  <a:pt x="972355" y="258173"/>
                </a:cubicBezTo>
                <a:lnTo>
                  <a:pt x="972355" y="494221"/>
                </a:lnTo>
                <a:lnTo>
                  <a:pt x="1054653" y="494221"/>
                </a:lnTo>
                <a:lnTo>
                  <a:pt x="1054653" y="257420"/>
                </a:lnTo>
                <a:cubicBezTo>
                  <a:pt x="1054653" y="186333"/>
                  <a:pt x="1016977" y="142174"/>
                  <a:pt x="944478" y="142174"/>
                </a:cubicBezTo>
                <a:cubicBezTo>
                  <a:pt x="892816" y="142174"/>
                  <a:pt x="864273" y="164301"/>
                  <a:pt x="848194" y="192547"/>
                </a:cubicBezTo>
                <a:lnTo>
                  <a:pt x="844008" y="192547"/>
                </a:lnTo>
                <a:lnTo>
                  <a:pt x="844008" y="11016"/>
                </a:lnTo>
                <a:moveTo>
                  <a:pt x="3352342" y="11016"/>
                </a:moveTo>
                <a:lnTo>
                  <a:pt x="3265857" y="11016"/>
                </a:lnTo>
                <a:lnTo>
                  <a:pt x="3265857" y="367864"/>
                </a:lnTo>
                <a:cubicBezTo>
                  <a:pt x="3265857" y="425864"/>
                  <a:pt x="3243499" y="460325"/>
                  <a:pt x="3190504" y="460325"/>
                </a:cubicBezTo>
                <a:cubicBezTo>
                  <a:pt x="3138176" y="460325"/>
                  <a:pt x="3115152" y="423698"/>
                  <a:pt x="3115152" y="360897"/>
                </a:cubicBezTo>
                <a:lnTo>
                  <a:pt x="3115152" y="294612"/>
                </a:lnTo>
                <a:lnTo>
                  <a:pt x="3028667" y="315985"/>
                </a:lnTo>
                <a:lnTo>
                  <a:pt x="3028667" y="345644"/>
                </a:lnTo>
                <a:cubicBezTo>
                  <a:pt x="3028667" y="436033"/>
                  <a:pt x="3074050" y="505143"/>
                  <a:pt x="3190504" y="505143"/>
                </a:cubicBezTo>
                <a:cubicBezTo>
                  <a:pt x="3306959" y="505143"/>
                  <a:pt x="3352342" y="436127"/>
                  <a:pt x="3352342" y="345644"/>
                </a:cubicBezTo>
                <a:lnTo>
                  <a:pt x="3352342" y="11016"/>
                </a:lnTo>
                <a:moveTo>
                  <a:pt x="3872675" y="11016"/>
                </a:moveTo>
                <a:lnTo>
                  <a:pt x="3790377" y="11016"/>
                </a:lnTo>
                <a:lnTo>
                  <a:pt x="3790377" y="494221"/>
                </a:lnTo>
                <a:lnTo>
                  <a:pt x="3872675" y="494221"/>
                </a:lnTo>
                <a:lnTo>
                  <a:pt x="3872675" y="271261"/>
                </a:lnTo>
                <a:cubicBezTo>
                  <a:pt x="3872675" y="220229"/>
                  <a:pt x="3899220" y="190476"/>
                  <a:pt x="3941749" y="190476"/>
                </a:cubicBezTo>
                <a:cubicBezTo>
                  <a:pt x="3982945" y="190476"/>
                  <a:pt x="4001022" y="217404"/>
                  <a:pt x="4001022" y="258173"/>
                </a:cubicBezTo>
                <a:lnTo>
                  <a:pt x="4001022" y="494221"/>
                </a:lnTo>
                <a:lnTo>
                  <a:pt x="4083320" y="494221"/>
                </a:lnTo>
                <a:lnTo>
                  <a:pt x="4083320" y="257420"/>
                </a:lnTo>
                <a:cubicBezTo>
                  <a:pt x="4083320" y="186333"/>
                  <a:pt x="4045644" y="142174"/>
                  <a:pt x="3973146" y="142174"/>
                </a:cubicBezTo>
                <a:cubicBezTo>
                  <a:pt x="3921483" y="142174"/>
                  <a:pt x="3892941" y="164301"/>
                  <a:pt x="3876861" y="192547"/>
                </a:cubicBezTo>
                <a:lnTo>
                  <a:pt x="3872675" y="192547"/>
                </a:lnTo>
                <a:lnTo>
                  <a:pt x="3872675" y="11016"/>
                </a:lnTo>
                <a:moveTo>
                  <a:pt x="2730110" y="454864"/>
                </a:moveTo>
                <a:cubicBezTo>
                  <a:pt x="2663130" y="454864"/>
                  <a:pt x="2622029" y="401007"/>
                  <a:pt x="2622029" y="343761"/>
                </a:cubicBezTo>
                <a:cubicBezTo>
                  <a:pt x="2622029" y="307887"/>
                  <a:pt x="2638108" y="274745"/>
                  <a:pt x="2664557" y="256102"/>
                </a:cubicBezTo>
                <a:lnTo>
                  <a:pt x="2822208" y="426617"/>
                </a:lnTo>
                <a:cubicBezTo>
                  <a:pt x="2792904" y="443848"/>
                  <a:pt x="2760080" y="454864"/>
                  <a:pt x="2730110" y="454864"/>
                </a:cubicBezTo>
                <a:moveTo>
                  <a:pt x="2883575" y="369936"/>
                </a:moveTo>
                <a:lnTo>
                  <a:pt x="2746856" y="220794"/>
                </a:lnTo>
                <a:cubicBezTo>
                  <a:pt x="2771307" y="211096"/>
                  <a:pt x="2794998" y="207706"/>
                  <a:pt x="2814502" y="207706"/>
                </a:cubicBezTo>
                <a:cubicBezTo>
                  <a:pt x="2871016" y="207706"/>
                  <a:pt x="2905838" y="240190"/>
                  <a:pt x="2905838" y="296118"/>
                </a:cubicBezTo>
                <a:cubicBezTo>
                  <a:pt x="2905934" y="320975"/>
                  <a:pt x="2898893" y="346491"/>
                  <a:pt x="2883575" y="369936"/>
                </a:cubicBezTo>
                <a:moveTo>
                  <a:pt x="2728017" y="200833"/>
                </a:moveTo>
                <a:lnTo>
                  <a:pt x="2698047" y="167690"/>
                </a:lnTo>
                <a:cubicBezTo>
                  <a:pt x="2671503" y="138691"/>
                  <a:pt x="2663891" y="120707"/>
                  <a:pt x="2663891" y="99334"/>
                </a:cubicBezTo>
                <a:cubicBezTo>
                  <a:pt x="2663891" y="59318"/>
                  <a:pt x="2689675" y="36532"/>
                  <a:pt x="2730110" y="36532"/>
                </a:cubicBezTo>
                <a:cubicBezTo>
                  <a:pt x="2771307" y="36532"/>
                  <a:pt x="2795664" y="59977"/>
                  <a:pt x="2795664" y="102817"/>
                </a:cubicBezTo>
                <a:cubicBezTo>
                  <a:pt x="2795664" y="142174"/>
                  <a:pt x="2776159" y="179460"/>
                  <a:pt x="2728017" y="200833"/>
                </a:cubicBezTo>
                <a:moveTo>
                  <a:pt x="2732204" y="0"/>
                </a:moveTo>
                <a:cubicBezTo>
                  <a:pt x="2635920" y="0"/>
                  <a:pt x="2588539" y="53198"/>
                  <a:pt x="2588539" y="119389"/>
                </a:cubicBezTo>
                <a:cubicBezTo>
                  <a:pt x="2588539" y="155262"/>
                  <a:pt x="2603857" y="191229"/>
                  <a:pt x="2644387" y="234635"/>
                </a:cubicBezTo>
                <a:lnTo>
                  <a:pt x="2645053" y="236047"/>
                </a:lnTo>
                <a:cubicBezTo>
                  <a:pt x="2576741" y="268531"/>
                  <a:pt x="2545344" y="320975"/>
                  <a:pt x="2545344" y="374832"/>
                </a:cubicBezTo>
                <a:cubicBezTo>
                  <a:pt x="2545344" y="445919"/>
                  <a:pt x="2600432" y="505331"/>
                  <a:pt x="2685584" y="505331"/>
                </a:cubicBezTo>
                <a:cubicBezTo>
                  <a:pt x="2734392" y="505331"/>
                  <a:pt x="2791573" y="485276"/>
                  <a:pt x="2843235" y="449403"/>
                </a:cubicBezTo>
                <a:lnTo>
                  <a:pt x="2885097" y="494315"/>
                </a:lnTo>
                <a:lnTo>
                  <a:pt x="2994606" y="494315"/>
                </a:lnTo>
                <a:lnTo>
                  <a:pt x="2994606" y="490831"/>
                </a:lnTo>
                <a:lnTo>
                  <a:pt x="2905363" y="393474"/>
                </a:lnTo>
                <a:cubicBezTo>
                  <a:pt x="2943039" y="349316"/>
                  <a:pt x="2964637" y="301014"/>
                  <a:pt x="2964637" y="258833"/>
                </a:cubicBezTo>
                <a:cubicBezTo>
                  <a:pt x="2964637" y="206388"/>
                  <a:pt x="2929053" y="171174"/>
                  <a:pt x="2873300" y="171174"/>
                </a:cubicBezTo>
                <a:cubicBezTo>
                  <a:pt x="2843996" y="171174"/>
                  <a:pt x="2811172" y="179460"/>
                  <a:pt x="2789574" y="187745"/>
                </a:cubicBezTo>
                <a:lnTo>
                  <a:pt x="2788147" y="185015"/>
                </a:lnTo>
                <a:cubicBezTo>
                  <a:pt x="2841142" y="156674"/>
                  <a:pt x="2863500" y="130499"/>
                  <a:pt x="2863500" y="93873"/>
                </a:cubicBezTo>
                <a:cubicBezTo>
                  <a:pt x="2863310" y="41428"/>
                  <a:pt x="2815929" y="0"/>
                  <a:pt x="2732204" y="0"/>
                </a:cubicBezTo>
              </a:path>
            </a:pathLst>
          </a:custGeom>
          <a:solidFill>
            <a:schemeClr val="accent1"/>
          </a:solidFill>
          <a:ln w="9509" cap="flat">
            <a:noFill/>
            <a:prstDash val="solid"/>
            <a:miter/>
          </a:ln>
        </p:spPr>
        <p:txBody>
          <a:bodyPr rtlCol="0" anchor="ctr"/>
          <a:lstStyle/>
          <a:p>
            <a:endParaRPr lang="en-GB"/>
          </a:p>
        </p:txBody>
      </p:sp>
    </p:spTree>
    <p:extLst>
      <p:ext uri="{BB962C8B-B14F-4D97-AF65-F5344CB8AC3E}">
        <p14:creationId xmlns:p14="http://schemas.microsoft.com/office/powerpoint/2010/main" val="79949066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1_Title Slide with Image - Long titles ">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F71E3-AC39-2207-0CC4-1E2486610795}"/>
              </a:ext>
            </a:extLst>
          </p:cNvPr>
          <p:cNvSpPr>
            <a:spLocks noGrp="1"/>
          </p:cNvSpPr>
          <p:nvPr>
            <p:ph type="ctrTitle" hasCustomPrompt="1"/>
          </p:nvPr>
        </p:nvSpPr>
        <p:spPr>
          <a:xfrm>
            <a:off x="285980" y="266955"/>
            <a:ext cx="5734050" cy="3482172"/>
          </a:xfrm>
        </p:spPr>
        <p:txBody>
          <a:bodyPr wrap="square" anchor="t">
            <a:normAutofit/>
          </a:bodyPr>
          <a:lstStyle>
            <a:lvl1pPr algn="l">
              <a:lnSpc>
                <a:spcPct val="80000"/>
              </a:lnSpc>
              <a:defRPr sz="7000" b="0" i="0" spc="0" baseline="0">
                <a:solidFill>
                  <a:schemeClr val="bg1"/>
                </a:solidFill>
                <a:latin typeface="+mj-lt"/>
              </a:defRPr>
            </a:lvl1pPr>
          </a:lstStyle>
          <a:p>
            <a:r>
              <a:rPr lang="en-GB"/>
              <a:t>Longer titles will shrink automatically</a:t>
            </a:r>
            <a:br>
              <a:rPr lang="en-GB"/>
            </a:br>
            <a:endParaRPr lang="en-GB"/>
          </a:p>
        </p:txBody>
      </p:sp>
      <p:sp>
        <p:nvSpPr>
          <p:cNvPr id="9" name="Subtitle 2">
            <a:extLst>
              <a:ext uri="{FF2B5EF4-FFF2-40B4-BE49-F238E27FC236}">
                <a16:creationId xmlns:a16="http://schemas.microsoft.com/office/drawing/2014/main" id="{52CA5BFA-B5A6-B786-4C05-6FD9C9E49AB2}"/>
              </a:ext>
            </a:extLst>
          </p:cNvPr>
          <p:cNvSpPr>
            <a:spLocks noGrp="1"/>
          </p:cNvSpPr>
          <p:nvPr>
            <p:ph type="subTitle" idx="1" hasCustomPrompt="1"/>
          </p:nvPr>
        </p:nvSpPr>
        <p:spPr>
          <a:xfrm>
            <a:off x="284806" y="4889500"/>
            <a:ext cx="2795587" cy="865834"/>
          </a:xfrm>
        </p:spPr>
        <p:txBody>
          <a:bodyPr anchor="b"/>
          <a:lstStyle>
            <a:lvl1pPr marL="0" indent="0" algn="l">
              <a:lnSpc>
                <a:spcPct val="100000"/>
              </a:lnSpc>
              <a:spcBef>
                <a:spcPts val="0"/>
              </a:spcBef>
              <a:spcAft>
                <a:spcPts val="0"/>
              </a:spcAft>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pporting details. Delete if not required.</a:t>
            </a:r>
          </a:p>
        </p:txBody>
      </p:sp>
      <p:sp>
        <p:nvSpPr>
          <p:cNvPr id="11" name="Picture Placeholder 3">
            <a:extLst>
              <a:ext uri="{FF2B5EF4-FFF2-40B4-BE49-F238E27FC236}">
                <a16:creationId xmlns:a16="http://schemas.microsoft.com/office/drawing/2014/main" id="{E1BD3F77-9A53-CD01-DCF8-3C90891AE6D0}"/>
              </a:ext>
            </a:extLst>
          </p:cNvPr>
          <p:cNvSpPr>
            <a:spLocks noGrp="1"/>
          </p:cNvSpPr>
          <p:nvPr>
            <p:ph type="pic" sz="quarter" idx="11" hasCustomPrompt="1"/>
          </p:nvPr>
        </p:nvSpPr>
        <p:spPr>
          <a:xfrm>
            <a:off x="6562381" y="0"/>
            <a:ext cx="5629619" cy="6858000"/>
          </a:xfrm>
          <a:solidFill>
            <a:srgbClr val="F6F3F2"/>
          </a:solidFill>
        </p:spPr>
        <p:txBody>
          <a:bodyPr/>
          <a:lstStyle>
            <a:lvl1pPr>
              <a:defRPr lang="en-US"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4" name="Graphic 2">
            <a:extLst>
              <a:ext uri="{FF2B5EF4-FFF2-40B4-BE49-F238E27FC236}">
                <a16:creationId xmlns:a16="http://schemas.microsoft.com/office/drawing/2014/main" id="{1457E6FC-210A-4A04-1640-ED8A61457C29}"/>
              </a:ext>
            </a:extLst>
          </p:cNvPr>
          <p:cNvSpPr>
            <a:spLocks noChangeAspect="1"/>
          </p:cNvSpPr>
          <p:nvPr/>
        </p:nvSpPr>
        <p:spPr>
          <a:xfrm>
            <a:off x="290513" y="6377853"/>
            <a:ext cx="2034000" cy="187309"/>
          </a:xfrm>
          <a:custGeom>
            <a:avLst/>
            <a:gdLst>
              <a:gd name="connsiteX0" fmla="*/ 542692 w 5487431"/>
              <a:gd name="connsiteY0" fmla="*/ 463149 h 505330"/>
              <a:gd name="connsiteX1" fmla="*/ 458967 w 5487431"/>
              <a:gd name="connsiteY1" fmla="*/ 321634 h 505330"/>
              <a:gd name="connsiteX2" fmla="*/ 542692 w 5487431"/>
              <a:gd name="connsiteY2" fmla="*/ 180119 h 505330"/>
              <a:gd name="connsiteX3" fmla="*/ 626417 w 5487431"/>
              <a:gd name="connsiteY3" fmla="*/ 321634 h 505330"/>
              <a:gd name="connsiteX4" fmla="*/ 542692 w 5487431"/>
              <a:gd name="connsiteY4" fmla="*/ 463149 h 505330"/>
              <a:gd name="connsiteX5" fmla="*/ 542692 w 5487431"/>
              <a:gd name="connsiteY5" fmla="*/ 142174 h 505330"/>
              <a:gd name="connsiteX6" fmla="*/ 372482 w 5487431"/>
              <a:gd name="connsiteY6" fmla="*/ 321634 h 505330"/>
              <a:gd name="connsiteX7" fmla="*/ 542692 w 5487431"/>
              <a:gd name="connsiteY7" fmla="*/ 501094 h 505330"/>
              <a:gd name="connsiteX8" fmla="*/ 712902 w 5487431"/>
              <a:gd name="connsiteY8" fmla="*/ 321634 h 505330"/>
              <a:gd name="connsiteX9" fmla="*/ 542692 w 5487431"/>
              <a:gd name="connsiteY9" fmla="*/ 142174 h 505330"/>
              <a:gd name="connsiteX10" fmla="*/ 1303641 w 5487431"/>
              <a:gd name="connsiteY10" fmla="*/ 142174 h 505330"/>
              <a:gd name="connsiteX11" fmla="*/ 1207357 w 5487431"/>
              <a:gd name="connsiteY11" fmla="*/ 192547 h 505330"/>
              <a:gd name="connsiteX12" fmla="*/ 1203170 w 5487431"/>
              <a:gd name="connsiteY12" fmla="*/ 192547 h 505330"/>
              <a:gd name="connsiteX13" fmla="*/ 1203170 w 5487431"/>
              <a:gd name="connsiteY13" fmla="*/ 149048 h 505330"/>
              <a:gd name="connsiteX14" fmla="*/ 1120872 w 5487431"/>
              <a:gd name="connsiteY14" fmla="*/ 149048 h 505330"/>
              <a:gd name="connsiteX15" fmla="*/ 1120872 w 5487431"/>
              <a:gd name="connsiteY15" fmla="*/ 494221 h 505330"/>
              <a:gd name="connsiteX16" fmla="*/ 1203170 w 5487431"/>
              <a:gd name="connsiteY16" fmla="*/ 494221 h 505330"/>
              <a:gd name="connsiteX17" fmla="*/ 1203170 w 5487431"/>
              <a:gd name="connsiteY17" fmla="*/ 271261 h 505330"/>
              <a:gd name="connsiteX18" fmla="*/ 1272244 w 5487431"/>
              <a:gd name="connsiteY18" fmla="*/ 190476 h 505330"/>
              <a:gd name="connsiteX19" fmla="*/ 1331518 w 5487431"/>
              <a:gd name="connsiteY19" fmla="*/ 258173 h 505330"/>
              <a:gd name="connsiteX20" fmla="*/ 1331518 w 5487431"/>
              <a:gd name="connsiteY20" fmla="*/ 494221 h 505330"/>
              <a:gd name="connsiteX21" fmla="*/ 1413816 w 5487431"/>
              <a:gd name="connsiteY21" fmla="*/ 494221 h 505330"/>
              <a:gd name="connsiteX22" fmla="*/ 1413816 w 5487431"/>
              <a:gd name="connsiteY22" fmla="*/ 257420 h 505330"/>
              <a:gd name="connsiteX23" fmla="*/ 1303641 w 5487431"/>
              <a:gd name="connsiteY23" fmla="*/ 142174 h 505330"/>
              <a:gd name="connsiteX24" fmla="*/ 1600771 w 5487431"/>
              <a:gd name="connsiteY24" fmla="*/ 142174 h 505330"/>
              <a:gd name="connsiteX25" fmla="*/ 1467571 w 5487431"/>
              <a:gd name="connsiteY25" fmla="*/ 241602 h 505330"/>
              <a:gd name="connsiteX26" fmla="*/ 1551962 w 5487431"/>
              <a:gd name="connsiteY26" fmla="*/ 341030 h 505330"/>
              <a:gd name="connsiteX27" fmla="*/ 1621702 w 5487431"/>
              <a:gd name="connsiteY27" fmla="*/ 358260 h 505330"/>
              <a:gd name="connsiteX28" fmla="*/ 1675457 w 5487431"/>
              <a:gd name="connsiteY28" fmla="*/ 409387 h 505330"/>
              <a:gd name="connsiteX29" fmla="*/ 1606384 w 5487431"/>
              <a:gd name="connsiteY29" fmla="*/ 464656 h 505330"/>
              <a:gd name="connsiteX30" fmla="*/ 1526845 w 5487431"/>
              <a:gd name="connsiteY30" fmla="*/ 384624 h 505330"/>
              <a:gd name="connsiteX31" fmla="*/ 1452919 w 5487431"/>
              <a:gd name="connsiteY31" fmla="*/ 405338 h 505330"/>
              <a:gd name="connsiteX32" fmla="*/ 1597345 w 5487431"/>
              <a:gd name="connsiteY32" fmla="*/ 501282 h 505330"/>
              <a:gd name="connsiteX33" fmla="*/ 1742438 w 5487431"/>
              <a:gd name="connsiteY33" fmla="*/ 388767 h 505330"/>
              <a:gd name="connsiteX34" fmla="*/ 1649674 w 5487431"/>
              <a:gd name="connsiteY34" fmla="*/ 285196 h 505330"/>
              <a:gd name="connsiteX35" fmla="*/ 1582693 w 5487431"/>
              <a:gd name="connsiteY35" fmla="*/ 268625 h 505330"/>
              <a:gd name="connsiteX36" fmla="*/ 1534551 w 5487431"/>
              <a:gd name="connsiteY36" fmla="*/ 223054 h 505330"/>
              <a:gd name="connsiteX37" fmla="*/ 1593825 w 5487431"/>
              <a:gd name="connsiteY37" fmla="*/ 178895 h 505330"/>
              <a:gd name="connsiteX38" fmla="*/ 1664992 w 5487431"/>
              <a:gd name="connsiteY38" fmla="*/ 245180 h 505330"/>
              <a:gd name="connsiteX39" fmla="*/ 1734731 w 5487431"/>
              <a:gd name="connsiteY39" fmla="*/ 224466 h 505330"/>
              <a:gd name="connsiteX40" fmla="*/ 1600771 w 5487431"/>
              <a:gd name="connsiteY40" fmla="*/ 142174 h 505330"/>
              <a:gd name="connsiteX41" fmla="*/ 1946803 w 5487431"/>
              <a:gd name="connsiteY41" fmla="*/ 463149 h 505330"/>
              <a:gd name="connsiteX42" fmla="*/ 1863078 w 5487431"/>
              <a:gd name="connsiteY42" fmla="*/ 321634 h 505330"/>
              <a:gd name="connsiteX43" fmla="*/ 1946803 w 5487431"/>
              <a:gd name="connsiteY43" fmla="*/ 180119 h 505330"/>
              <a:gd name="connsiteX44" fmla="*/ 2030529 w 5487431"/>
              <a:gd name="connsiteY44" fmla="*/ 321634 h 505330"/>
              <a:gd name="connsiteX45" fmla="*/ 1946803 w 5487431"/>
              <a:gd name="connsiteY45" fmla="*/ 463149 h 505330"/>
              <a:gd name="connsiteX46" fmla="*/ 1946803 w 5487431"/>
              <a:gd name="connsiteY46" fmla="*/ 142174 h 505330"/>
              <a:gd name="connsiteX47" fmla="*/ 1776594 w 5487431"/>
              <a:gd name="connsiteY47" fmla="*/ 321634 h 505330"/>
              <a:gd name="connsiteX48" fmla="*/ 1946803 w 5487431"/>
              <a:gd name="connsiteY48" fmla="*/ 501094 h 505330"/>
              <a:gd name="connsiteX49" fmla="*/ 2117013 w 5487431"/>
              <a:gd name="connsiteY49" fmla="*/ 321634 h 505330"/>
              <a:gd name="connsiteX50" fmla="*/ 1946803 w 5487431"/>
              <a:gd name="connsiteY50" fmla="*/ 142174 h 505330"/>
              <a:gd name="connsiteX51" fmla="*/ 2348590 w 5487431"/>
              <a:gd name="connsiteY51" fmla="*/ 142174 h 505330"/>
              <a:gd name="connsiteX52" fmla="*/ 2252306 w 5487431"/>
              <a:gd name="connsiteY52" fmla="*/ 192547 h 505330"/>
              <a:gd name="connsiteX53" fmla="*/ 2248119 w 5487431"/>
              <a:gd name="connsiteY53" fmla="*/ 192547 h 505330"/>
              <a:gd name="connsiteX54" fmla="*/ 2248119 w 5487431"/>
              <a:gd name="connsiteY54" fmla="*/ 149048 h 505330"/>
              <a:gd name="connsiteX55" fmla="*/ 2165821 w 5487431"/>
              <a:gd name="connsiteY55" fmla="*/ 149048 h 505330"/>
              <a:gd name="connsiteX56" fmla="*/ 2165821 w 5487431"/>
              <a:gd name="connsiteY56" fmla="*/ 494221 h 505330"/>
              <a:gd name="connsiteX57" fmla="*/ 2248119 w 5487431"/>
              <a:gd name="connsiteY57" fmla="*/ 494221 h 505330"/>
              <a:gd name="connsiteX58" fmla="*/ 2248119 w 5487431"/>
              <a:gd name="connsiteY58" fmla="*/ 271261 h 505330"/>
              <a:gd name="connsiteX59" fmla="*/ 2317193 w 5487431"/>
              <a:gd name="connsiteY59" fmla="*/ 190476 h 505330"/>
              <a:gd name="connsiteX60" fmla="*/ 2376466 w 5487431"/>
              <a:gd name="connsiteY60" fmla="*/ 258173 h 505330"/>
              <a:gd name="connsiteX61" fmla="*/ 2376466 w 5487431"/>
              <a:gd name="connsiteY61" fmla="*/ 494221 h 505330"/>
              <a:gd name="connsiteX62" fmla="*/ 2458764 w 5487431"/>
              <a:gd name="connsiteY62" fmla="*/ 494221 h 505330"/>
              <a:gd name="connsiteX63" fmla="*/ 2458764 w 5487431"/>
              <a:gd name="connsiteY63" fmla="*/ 257420 h 505330"/>
              <a:gd name="connsiteX64" fmla="*/ 2348590 w 5487431"/>
              <a:gd name="connsiteY64" fmla="*/ 142174 h 505330"/>
              <a:gd name="connsiteX65" fmla="*/ 3571359 w 5487431"/>
              <a:gd name="connsiteY65" fmla="*/ 463149 h 505330"/>
              <a:gd name="connsiteX66" fmla="*/ 3487634 w 5487431"/>
              <a:gd name="connsiteY66" fmla="*/ 321634 h 505330"/>
              <a:gd name="connsiteX67" fmla="*/ 3571359 w 5487431"/>
              <a:gd name="connsiteY67" fmla="*/ 180119 h 505330"/>
              <a:gd name="connsiteX68" fmla="*/ 3655085 w 5487431"/>
              <a:gd name="connsiteY68" fmla="*/ 321634 h 505330"/>
              <a:gd name="connsiteX69" fmla="*/ 3571359 w 5487431"/>
              <a:gd name="connsiteY69" fmla="*/ 463149 h 505330"/>
              <a:gd name="connsiteX70" fmla="*/ 3571359 w 5487431"/>
              <a:gd name="connsiteY70" fmla="*/ 142174 h 505330"/>
              <a:gd name="connsiteX71" fmla="*/ 3401150 w 5487431"/>
              <a:gd name="connsiteY71" fmla="*/ 321634 h 505330"/>
              <a:gd name="connsiteX72" fmla="*/ 3571359 w 5487431"/>
              <a:gd name="connsiteY72" fmla="*/ 501094 h 505330"/>
              <a:gd name="connsiteX73" fmla="*/ 3741569 w 5487431"/>
              <a:gd name="connsiteY73" fmla="*/ 321634 h 505330"/>
              <a:gd name="connsiteX74" fmla="*/ 3571359 w 5487431"/>
              <a:gd name="connsiteY74" fmla="*/ 142174 h 505330"/>
              <a:gd name="connsiteX75" fmla="*/ 4332308 w 5487431"/>
              <a:gd name="connsiteY75" fmla="*/ 142174 h 505330"/>
              <a:gd name="connsiteX76" fmla="*/ 4236024 w 5487431"/>
              <a:gd name="connsiteY76" fmla="*/ 192547 h 505330"/>
              <a:gd name="connsiteX77" fmla="*/ 4231838 w 5487431"/>
              <a:gd name="connsiteY77" fmla="*/ 192547 h 505330"/>
              <a:gd name="connsiteX78" fmla="*/ 4231838 w 5487431"/>
              <a:gd name="connsiteY78" fmla="*/ 149048 h 505330"/>
              <a:gd name="connsiteX79" fmla="*/ 4149539 w 5487431"/>
              <a:gd name="connsiteY79" fmla="*/ 149048 h 505330"/>
              <a:gd name="connsiteX80" fmla="*/ 4149539 w 5487431"/>
              <a:gd name="connsiteY80" fmla="*/ 494221 h 505330"/>
              <a:gd name="connsiteX81" fmla="*/ 4231838 w 5487431"/>
              <a:gd name="connsiteY81" fmla="*/ 494221 h 505330"/>
              <a:gd name="connsiteX82" fmla="*/ 4231838 w 5487431"/>
              <a:gd name="connsiteY82" fmla="*/ 271261 h 505330"/>
              <a:gd name="connsiteX83" fmla="*/ 4300911 w 5487431"/>
              <a:gd name="connsiteY83" fmla="*/ 190476 h 505330"/>
              <a:gd name="connsiteX84" fmla="*/ 4360185 w 5487431"/>
              <a:gd name="connsiteY84" fmla="*/ 258173 h 505330"/>
              <a:gd name="connsiteX85" fmla="*/ 4360185 w 5487431"/>
              <a:gd name="connsiteY85" fmla="*/ 494221 h 505330"/>
              <a:gd name="connsiteX86" fmla="*/ 4442483 w 5487431"/>
              <a:gd name="connsiteY86" fmla="*/ 494221 h 505330"/>
              <a:gd name="connsiteX87" fmla="*/ 4442483 w 5487431"/>
              <a:gd name="connsiteY87" fmla="*/ 257420 h 505330"/>
              <a:gd name="connsiteX88" fmla="*/ 4332308 w 5487431"/>
              <a:gd name="connsiteY88" fmla="*/ 142174 h 505330"/>
              <a:gd name="connsiteX89" fmla="*/ 4629533 w 5487431"/>
              <a:gd name="connsiteY89" fmla="*/ 142174 h 505330"/>
              <a:gd name="connsiteX90" fmla="*/ 4496334 w 5487431"/>
              <a:gd name="connsiteY90" fmla="*/ 241602 h 505330"/>
              <a:gd name="connsiteX91" fmla="*/ 4580725 w 5487431"/>
              <a:gd name="connsiteY91" fmla="*/ 341030 h 505330"/>
              <a:gd name="connsiteX92" fmla="*/ 4650464 w 5487431"/>
              <a:gd name="connsiteY92" fmla="*/ 358260 h 505330"/>
              <a:gd name="connsiteX93" fmla="*/ 4704220 w 5487431"/>
              <a:gd name="connsiteY93" fmla="*/ 409387 h 505330"/>
              <a:gd name="connsiteX94" fmla="*/ 4635146 w 5487431"/>
              <a:gd name="connsiteY94" fmla="*/ 464656 h 505330"/>
              <a:gd name="connsiteX95" fmla="*/ 4555607 w 5487431"/>
              <a:gd name="connsiteY95" fmla="*/ 384624 h 505330"/>
              <a:gd name="connsiteX96" fmla="*/ 4481682 w 5487431"/>
              <a:gd name="connsiteY96" fmla="*/ 405338 h 505330"/>
              <a:gd name="connsiteX97" fmla="*/ 4626108 w 5487431"/>
              <a:gd name="connsiteY97" fmla="*/ 501282 h 505330"/>
              <a:gd name="connsiteX98" fmla="*/ 4771200 w 5487431"/>
              <a:gd name="connsiteY98" fmla="*/ 388767 h 505330"/>
              <a:gd name="connsiteX99" fmla="*/ 4678436 w 5487431"/>
              <a:gd name="connsiteY99" fmla="*/ 285196 h 505330"/>
              <a:gd name="connsiteX100" fmla="*/ 4611456 w 5487431"/>
              <a:gd name="connsiteY100" fmla="*/ 268625 h 505330"/>
              <a:gd name="connsiteX101" fmla="*/ 4563314 w 5487431"/>
              <a:gd name="connsiteY101" fmla="*/ 223054 h 505330"/>
              <a:gd name="connsiteX102" fmla="*/ 4622588 w 5487431"/>
              <a:gd name="connsiteY102" fmla="*/ 178895 h 505330"/>
              <a:gd name="connsiteX103" fmla="*/ 4693754 w 5487431"/>
              <a:gd name="connsiteY103" fmla="*/ 245180 h 505330"/>
              <a:gd name="connsiteX104" fmla="*/ 4763493 w 5487431"/>
              <a:gd name="connsiteY104" fmla="*/ 224466 h 505330"/>
              <a:gd name="connsiteX105" fmla="*/ 4629533 w 5487431"/>
              <a:gd name="connsiteY105" fmla="*/ 142174 h 505330"/>
              <a:gd name="connsiteX106" fmla="*/ 4975471 w 5487431"/>
              <a:gd name="connsiteY106" fmla="*/ 463149 h 505330"/>
              <a:gd name="connsiteX107" fmla="*/ 4891745 w 5487431"/>
              <a:gd name="connsiteY107" fmla="*/ 321634 h 505330"/>
              <a:gd name="connsiteX108" fmla="*/ 4975471 w 5487431"/>
              <a:gd name="connsiteY108" fmla="*/ 180119 h 505330"/>
              <a:gd name="connsiteX109" fmla="*/ 5059196 w 5487431"/>
              <a:gd name="connsiteY109" fmla="*/ 321634 h 505330"/>
              <a:gd name="connsiteX110" fmla="*/ 4975471 w 5487431"/>
              <a:gd name="connsiteY110" fmla="*/ 463149 h 505330"/>
              <a:gd name="connsiteX111" fmla="*/ 4975471 w 5487431"/>
              <a:gd name="connsiteY111" fmla="*/ 142174 h 505330"/>
              <a:gd name="connsiteX112" fmla="*/ 4805261 w 5487431"/>
              <a:gd name="connsiteY112" fmla="*/ 321634 h 505330"/>
              <a:gd name="connsiteX113" fmla="*/ 4975471 w 5487431"/>
              <a:gd name="connsiteY113" fmla="*/ 501094 h 505330"/>
              <a:gd name="connsiteX114" fmla="*/ 5145680 w 5487431"/>
              <a:gd name="connsiteY114" fmla="*/ 321634 h 505330"/>
              <a:gd name="connsiteX115" fmla="*/ 4975471 w 5487431"/>
              <a:gd name="connsiteY115" fmla="*/ 142174 h 505330"/>
              <a:gd name="connsiteX116" fmla="*/ 5377257 w 5487431"/>
              <a:gd name="connsiteY116" fmla="*/ 142174 h 505330"/>
              <a:gd name="connsiteX117" fmla="*/ 5280973 w 5487431"/>
              <a:gd name="connsiteY117" fmla="*/ 192547 h 505330"/>
              <a:gd name="connsiteX118" fmla="*/ 5276787 w 5487431"/>
              <a:gd name="connsiteY118" fmla="*/ 192547 h 505330"/>
              <a:gd name="connsiteX119" fmla="*/ 5276787 w 5487431"/>
              <a:gd name="connsiteY119" fmla="*/ 149048 h 505330"/>
              <a:gd name="connsiteX120" fmla="*/ 5194488 w 5487431"/>
              <a:gd name="connsiteY120" fmla="*/ 149048 h 505330"/>
              <a:gd name="connsiteX121" fmla="*/ 5194488 w 5487431"/>
              <a:gd name="connsiteY121" fmla="*/ 494221 h 505330"/>
              <a:gd name="connsiteX122" fmla="*/ 5276787 w 5487431"/>
              <a:gd name="connsiteY122" fmla="*/ 494221 h 505330"/>
              <a:gd name="connsiteX123" fmla="*/ 5276787 w 5487431"/>
              <a:gd name="connsiteY123" fmla="*/ 271261 h 505330"/>
              <a:gd name="connsiteX124" fmla="*/ 5345860 w 5487431"/>
              <a:gd name="connsiteY124" fmla="*/ 190476 h 505330"/>
              <a:gd name="connsiteX125" fmla="*/ 5405134 w 5487431"/>
              <a:gd name="connsiteY125" fmla="*/ 258173 h 505330"/>
              <a:gd name="connsiteX126" fmla="*/ 5405134 w 5487431"/>
              <a:gd name="connsiteY126" fmla="*/ 494221 h 505330"/>
              <a:gd name="connsiteX127" fmla="*/ 5487432 w 5487431"/>
              <a:gd name="connsiteY127" fmla="*/ 494221 h 505330"/>
              <a:gd name="connsiteX128" fmla="*/ 5487432 w 5487431"/>
              <a:gd name="connsiteY128" fmla="*/ 257420 h 505330"/>
              <a:gd name="connsiteX129" fmla="*/ 5377257 w 5487431"/>
              <a:gd name="connsiteY129" fmla="*/ 142174 h 505330"/>
              <a:gd name="connsiteX130" fmla="*/ 323674 w 5487431"/>
              <a:gd name="connsiteY130" fmla="*/ 11016 h 505330"/>
              <a:gd name="connsiteX131" fmla="*/ 237190 w 5487431"/>
              <a:gd name="connsiteY131" fmla="*/ 11016 h 505330"/>
              <a:gd name="connsiteX132" fmla="*/ 237190 w 5487431"/>
              <a:gd name="connsiteY132" fmla="*/ 367864 h 505330"/>
              <a:gd name="connsiteX133" fmla="*/ 161837 w 5487431"/>
              <a:gd name="connsiteY133" fmla="*/ 460325 h 505330"/>
              <a:gd name="connsiteX134" fmla="*/ 86484 w 5487431"/>
              <a:gd name="connsiteY134" fmla="*/ 360897 h 505330"/>
              <a:gd name="connsiteX135" fmla="*/ 86484 w 5487431"/>
              <a:gd name="connsiteY135" fmla="*/ 294612 h 505330"/>
              <a:gd name="connsiteX136" fmla="*/ 0 w 5487431"/>
              <a:gd name="connsiteY136" fmla="*/ 315985 h 505330"/>
              <a:gd name="connsiteX137" fmla="*/ 0 w 5487431"/>
              <a:gd name="connsiteY137" fmla="*/ 345644 h 505330"/>
              <a:gd name="connsiteX138" fmla="*/ 161837 w 5487431"/>
              <a:gd name="connsiteY138" fmla="*/ 505143 h 505330"/>
              <a:gd name="connsiteX139" fmla="*/ 323674 w 5487431"/>
              <a:gd name="connsiteY139" fmla="*/ 345644 h 505330"/>
              <a:gd name="connsiteX140" fmla="*/ 323674 w 5487431"/>
              <a:gd name="connsiteY140" fmla="*/ 11016 h 505330"/>
              <a:gd name="connsiteX141" fmla="*/ 844008 w 5487431"/>
              <a:gd name="connsiteY141" fmla="*/ 11016 h 505330"/>
              <a:gd name="connsiteX142" fmla="*/ 761710 w 5487431"/>
              <a:gd name="connsiteY142" fmla="*/ 11016 h 505330"/>
              <a:gd name="connsiteX143" fmla="*/ 761710 w 5487431"/>
              <a:gd name="connsiteY143" fmla="*/ 494221 h 505330"/>
              <a:gd name="connsiteX144" fmla="*/ 844008 w 5487431"/>
              <a:gd name="connsiteY144" fmla="*/ 494221 h 505330"/>
              <a:gd name="connsiteX145" fmla="*/ 844008 w 5487431"/>
              <a:gd name="connsiteY145" fmla="*/ 271261 h 505330"/>
              <a:gd name="connsiteX146" fmla="*/ 913081 w 5487431"/>
              <a:gd name="connsiteY146" fmla="*/ 190476 h 505330"/>
              <a:gd name="connsiteX147" fmla="*/ 972355 w 5487431"/>
              <a:gd name="connsiteY147" fmla="*/ 258173 h 505330"/>
              <a:gd name="connsiteX148" fmla="*/ 972355 w 5487431"/>
              <a:gd name="connsiteY148" fmla="*/ 494221 h 505330"/>
              <a:gd name="connsiteX149" fmla="*/ 1054653 w 5487431"/>
              <a:gd name="connsiteY149" fmla="*/ 494221 h 505330"/>
              <a:gd name="connsiteX150" fmla="*/ 1054653 w 5487431"/>
              <a:gd name="connsiteY150" fmla="*/ 257420 h 505330"/>
              <a:gd name="connsiteX151" fmla="*/ 944478 w 5487431"/>
              <a:gd name="connsiteY151" fmla="*/ 142174 h 505330"/>
              <a:gd name="connsiteX152" fmla="*/ 848194 w 5487431"/>
              <a:gd name="connsiteY152" fmla="*/ 192547 h 505330"/>
              <a:gd name="connsiteX153" fmla="*/ 844008 w 5487431"/>
              <a:gd name="connsiteY153" fmla="*/ 192547 h 505330"/>
              <a:gd name="connsiteX154" fmla="*/ 844008 w 5487431"/>
              <a:gd name="connsiteY154" fmla="*/ 11016 h 505330"/>
              <a:gd name="connsiteX155" fmla="*/ 3352342 w 5487431"/>
              <a:gd name="connsiteY155" fmla="*/ 11016 h 505330"/>
              <a:gd name="connsiteX156" fmla="*/ 3265857 w 5487431"/>
              <a:gd name="connsiteY156" fmla="*/ 11016 h 505330"/>
              <a:gd name="connsiteX157" fmla="*/ 3265857 w 5487431"/>
              <a:gd name="connsiteY157" fmla="*/ 367864 h 505330"/>
              <a:gd name="connsiteX158" fmla="*/ 3190504 w 5487431"/>
              <a:gd name="connsiteY158" fmla="*/ 460325 h 505330"/>
              <a:gd name="connsiteX159" fmla="*/ 3115152 w 5487431"/>
              <a:gd name="connsiteY159" fmla="*/ 360897 h 505330"/>
              <a:gd name="connsiteX160" fmla="*/ 3115152 w 5487431"/>
              <a:gd name="connsiteY160" fmla="*/ 294612 h 505330"/>
              <a:gd name="connsiteX161" fmla="*/ 3028667 w 5487431"/>
              <a:gd name="connsiteY161" fmla="*/ 315985 h 505330"/>
              <a:gd name="connsiteX162" fmla="*/ 3028667 w 5487431"/>
              <a:gd name="connsiteY162" fmla="*/ 345644 h 505330"/>
              <a:gd name="connsiteX163" fmla="*/ 3190504 w 5487431"/>
              <a:gd name="connsiteY163" fmla="*/ 505143 h 505330"/>
              <a:gd name="connsiteX164" fmla="*/ 3352342 w 5487431"/>
              <a:gd name="connsiteY164" fmla="*/ 345644 h 505330"/>
              <a:gd name="connsiteX165" fmla="*/ 3352342 w 5487431"/>
              <a:gd name="connsiteY165" fmla="*/ 11016 h 505330"/>
              <a:gd name="connsiteX166" fmla="*/ 3872675 w 5487431"/>
              <a:gd name="connsiteY166" fmla="*/ 11016 h 505330"/>
              <a:gd name="connsiteX167" fmla="*/ 3790377 w 5487431"/>
              <a:gd name="connsiteY167" fmla="*/ 11016 h 505330"/>
              <a:gd name="connsiteX168" fmla="*/ 3790377 w 5487431"/>
              <a:gd name="connsiteY168" fmla="*/ 494221 h 505330"/>
              <a:gd name="connsiteX169" fmla="*/ 3872675 w 5487431"/>
              <a:gd name="connsiteY169" fmla="*/ 494221 h 505330"/>
              <a:gd name="connsiteX170" fmla="*/ 3872675 w 5487431"/>
              <a:gd name="connsiteY170" fmla="*/ 271261 h 505330"/>
              <a:gd name="connsiteX171" fmla="*/ 3941749 w 5487431"/>
              <a:gd name="connsiteY171" fmla="*/ 190476 h 505330"/>
              <a:gd name="connsiteX172" fmla="*/ 4001022 w 5487431"/>
              <a:gd name="connsiteY172" fmla="*/ 258173 h 505330"/>
              <a:gd name="connsiteX173" fmla="*/ 4001022 w 5487431"/>
              <a:gd name="connsiteY173" fmla="*/ 494221 h 505330"/>
              <a:gd name="connsiteX174" fmla="*/ 4083320 w 5487431"/>
              <a:gd name="connsiteY174" fmla="*/ 494221 h 505330"/>
              <a:gd name="connsiteX175" fmla="*/ 4083320 w 5487431"/>
              <a:gd name="connsiteY175" fmla="*/ 257420 h 505330"/>
              <a:gd name="connsiteX176" fmla="*/ 3973146 w 5487431"/>
              <a:gd name="connsiteY176" fmla="*/ 142174 h 505330"/>
              <a:gd name="connsiteX177" fmla="*/ 3876861 w 5487431"/>
              <a:gd name="connsiteY177" fmla="*/ 192547 h 505330"/>
              <a:gd name="connsiteX178" fmla="*/ 3872675 w 5487431"/>
              <a:gd name="connsiteY178" fmla="*/ 192547 h 505330"/>
              <a:gd name="connsiteX179" fmla="*/ 3872675 w 5487431"/>
              <a:gd name="connsiteY179" fmla="*/ 11016 h 505330"/>
              <a:gd name="connsiteX180" fmla="*/ 2730110 w 5487431"/>
              <a:gd name="connsiteY180" fmla="*/ 454864 h 505330"/>
              <a:gd name="connsiteX181" fmla="*/ 2622029 w 5487431"/>
              <a:gd name="connsiteY181" fmla="*/ 343761 h 505330"/>
              <a:gd name="connsiteX182" fmla="*/ 2664557 w 5487431"/>
              <a:gd name="connsiteY182" fmla="*/ 256102 h 505330"/>
              <a:gd name="connsiteX183" fmla="*/ 2822208 w 5487431"/>
              <a:gd name="connsiteY183" fmla="*/ 426617 h 505330"/>
              <a:gd name="connsiteX184" fmla="*/ 2730110 w 5487431"/>
              <a:gd name="connsiteY184" fmla="*/ 454864 h 505330"/>
              <a:gd name="connsiteX185" fmla="*/ 2883575 w 5487431"/>
              <a:gd name="connsiteY185" fmla="*/ 369936 h 505330"/>
              <a:gd name="connsiteX186" fmla="*/ 2746856 w 5487431"/>
              <a:gd name="connsiteY186" fmla="*/ 220794 h 505330"/>
              <a:gd name="connsiteX187" fmla="*/ 2814502 w 5487431"/>
              <a:gd name="connsiteY187" fmla="*/ 207706 h 505330"/>
              <a:gd name="connsiteX188" fmla="*/ 2905838 w 5487431"/>
              <a:gd name="connsiteY188" fmla="*/ 296118 h 505330"/>
              <a:gd name="connsiteX189" fmla="*/ 2883575 w 5487431"/>
              <a:gd name="connsiteY189" fmla="*/ 369936 h 505330"/>
              <a:gd name="connsiteX190" fmla="*/ 2728017 w 5487431"/>
              <a:gd name="connsiteY190" fmla="*/ 200833 h 505330"/>
              <a:gd name="connsiteX191" fmla="*/ 2698047 w 5487431"/>
              <a:gd name="connsiteY191" fmla="*/ 167690 h 505330"/>
              <a:gd name="connsiteX192" fmla="*/ 2663891 w 5487431"/>
              <a:gd name="connsiteY192" fmla="*/ 99334 h 505330"/>
              <a:gd name="connsiteX193" fmla="*/ 2730110 w 5487431"/>
              <a:gd name="connsiteY193" fmla="*/ 36532 h 505330"/>
              <a:gd name="connsiteX194" fmla="*/ 2795664 w 5487431"/>
              <a:gd name="connsiteY194" fmla="*/ 102817 h 505330"/>
              <a:gd name="connsiteX195" fmla="*/ 2728017 w 5487431"/>
              <a:gd name="connsiteY195" fmla="*/ 200833 h 505330"/>
              <a:gd name="connsiteX196" fmla="*/ 2732204 w 5487431"/>
              <a:gd name="connsiteY196" fmla="*/ 0 h 505330"/>
              <a:gd name="connsiteX197" fmla="*/ 2588539 w 5487431"/>
              <a:gd name="connsiteY197" fmla="*/ 119389 h 505330"/>
              <a:gd name="connsiteX198" fmla="*/ 2644387 w 5487431"/>
              <a:gd name="connsiteY198" fmla="*/ 234635 h 505330"/>
              <a:gd name="connsiteX199" fmla="*/ 2645053 w 5487431"/>
              <a:gd name="connsiteY199" fmla="*/ 236047 h 505330"/>
              <a:gd name="connsiteX200" fmla="*/ 2545344 w 5487431"/>
              <a:gd name="connsiteY200" fmla="*/ 374832 h 505330"/>
              <a:gd name="connsiteX201" fmla="*/ 2685584 w 5487431"/>
              <a:gd name="connsiteY201" fmla="*/ 505331 h 505330"/>
              <a:gd name="connsiteX202" fmla="*/ 2843235 w 5487431"/>
              <a:gd name="connsiteY202" fmla="*/ 449403 h 505330"/>
              <a:gd name="connsiteX203" fmla="*/ 2885097 w 5487431"/>
              <a:gd name="connsiteY203" fmla="*/ 494315 h 505330"/>
              <a:gd name="connsiteX204" fmla="*/ 2994606 w 5487431"/>
              <a:gd name="connsiteY204" fmla="*/ 494315 h 505330"/>
              <a:gd name="connsiteX205" fmla="*/ 2994606 w 5487431"/>
              <a:gd name="connsiteY205" fmla="*/ 490831 h 505330"/>
              <a:gd name="connsiteX206" fmla="*/ 2905363 w 5487431"/>
              <a:gd name="connsiteY206" fmla="*/ 393474 h 505330"/>
              <a:gd name="connsiteX207" fmla="*/ 2964637 w 5487431"/>
              <a:gd name="connsiteY207" fmla="*/ 258833 h 505330"/>
              <a:gd name="connsiteX208" fmla="*/ 2873300 w 5487431"/>
              <a:gd name="connsiteY208" fmla="*/ 171174 h 505330"/>
              <a:gd name="connsiteX209" fmla="*/ 2789574 w 5487431"/>
              <a:gd name="connsiteY209" fmla="*/ 187745 h 505330"/>
              <a:gd name="connsiteX210" fmla="*/ 2788147 w 5487431"/>
              <a:gd name="connsiteY210" fmla="*/ 185015 h 505330"/>
              <a:gd name="connsiteX211" fmla="*/ 2863500 w 5487431"/>
              <a:gd name="connsiteY211" fmla="*/ 93873 h 505330"/>
              <a:gd name="connsiteX212" fmla="*/ 2732204 w 5487431"/>
              <a:gd name="connsiteY212" fmla="*/ 0 h 50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5487431" h="505330">
                <a:moveTo>
                  <a:pt x="542692" y="463149"/>
                </a:moveTo>
                <a:cubicBezTo>
                  <a:pt x="488937" y="463149"/>
                  <a:pt x="458967" y="412776"/>
                  <a:pt x="458967" y="321634"/>
                </a:cubicBezTo>
                <a:cubicBezTo>
                  <a:pt x="458967" y="229080"/>
                  <a:pt x="488937" y="180119"/>
                  <a:pt x="542692" y="180119"/>
                </a:cubicBezTo>
                <a:cubicBezTo>
                  <a:pt x="596448" y="180119"/>
                  <a:pt x="626417" y="229833"/>
                  <a:pt x="626417" y="321634"/>
                </a:cubicBezTo>
                <a:cubicBezTo>
                  <a:pt x="626322" y="414189"/>
                  <a:pt x="596352" y="463149"/>
                  <a:pt x="542692" y="463149"/>
                </a:cubicBezTo>
                <a:moveTo>
                  <a:pt x="542692" y="142174"/>
                </a:moveTo>
                <a:cubicBezTo>
                  <a:pt x="433183" y="142174"/>
                  <a:pt x="372482" y="222959"/>
                  <a:pt x="372482" y="321634"/>
                </a:cubicBezTo>
                <a:cubicBezTo>
                  <a:pt x="372482" y="420309"/>
                  <a:pt x="433183" y="501094"/>
                  <a:pt x="542692" y="501094"/>
                </a:cubicBezTo>
                <a:cubicBezTo>
                  <a:pt x="652201" y="501094"/>
                  <a:pt x="712902" y="420309"/>
                  <a:pt x="712902" y="321634"/>
                </a:cubicBezTo>
                <a:cubicBezTo>
                  <a:pt x="712902" y="222959"/>
                  <a:pt x="652201" y="142174"/>
                  <a:pt x="542692" y="142174"/>
                </a:cubicBezTo>
                <a:moveTo>
                  <a:pt x="1303641" y="142174"/>
                </a:moveTo>
                <a:cubicBezTo>
                  <a:pt x="1251979" y="142174"/>
                  <a:pt x="1223436" y="164301"/>
                  <a:pt x="1207357" y="192547"/>
                </a:cubicBezTo>
                <a:lnTo>
                  <a:pt x="1203170" y="192547"/>
                </a:lnTo>
                <a:lnTo>
                  <a:pt x="1203170" y="149048"/>
                </a:lnTo>
                <a:lnTo>
                  <a:pt x="1120872" y="149048"/>
                </a:lnTo>
                <a:lnTo>
                  <a:pt x="1120872" y="494221"/>
                </a:lnTo>
                <a:lnTo>
                  <a:pt x="1203170" y="494221"/>
                </a:lnTo>
                <a:lnTo>
                  <a:pt x="1203170" y="271261"/>
                </a:lnTo>
                <a:cubicBezTo>
                  <a:pt x="1203170" y="220229"/>
                  <a:pt x="1229715" y="190476"/>
                  <a:pt x="1272244" y="190476"/>
                </a:cubicBezTo>
                <a:cubicBezTo>
                  <a:pt x="1313440" y="190476"/>
                  <a:pt x="1331518" y="217404"/>
                  <a:pt x="1331518" y="258173"/>
                </a:cubicBezTo>
                <a:lnTo>
                  <a:pt x="1331518" y="494221"/>
                </a:lnTo>
                <a:lnTo>
                  <a:pt x="1413816" y="494221"/>
                </a:lnTo>
                <a:lnTo>
                  <a:pt x="1413816" y="257420"/>
                </a:lnTo>
                <a:cubicBezTo>
                  <a:pt x="1413911" y="186333"/>
                  <a:pt x="1376234" y="142174"/>
                  <a:pt x="1303641" y="142174"/>
                </a:cubicBezTo>
                <a:moveTo>
                  <a:pt x="1600771" y="142174"/>
                </a:moveTo>
                <a:cubicBezTo>
                  <a:pt x="1524752" y="142174"/>
                  <a:pt x="1467571" y="173905"/>
                  <a:pt x="1467571" y="241602"/>
                </a:cubicBezTo>
                <a:cubicBezTo>
                  <a:pt x="1467571" y="298943"/>
                  <a:pt x="1507341" y="330014"/>
                  <a:pt x="1551962" y="341030"/>
                </a:cubicBezTo>
                <a:lnTo>
                  <a:pt x="1621702" y="358260"/>
                </a:lnTo>
                <a:cubicBezTo>
                  <a:pt x="1658712" y="367205"/>
                  <a:pt x="1675457" y="380387"/>
                  <a:pt x="1675457" y="409387"/>
                </a:cubicBezTo>
                <a:cubicBezTo>
                  <a:pt x="1675457" y="444601"/>
                  <a:pt x="1650340" y="464656"/>
                  <a:pt x="1606384" y="464656"/>
                </a:cubicBezTo>
                <a:cubicBezTo>
                  <a:pt x="1558908" y="464656"/>
                  <a:pt x="1534551" y="441870"/>
                  <a:pt x="1526845" y="384624"/>
                </a:cubicBezTo>
                <a:lnTo>
                  <a:pt x="1452919" y="405338"/>
                </a:lnTo>
                <a:cubicBezTo>
                  <a:pt x="1457106" y="464750"/>
                  <a:pt x="1512954" y="501282"/>
                  <a:pt x="1597345" y="501282"/>
                </a:cubicBezTo>
                <a:cubicBezTo>
                  <a:pt x="1691536" y="501282"/>
                  <a:pt x="1742438" y="457782"/>
                  <a:pt x="1742438" y="388767"/>
                </a:cubicBezTo>
                <a:cubicBezTo>
                  <a:pt x="1742438" y="323894"/>
                  <a:pt x="1697055" y="296965"/>
                  <a:pt x="1649674" y="285196"/>
                </a:cubicBezTo>
                <a:lnTo>
                  <a:pt x="1582693" y="268625"/>
                </a:lnTo>
                <a:cubicBezTo>
                  <a:pt x="1549203" y="260339"/>
                  <a:pt x="1534551" y="245180"/>
                  <a:pt x="1534551" y="223054"/>
                </a:cubicBezTo>
                <a:cubicBezTo>
                  <a:pt x="1534551" y="195466"/>
                  <a:pt x="1558242" y="178895"/>
                  <a:pt x="1593825" y="178895"/>
                </a:cubicBezTo>
                <a:cubicBezTo>
                  <a:pt x="1635688" y="178895"/>
                  <a:pt x="1661471" y="201680"/>
                  <a:pt x="1664992" y="245180"/>
                </a:cubicBezTo>
                <a:lnTo>
                  <a:pt x="1734731" y="224466"/>
                </a:lnTo>
                <a:cubicBezTo>
                  <a:pt x="1726358" y="175976"/>
                  <a:pt x="1678216" y="142174"/>
                  <a:pt x="1600771" y="142174"/>
                </a:cubicBezTo>
                <a:moveTo>
                  <a:pt x="1946803" y="463149"/>
                </a:moveTo>
                <a:cubicBezTo>
                  <a:pt x="1893048" y="463149"/>
                  <a:pt x="1863078" y="412776"/>
                  <a:pt x="1863078" y="321634"/>
                </a:cubicBezTo>
                <a:cubicBezTo>
                  <a:pt x="1863078" y="229080"/>
                  <a:pt x="1893048" y="180119"/>
                  <a:pt x="1946803" y="180119"/>
                </a:cubicBezTo>
                <a:cubicBezTo>
                  <a:pt x="2000559" y="180119"/>
                  <a:pt x="2030529" y="229833"/>
                  <a:pt x="2030529" y="321634"/>
                </a:cubicBezTo>
                <a:cubicBezTo>
                  <a:pt x="2030529" y="414189"/>
                  <a:pt x="2000464" y="463149"/>
                  <a:pt x="1946803" y="463149"/>
                </a:cubicBezTo>
                <a:moveTo>
                  <a:pt x="1946803" y="142174"/>
                </a:moveTo>
                <a:cubicBezTo>
                  <a:pt x="1837294" y="142174"/>
                  <a:pt x="1776594" y="222959"/>
                  <a:pt x="1776594" y="321634"/>
                </a:cubicBezTo>
                <a:cubicBezTo>
                  <a:pt x="1776594" y="420309"/>
                  <a:pt x="1837294" y="501094"/>
                  <a:pt x="1946803" y="501094"/>
                </a:cubicBezTo>
                <a:cubicBezTo>
                  <a:pt x="2056312" y="501094"/>
                  <a:pt x="2117013" y="420309"/>
                  <a:pt x="2117013" y="321634"/>
                </a:cubicBezTo>
                <a:cubicBezTo>
                  <a:pt x="2117013" y="222959"/>
                  <a:pt x="2056312" y="142174"/>
                  <a:pt x="1946803" y="142174"/>
                </a:cubicBezTo>
                <a:moveTo>
                  <a:pt x="2348590" y="142174"/>
                </a:moveTo>
                <a:cubicBezTo>
                  <a:pt x="2296927" y="142174"/>
                  <a:pt x="2268385" y="164301"/>
                  <a:pt x="2252306" y="192547"/>
                </a:cubicBezTo>
                <a:lnTo>
                  <a:pt x="2248119" y="192547"/>
                </a:lnTo>
                <a:lnTo>
                  <a:pt x="2248119" y="149048"/>
                </a:lnTo>
                <a:lnTo>
                  <a:pt x="2165821" y="149048"/>
                </a:lnTo>
                <a:lnTo>
                  <a:pt x="2165821" y="494221"/>
                </a:lnTo>
                <a:lnTo>
                  <a:pt x="2248119" y="494221"/>
                </a:lnTo>
                <a:lnTo>
                  <a:pt x="2248119" y="271261"/>
                </a:lnTo>
                <a:cubicBezTo>
                  <a:pt x="2248119" y="220229"/>
                  <a:pt x="2274664" y="190476"/>
                  <a:pt x="2317193" y="190476"/>
                </a:cubicBezTo>
                <a:cubicBezTo>
                  <a:pt x="2358389" y="190476"/>
                  <a:pt x="2376466" y="217404"/>
                  <a:pt x="2376466" y="258173"/>
                </a:cubicBezTo>
                <a:lnTo>
                  <a:pt x="2376466" y="494221"/>
                </a:lnTo>
                <a:lnTo>
                  <a:pt x="2458764" y="494221"/>
                </a:lnTo>
                <a:lnTo>
                  <a:pt x="2458764" y="257420"/>
                </a:lnTo>
                <a:cubicBezTo>
                  <a:pt x="2458764" y="186333"/>
                  <a:pt x="2421088" y="142174"/>
                  <a:pt x="2348590" y="142174"/>
                </a:cubicBezTo>
                <a:moveTo>
                  <a:pt x="3571359" y="463149"/>
                </a:moveTo>
                <a:cubicBezTo>
                  <a:pt x="3517604" y="463149"/>
                  <a:pt x="3487634" y="412776"/>
                  <a:pt x="3487634" y="321634"/>
                </a:cubicBezTo>
                <a:cubicBezTo>
                  <a:pt x="3487634" y="229080"/>
                  <a:pt x="3517604" y="180119"/>
                  <a:pt x="3571359" y="180119"/>
                </a:cubicBezTo>
                <a:cubicBezTo>
                  <a:pt x="3625115" y="180119"/>
                  <a:pt x="3655085" y="229833"/>
                  <a:pt x="3655085" y="321634"/>
                </a:cubicBezTo>
                <a:cubicBezTo>
                  <a:pt x="3655085" y="414189"/>
                  <a:pt x="3625020" y="463149"/>
                  <a:pt x="3571359" y="463149"/>
                </a:cubicBezTo>
                <a:moveTo>
                  <a:pt x="3571359" y="142174"/>
                </a:moveTo>
                <a:cubicBezTo>
                  <a:pt x="3461850" y="142174"/>
                  <a:pt x="3401150" y="222959"/>
                  <a:pt x="3401150" y="321634"/>
                </a:cubicBezTo>
                <a:cubicBezTo>
                  <a:pt x="3401150" y="420309"/>
                  <a:pt x="3461850" y="501094"/>
                  <a:pt x="3571359" y="501094"/>
                </a:cubicBezTo>
                <a:cubicBezTo>
                  <a:pt x="3680868" y="501094"/>
                  <a:pt x="3741569" y="420309"/>
                  <a:pt x="3741569" y="321634"/>
                </a:cubicBezTo>
                <a:cubicBezTo>
                  <a:pt x="3741569" y="222959"/>
                  <a:pt x="3680868" y="142174"/>
                  <a:pt x="3571359" y="142174"/>
                </a:cubicBezTo>
                <a:moveTo>
                  <a:pt x="4332308" y="142174"/>
                </a:moveTo>
                <a:cubicBezTo>
                  <a:pt x="4280646" y="142174"/>
                  <a:pt x="4252103" y="164301"/>
                  <a:pt x="4236024" y="192547"/>
                </a:cubicBezTo>
                <a:lnTo>
                  <a:pt x="4231838" y="192547"/>
                </a:lnTo>
                <a:lnTo>
                  <a:pt x="4231838" y="149048"/>
                </a:lnTo>
                <a:lnTo>
                  <a:pt x="4149539" y="149048"/>
                </a:lnTo>
                <a:lnTo>
                  <a:pt x="4149539" y="494221"/>
                </a:lnTo>
                <a:lnTo>
                  <a:pt x="4231838" y="494221"/>
                </a:lnTo>
                <a:lnTo>
                  <a:pt x="4231838" y="271261"/>
                </a:lnTo>
                <a:cubicBezTo>
                  <a:pt x="4231838" y="220229"/>
                  <a:pt x="4258383" y="190476"/>
                  <a:pt x="4300911" y="190476"/>
                </a:cubicBezTo>
                <a:cubicBezTo>
                  <a:pt x="4342108" y="190476"/>
                  <a:pt x="4360185" y="217404"/>
                  <a:pt x="4360185" y="258173"/>
                </a:cubicBezTo>
                <a:lnTo>
                  <a:pt x="4360185" y="494221"/>
                </a:lnTo>
                <a:lnTo>
                  <a:pt x="4442483" y="494221"/>
                </a:lnTo>
                <a:lnTo>
                  <a:pt x="4442483" y="257420"/>
                </a:lnTo>
                <a:cubicBezTo>
                  <a:pt x="4442578" y="186333"/>
                  <a:pt x="4404902" y="142174"/>
                  <a:pt x="4332308" y="142174"/>
                </a:cubicBezTo>
                <a:moveTo>
                  <a:pt x="4629533" y="142174"/>
                </a:moveTo>
                <a:cubicBezTo>
                  <a:pt x="4553514" y="142174"/>
                  <a:pt x="4496334" y="173905"/>
                  <a:pt x="4496334" y="241602"/>
                </a:cubicBezTo>
                <a:cubicBezTo>
                  <a:pt x="4496334" y="298943"/>
                  <a:pt x="4536103" y="330014"/>
                  <a:pt x="4580725" y="341030"/>
                </a:cubicBezTo>
                <a:lnTo>
                  <a:pt x="4650464" y="358260"/>
                </a:lnTo>
                <a:cubicBezTo>
                  <a:pt x="4687475" y="367205"/>
                  <a:pt x="4704220" y="380387"/>
                  <a:pt x="4704220" y="409387"/>
                </a:cubicBezTo>
                <a:cubicBezTo>
                  <a:pt x="4704220" y="444601"/>
                  <a:pt x="4679102" y="464656"/>
                  <a:pt x="4635146" y="464656"/>
                </a:cubicBezTo>
                <a:cubicBezTo>
                  <a:pt x="4587670" y="464656"/>
                  <a:pt x="4563314" y="441870"/>
                  <a:pt x="4555607" y="384624"/>
                </a:cubicBezTo>
                <a:lnTo>
                  <a:pt x="4481682" y="405338"/>
                </a:lnTo>
                <a:cubicBezTo>
                  <a:pt x="4485868" y="464750"/>
                  <a:pt x="4541716" y="501282"/>
                  <a:pt x="4626108" y="501282"/>
                </a:cubicBezTo>
                <a:cubicBezTo>
                  <a:pt x="4720299" y="501282"/>
                  <a:pt x="4771200" y="457782"/>
                  <a:pt x="4771200" y="388767"/>
                </a:cubicBezTo>
                <a:cubicBezTo>
                  <a:pt x="4771200" y="323894"/>
                  <a:pt x="4725817" y="296965"/>
                  <a:pt x="4678436" y="285196"/>
                </a:cubicBezTo>
                <a:lnTo>
                  <a:pt x="4611456" y="268625"/>
                </a:lnTo>
                <a:cubicBezTo>
                  <a:pt x="4577966" y="260339"/>
                  <a:pt x="4563314" y="245180"/>
                  <a:pt x="4563314" y="223054"/>
                </a:cubicBezTo>
                <a:cubicBezTo>
                  <a:pt x="4563314" y="195466"/>
                  <a:pt x="4587004" y="178895"/>
                  <a:pt x="4622588" y="178895"/>
                </a:cubicBezTo>
                <a:cubicBezTo>
                  <a:pt x="4664450" y="178895"/>
                  <a:pt x="4690234" y="201680"/>
                  <a:pt x="4693754" y="245180"/>
                </a:cubicBezTo>
                <a:lnTo>
                  <a:pt x="4763493" y="224466"/>
                </a:lnTo>
                <a:cubicBezTo>
                  <a:pt x="4755026" y="175976"/>
                  <a:pt x="4706884" y="142174"/>
                  <a:pt x="4629533" y="142174"/>
                </a:cubicBezTo>
                <a:moveTo>
                  <a:pt x="4975471" y="463149"/>
                </a:moveTo>
                <a:cubicBezTo>
                  <a:pt x="4921715" y="463149"/>
                  <a:pt x="4891745" y="412776"/>
                  <a:pt x="4891745" y="321634"/>
                </a:cubicBezTo>
                <a:cubicBezTo>
                  <a:pt x="4891745" y="229080"/>
                  <a:pt x="4921715" y="180119"/>
                  <a:pt x="4975471" y="180119"/>
                </a:cubicBezTo>
                <a:cubicBezTo>
                  <a:pt x="5029226" y="180119"/>
                  <a:pt x="5059196" y="229833"/>
                  <a:pt x="5059196" y="321634"/>
                </a:cubicBezTo>
                <a:cubicBezTo>
                  <a:pt x="5059196" y="414189"/>
                  <a:pt x="5029131" y="463149"/>
                  <a:pt x="4975471" y="463149"/>
                </a:cubicBezTo>
                <a:moveTo>
                  <a:pt x="4975471" y="142174"/>
                </a:moveTo>
                <a:cubicBezTo>
                  <a:pt x="4865962" y="142174"/>
                  <a:pt x="4805261" y="222959"/>
                  <a:pt x="4805261" y="321634"/>
                </a:cubicBezTo>
                <a:cubicBezTo>
                  <a:pt x="4805261" y="420309"/>
                  <a:pt x="4865962" y="501094"/>
                  <a:pt x="4975471" y="501094"/>
                </a:cubicBezTo>
                <a:cubicBezTo>
                  <a:pt x="5084980" y="501094"/>
                  <a:pt x="5145680" y="420309"/>
                  <a:pt x="5145680" y="321634"/>
                </a:cubicBezTo>
                <a:cubicBezTo>
                  <a:pt x="5145680" y="222959"/>
                  <a:pt x="5084980" y="142174"/>
                  <a:pt x="4975471" y="142174"/>
                </a:cubicBezTo>
                <a:moveTo>
                  <a:pt x="5377257" y="142174"/>
                </a:moveTo>
                <a:cubicBezTo>
                  <a:pt x="5325595" y="142174"/>
                  <a:pt x="5297052" y="164301"/>
                  <a:pt x="5280973" y="192547"/>
                </a:cubicBezTo>
                <a:lnTo>
                  <a:pt x="5276787" y="192547"/>
                </a:lnTo>
                <a:lnTo>
                  <a:pt x="5276787" y="149048"/>
                </a:lnTo>
                <a:lnTo>
                  <a:pt x="5194488" y="149048"/>
                </a:lnTo>
                <a:lnTo>
                  <a:pt x="5194488" y="494221"/>
                </a:lnTo>
                <a:lnTo>
                  <a:pt x="5276787" y="494221"/>
                </a:lnTo>
                <a:lnTo>
                  <a:pt x="5276787" y="271261"/>
                </a:lnTo>
                <a:cubicBezTo>
                  <a:pt x="5276787" y="220229"/>
                  <a:pt x="5303331" y="190476"/>
                  <a:pt x="5345860" y="190476"/>
                </a:cubicBezTo>
                <a:cubicBezTo>
                  <a:pt x="5387057" y="190476"/>
                  <a:pt x="5405134" y="217404"/>
                  <a:pt x="5405134" y="258173"/>
                </a:cubicBezTo>
                <a:lnTo>
                  <a:pt x="5405134" y="494221"/>
                </a:lnTo>
                <a:lnTo>
                  <a:pt x="5487432" y="494221"/>
                </a:lnTo>
                <a:lnTo>
                  <a:pt x="5487432" y="257420"/>
                </a:lnTo>
                <a:cubicBezTo>
                  <a:pt x="5487432" y="186333"/>
                  <a:pt x="5449755" y="142174"/>
                  <a:pt x="5377257" y="142174"/>
                </a:cubicBezTo>
                <a:moveTo>
                  <a:pt x="323674" y="11016"/>
                </a:moveTo>
                <a:lnTo>
                  <a:pt x="237190" y="11016"/>
                </a:lnTo>
                <a:lnTo>
                  <a:pt x="237190" y="367864"/>
                </a:lnTo>
                <a:cubicBezTo>
                  <a:pt x="237190" y="425864"/>
                  <a:pt x="214831" y="460325"/>
                  <a:pt x="161837" y="460325"/>
                </a:cubicBezTo>
                <a:cubicBezTo>
                  <a:pt x="109509" y="460325"/>
                  <a:pt x="86484" y="423698"/>
                  <a:pt x="86484" y="360897"/>
                </a:cubicBezTo>
                <a:lnTo>
                  <a:pt x="86484" y="294612"/>
                </a:lnTo>
                <a:lnTo>
                  <a:pt x="0" y="315985"/>
                </a:lnTo>
                <a:lnTo>
                  <a:pt x="0" y="345644"/>
                </a:lnTo>
                <a:cubicBezTo>
                  <a:pt x="0" y="436033"/>
                  <a:pt x="45383" y="505143"/>
                  <a:pt x="161837" y="505143"/>
                </a:cubicBezTo>
                <a:cubicBezTo>
                  <a:pt x="278291" y="505143"/>
                  <a:pt x="323674" y="436127"/>
                  <a:pt x="323674" y="345644"/>
                </a:cubicBezTo>
                <a:lnTo>
                  <a:pt x="323674" y="11016"/>
                </a:lnTo>
                <a:moveTo>
                  <a:pt x="844008" y="11016"/>
                </a:moveTo>
                <a:lnTo>
                  <a:pt x="761710" y="11016"/>
                </a:lnTo>
                <a:lnTo>
                  <a:pt x="761710" y="494221"/>
                </a:lnTo>
                <a:lnTo>
                  <a:pt x="844008" y="494221"/>
                </a:lnTo>
                <a:lnTo>
                  <a:pt x="844008" y="271261"/>
                </a:lnTo>
                <a:cubicBezTo>
                  <a:pt x="844008" y="220229"/>
                  <a:pt x="870553" y="190476"/>
                  <a:pt x="913081" y="190476"/>
                </a:cubicBezTo>
                <a:cubicBezTo>
                  <a:pt x="954278" y="190476"/>
                  <a:pt x="972355" y="217404"/>
                  <a:pt x="972355" y="258173"/>
                </a:cubicBezTo>
                <a:lnTo>
                  <a:pt x="972355" y="494221"/>
                </a:lnTo>
                <a:lnTo>
                  <a:pt x="1054653" y="494221"/>
                </a:lnTo>
                <a:lnTo>
                  <a:pt x="1054653" y="257420"/>
                </a:lnTo>
                <a:cubicBezTo>
                  <a:pt x="1054653" y="186333"/>
                  <a:pt x="1016977" y="142174"/>
                  <a:pt x="944478" y="142174"/>
                </a:cubicBezTo>
                <a:cubicBezTo>
                  <a:pt x="892816" y="142174"/>
                  <a:pt x="864273" y="164301"/>
                  <a:pt x="848194" y="192547"/>
                </a:cubicBezTo>
                <a:lnTo>
                  <a:pt x="844008" y="192547"/>
                </a:lnTo>
                <a:lnTo>
                  <a:pt x="844008" y="11016"/>
                </a:lnTo>
                <a:moveTo>
                  <a:pt x="3352342" y="11016"/>
                </a:moveTo>
                <a:lnTo>
                  <a:pt x="3265857" y="11016"/>
                </a:lnTo>
                <a:lnTo>
                  <a:pt x="3265857" y="367864"/>
                </a:lnTo>
                <a:cubicBezTo>
                  <a:pt x="3265857" y="425864"/>
                  <a:pt x="3243499" y="460325"/>
                  <a:pt x="3190504" y="460325"/>
                </a:cubicBezTo>
                <a:cubicBezTo>
                  <a:pt x="3138176" y="460325"/>
                  <a:pt x="3115152" y="423698"/>
                  <a:pt x="3115152" y="360897"/>
                </a:cubicBezTo>
                <a:lnTo>
                  <a:pt x="3115152" y="294612"/>
                </a:lnTo>
                <a:lnTo>
                  <a:pt x="3028667" y="315985"/>
                </a:lnTo>
                <a:lnTo>
                  <a:pt x="3028667" y="345644"/>
                </a:lnTo>
                <a:cubicBezTo>
                  <a:pt x="3028667" y="436033"/>
                  <a:pt x="3074050" y="505143"/>
                  <a:pt x="3190504" y="505143"/>
                </a:cubicBezTo>
                <a:cubicBezTo>
                  <a:pt x="3306959" y="505143"/>
                  <a:pt x="3352342" y="436127"/>
                  <a:pt x="3352342" y="345644"/>
                </a:cubicBezTo>
                <a:lnTo>
                  <a:pt x="3352342" y="11016"/>
                </a:lnTo>
                <a:moveTo>
                  <a:pt x="3872675" y="11016"/>
                </a:moveTo>
                <a:lnTo>
                  <a:pt x="3790377" y="11016"/>
                </a:lnTo>
                <a:lnTo>
                  <a:pt x="3790377" y="494221"/>
                </a:lnTo>
                <a:lnTo>
                  <a:pt x="3872675" y="494221"/>
                </a:lnTo>
                <a:lnTo>
                  <a:pt x="3872675" y="271261"/>
                </a:lnTo>
                <a:cubicBezTo>
                  <a:pt x="3872675" y="220229"/>
                  <a:pt x="3899220" y="190476"/>
                  <a:pt x="3941749" y="190476"/>
                </a:cubicBezTo>
                <a:cubicBezTo>
                  <a:pt x="3982945" y="190476"/>
                  <a:pt x="4001022" y="217404"/>
                  <a:pt x="4001022" y="258173"/>
                </a:cubicBezTo>
                <a:lnTo>
                  <a:pt x="4001022" y="494221"/>
                </a:lnTo>
                <a:lnTo>
                  <a:pt x="4083320" y="494221"/>
                </a:lnTo>
                <a:lnTo>
                  <a:pt x="4083320" y="257420"/>
                </a:lnTo>
                <a:cubicBezTo>
                  <a:pt x="4083320" y="186333"/>
                  <a:pt x="4045644" y="142174"/>
                  <a:pt x="3973146" y="142174"/>
                </a:cubicBezTo>
                <a:cubicBezTo>
                  <a:pt x="3921483" y="142174"/>
                  <a:pt x="3892941" y="164301"/>
                  <a:pt x="3876861" y="192547"/>
                </a:cubicBezTo>
                <a:lnTo>
                  <a:pt x="3872675" y="192547"/>
                </a:lnTo>
                <a:lnTo>
                  <a:pt x="3872675" y="11016"/>
                </a:lnTo>
                <a:moveTo>
                  <a:pt x="2730110" y="454864"/>
                </a:moveTo>
                <a:cubicBezTo>
                  <a:pt x="2663130" y="454864"/>
                  <a:pt x="2622029" y="401007"/>
                  <a:pt x="2622029" y="343761"/>
                </a:cubicBezTo>
                <a:cubicBezTo>
                  <a:pt x="2622029" y="307887"/>
                  <a:pt x="2638108" y="274745"/>
                  <a:pt x="2664557" y="256102"/>
                </a:cubicBezTo>
                <a:lnTo>
                  <a:pt x="2822208" y="426617"/>
                </a:lnTo>
                <a:cubicBezTo>
                  <a:pt x="2792904" y="443848"/>
                  <a:pt x="2760080" y="454864"/>
                  <a:pt x="2730110" y="454864"/>
                </a:cubicBezTo>
                <a:moveTo>
                  <a:pt x="2883575" y="369936"/>
                </a:moveTo>
                <a:lnTo>
                  <a:pt x="2746856" y="220794"/>
                </a:lnTo>
                <a:cubicBezTo>
                  <a:pt x="2771307" y="211096"/>
                  <a:pt x="2794998" y="207706"/>
                  <a:pt x="2814502" y="207706"/>
                </a:cubicBezTo>
                <a:cubicBezTo>
                  <a:pt x="2871016" y="207706"/>
                  <a:pt x="2905838" y="240190"/>
                  <a:pt x="2905838" y="296118"/>
                </a:cubicBezTo>
                <a:cubicBezTo>
                  <a:pt x="2905934" y="320975"/>
                  <a:pt x="2898893" y="346491"/>
                  <a:pt x="2883575" y="369936"/>
                </a:cubicBezTo>
                <a:moveTo>
                  <a:pt x="2728017" y="200833"/>
                </a:moveTo>
                <a:lnTo>
                  <a:pt x="2698047" y="167690"/>
                </a:lnTo>
                <a:cubicBezTo>
                  <a:pt x="2671503" y="138691"/>
                  <a:pt x="2663891" y="120707"/>
                  <a:pt x="2663891" y="99334"/>
                </a:cubicBezTo>
                <a:cubicBezTo>
                  <a:pt x="2663891" y="59318"/>
                  <a:pt x="2689675" y="36532"/>
                  <a:pt x="2730110" y="36532"/>
                </a:cubicBezTo>
                <a:cubicBezTo>
                  <a:pt x="2771307" y="36532"/>
                  <a:pt x="2795664" y="59977"/>
                  <a:pt x="2795664" y="102817"/>
                </a:cubicBezTo>
                <a:cubicBezTo>
                  <a:pt x="2795664" y="142174"/>
                  <a:pt x="2776159" y="179460"/>
                  <a:pt x="2728017" y="200833"/>
                </a:cubicBezTo>
                <a:moveTo>
                  <a:pt x="2732204" y="0"/>
                </a:moveTo>
                <a:cubicBezTo>
                  <a:pt x="2635920" y="0"/>
                  <a:pt x="2588539" y="53198"/>
                  <a:pt x="2588539" y="119389"/>
                </a:cubicBezTo>
                <a:cubicBezTo>
                  <a:pt x="2588539" y="155262"/>
                  <a:pt x="2603857" y="191229"/>
                  <a:pt x="2644387" y="234635"/>
                </a:cubicBezTo>
                <a:lnTo>
                  <a:pt x="2645053" y="236047"/>
                </a:lnTo>
                <a:cubicBezTo>
                  <a:pt x="2576741" y="268531"/>
                  <a:pt x="2545344" y="320975"/>
                  <a:pt x="2545344" y="374832"/>
                </a:cubicBezTo>
                <a:cubicBezTo>
                  <a:pt x="2545344" y="445919"/>
                  <a:pt x="2600432" y="505331"/>
                  <a:pt x="2685584" y="505331"/>
                </a:cubicBezTo>
                <a:cubicBezTo>
                  <a:pt x="2734392" y="505331"/>
                  <a:pt x="2791573" y="485276"/>
                  <a:pt x="2843235" y="449403"/>
                </a:cubicBezTo>
                <a:lnTo>
                  <a:pt x="2885097" y="494315"/>
                </a:lnTo>
                <a:lnTo>
                  <a:pt x="2994606" y="494315"/>
                </a:lnTo>
                <a:lnTo>
                  <a:pt x="2994606" y="490831"/>
                </a:lnTo>
                <a:lnTo>
                  <a:pt x="2905363" y="393474"/>
                </a:lnTo>
                <a:cubicBezTo>
                  <a:pt x="2943039" y="349316"/>
                  <a:pt x="2964637" y="301014"/>
                  <a:pt x="2964637" y="258833"/>
                </a:cubicBezTo>
                <a:cubicBezTo>
                  <a:pt x="2964637" y="206388"/>
                  <a:pt x="2929053" y="171174"/>
                  <a:pt x="2873300" y="171174"/>
                </a:cubicBezTo>
                <a:cubicBezTo>
                  <a:pt x="2843996" y="171174"/>
                  <a:pt x="2811172" y="179460"/>
                  <a:pt x="2789574" y="187745"/>
                </a:cubicBezTo>
                <a:lnTo>
                  <a:pt x="2788147" y="185015"/>
                </a:lnTo>
                <a:cubicBezTo>
                  <a:pt x="2841142" y="156674"/>
                  <a:pt x="2863500" y="130499"/>
                  <a:pt x="2863500" y="93873"/>
                </a:cubicBezTo>
                <a:cubicBezTo>
                  <a:pt x="2863310" y="41428"/>
                  <a:pt x="2815929" y="0"/>
                  <a:pt x="2732204" y="0"/>
                </a:cubicBezTo>
              </a:path>
            </a:pathLst>
          </a:custGeom>
          <a:solidFill>
            <a:schemeClr val="bg1"/>
          </a:solidFill>
          <a:ln w="9509" cap="flat">
            <a:noFill/>
            <a:prstDash val="solid"/>
            <a:miter/>
          </a:ln>
        </p:spPr>
        <p:txBody>
          <a:bodyPr rtlCol="0" anchor="ctr"/>
          <a:lstStyle/>
          <a:p>
            <a:endParaRPr lang="en-GB"/>
          </a:p>
        </p:txBody>
      </p:sp>
    </p:spTree>
    <p:extLst>
      <p:ext uri="{BB962C8B-B14F-4D97-AF65-F5344CB8AC3E}">
        <p14:creationId xmlns:p14="http://schemas.microsoft.com/office/powerpoint/2010/main" val="408592469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1_Title Slide with Panel Images - Long titles ">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F71E3-AC39-2207-0CC4-1E2486610795}"/>
              </a:ext>
            </a:extLst>
          </p:cNvPr>
          <p:cNvSpPr>
            <a:spLocks noGrp="1"/>
          </p:cNvSpPr>
          <p:nvPr>
            <p:ph type="ctrTitle" hasCustomPrompt="1"/>
          </p:nvPr>
        </p:nvSpPr>
        <p:spPr>
          <a:xfrm>
            <a:off x="285979" y="266955"/>
            <a:ext cx="8518155" cy="2946145"/>
          </a:xfrm>
        </p:spPr>
        <p:txBody>
          <a:bodyPr wrap="square" anchor="t">
            <a:normAutofit/>
          </a:bodyPr>
          <a:lstStyle>
            <a:lvl1pPr algn="l">
              <a:lnSpc>
                <a:spcPct val="80000"/>
              </a:lnSpc>
              <a:defRPr sz="7000" b="0" i="0" spc="0" baseline="0">
                <a:solidFill>
                  <a:schemeClr val="bg1"/>
                </a:solidFill>
                <a:latin typeface="+mj-lt"/>
              </a:defRPr>
            </a:lvl1pPr>
          </a:lstStyle>
          <a:p>
            <a:r>
              <a:rPr lang="en-GB"/>
              <a:t>Longer titles will shrink automatically</a:t>
            </a:r>
            <a:br>
              <a:rPr lang="en-GB"/>
            </a:br>
            <a:endParaRPr lang="en-GB"/>
          </a:p>
        </p:txBody>
      </p:sp>
      <p:sp>
        <p:nvSpPr>
          <p:cNvPr id="9" name="Subtitle 2">
            <a:extLst>
              <a:ext uri="{FF2B5EF4-FFF2-40B4-BE49-F238E27FC236}">
                <a16:creationId xmlns:a16="http://schemas.microsoft.com/office/drawing/2014/main" id="{52CA5BFA-B5A6-B786-4C05-6FD9C9E49AB2}"/>
              </a:ext>
            </a:extLst>
          </p:cNvPr>
          <p:cNvSpPr>
            <a:spLocks noGrp="1"/>
          </p:cNvSpPr>
          <p:nvPr>
            <p:ph type="subTitle" idx="1" hasCustomPrompt="1"/>
          </p:nvPr>
        </p:nvSpPr>
        <p:spPr>
          <a:xfrm>
            <a:off x="284806" y="4889500"/>
            <a:ext cx="2795587" cy="865834"/>
          </a:xfrm>
        </p:spPr>
        <p:txBody>
          <a:bodyPr anchor="b"/>
          <a:lstStyle>
            <a:lvl1pPr marL="0" indent="0" algn="l">
              <a:lnSpc>
                <a:spcPct val="100000"/>
              </a:lnSpc>
              <a:spcBef>
                <a:spcPts val="0"/>
              </a:spcBef>
              <a:spcAft>
                <a:spcPts val="0"/>
              </a:spcAft>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pporting details. Delete if not required.</a:t>
            </a:r>
          </a:p>
        </p:txBody>
      </p:sp>
      <p:sp>
        <p:nvSpPr>
          <p:cNvPr id="5" name="Picture Placeholder 3">
            <a:extLst>
              <a:ext uri="{FF2B5EF4-FFF2-40B4-BE49-F238E27FC236}">
                <a16:creationId xmlns:a16="http://schemas.microsoft.com/office/drawing/2014/main" id="{12805BBD-74C7-DA61-6F6B-3B684DEF9D0F}"/>
              </a:ext>
            </a:extLst>
          </p:cNvPr>
          <p:cNvSpPr txBox="1">
            <a:spLocks/>
          </p:cNvSpPr>
          <p:nvPr/>
        </p:nvSpPr>
        <p:spPr>
          <a:xfrm>
            <a:off x="9150578" y="1"/>
            <a:ext cx="3041422" cy="3428999"/>
          </a:xfrm>
          <a:prstGeom prst="rect">
            <a:avLst/>
          </a:prstGeom>
          <a:solidFill>
            <a:srgbClr val="F6F3F2"/>
          </a:solidFill>
        </p:spPr>
        <p:txBody>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lang="en-US" sz="1800" b="0" i="0" kern="1200" dirty="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8568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a:lstStyle>
          <a:p>
            <a:pPr>
              <a:defRPr/>
            </a:pPr>
            <a:r>
              <a:rPr lang="en-US"/>
              <a:t>Click the icon to add a photo or illustration.</a:t>
            </a:r>
          </a:p>
        </p:txBody>
      </p:sp>
      <p:sp>
        <p:nvSpPr>
          <p:cNvPr id="6" name="Picture Placeholder 3">
            <a:extLst>
              <a:ext uri="{FF2B5EF4-FFF2-40B4-BE49-F238E27FC236}">
                <a16:creationId xmlns:a16="http://schemas.microsoft.com/office/drawing/2014/main" id="{1CA0C032-7A97-1BEF-7516-760655826D94}"/>
              </a:ext>
            </a:extLst>
          </p:cNvPr>
          <p:cNvSpPr txBox="1">
            <a:spLocks/>
          </p:cNvSpPr>
          <p:nvPr/>
        </p:nvSpPr>
        <p:spPr>
          <a:xfrm>
            <a:off x="5083403" y="3429000"/>
            <a:ext cx="3041422" cy="2479675"/>
          </a:xfrm>
          <a:prstGeom prst="rect">
            <a:avLst/>
          </a:prstGeom>
          <a:solidFill>
            <a:srgbClr val="F6F3F2"/>
          </a:solidFill>
        </p:spPr>
        <p:txBody>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lang="en-US" sz="1800" b="0" i="0" kern="1200" dirty="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8568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a:lstStyle>
          <a:p>
            <a:pPr>
              <a:defRPr/>
            </a:pPr>
            <a:r>
              <a:rPr lang="en-US"/>
              <a:t>Click the icon to add a photo or illustration.</a:t>
            </a:r>
          </a:p>
        </p:txBody>
      </p:sp>
      <p:sp>
        <p:nvSpPr>
          <p:cNvPr id="7" name="Graphic 2">
            <a:extLst>
              <a:ext uri="{FF2B5EF4-FFF2-40B4-BE49-F238E27FC236}">
                <a16:creationId xmlns:a16="http://schemas.microsoft.com/office/drawing/2014/main" id="{76E2EBF3-E47D-58C8-6929-CAE0CAEF897D}"/>
              </a:ext>
            </a:extLst>
          </p:cNvPr>
          <p:cNvSpPr>
            <a:spLocks noChangeAspect="1"/>
          </p:cNvSpPr>
          <p:nvPr/>
        </p:nvSpPr>
        <p:spPr>
          <a:xfrm>
            <a:off x="290513" y="6377853"/>
            <a:ext cx="2034000" cy="187309"/>
          </a:xfrm>
          <a:custGeom>
            <a:avLst/>
            <a:gdLst>
              <a:gd name="connsiteX0" fmla="*/ 542692 w 5487431"/>
              <a:gd name="connsiteY0" fmla="*/ 463149 h 505330"/>
              <a:gd name="connsiteX1" fmla="*/ 458967 w 5487431"/>
              <a:gd name="connsiteY1" fmla="*/ 321634 h 505330"/>
              <a:gd name="connsiteX2" fmla="*/ 542692 w 5487431"/>
              <a:gd name="connsiteY2" fmla="*/ 180119 h 505330"/>
              <a:gd name="connsiteX3" fmla="*/ 626417 w 5487431"/>
              <a:gd name="connsiteY3" fmla="*/ 321634 h 505330"/>
              <a:gd name="connsiteX4" fmla="*/ 542692 w 5487431"/>
              <a:gd name="connsiteY4" fmla="*/ 463149 h 505330"/>
              <a:gd name="connsiteX5" fmla="*/ 542692 w 5487431"/>
              <a:gd name="connsiteY5" fmla="*/ 142174 h 505330"/>
              <a:gd name="connsiteX6" fmla="*/ 372482 w 5487431"/>
              <a:gd name="connsiteY6" fmla="*/ 321634 h 505330"/>
              <a:gd name="connsiteX7" fmla="*/ 542692 w 5487431"/>
              <a:gd name="connsiteY7" fmla="*/ 501094 h 505330"/>
              <a:gd name="connsiteX8" fmla="*/ 712902 w 5487431"/>
              <a:gd name="connsiteY8" fmla="*/ 321634 h 505330"/>
              <a:gd name="connsiteX9" fmla="*/ 542692 w 5487431"/>
              <a:gd name="connsiteY9" fmla="*/ 142174 h 505330"/>
              <a:gd name="connsiteX10" fmla="*/ 1303641 w 5487431"/>
              <a:gd name="connsiteY10" fmla="*/ 142174 h 505330"/>
              <a:gd name="connsiteX11" fmla="*/ 1207357 w 5487431"/>
              <a:gd name="connsiteY11" fmla="*/ 192547 h 505330"/>
              <a:gd name="connsiteX12" fmla="*/ 1203170 w 5487431"/>
              <a:gd name="connsiteY12" fmla="*/ 192547 h 505330"/>
              <a:gd name="connsiteX13" fmla="*/ 1203170 w 5487431"/>
              <a:gd name="connsiteY13" fmla="*/ 149048 h 505330"/>
              <a:gd name="connsiteX14" fmla="*/ 1120872 w 5487431"/>
              <a:gd name="connsiteY14" fmla="*/ 149048 h 505330"/>
              <a:gd name="connsiteX15" fmla="*/ 1120872 w 5487431"/>
              <a:gd name="connsiteY15" fmla="*/ 494221 h 505330"/>
              <a:gd name="connsiteX16" fmla="*/ 1203170 w 5487431"/>
              <a:gd name="connsiteY16" fmla="*/ 494221 h 505330"/>
              <a:gd name="connsiteX17" fmla="*/ 1203170 w 5487431"/>
              <a:gd name="connsiteY17" fmla="*/ 271261 h 505330"/>
              <a:gd name="connsiteX18" fmla="*/ 1272244 w 5487431"/>
              <a:gd name="connsiteY18" fmla="*/ 190476 h 505330"/>
              <a:gd name="connsiteX19" fmla="*/ 1331518 w 5487431"/>
              <a:gd name="connsiteY19" fmla="*/ 258173 h 505330"/>
              <a:gd name="connsiteX20" fmla="*/ 1331518 w 5487431"/>
              <a:gd name="connsiteY20" fmla="*/ 494221 h 505330"/>
              <a:gd name="connsiteX21" fmla="*/ 1413816 w 5487431"/>
              <a:gd name="connsiteY21" fmla="*/ 494221 h 505330"/>
              <a:gd name="connsiteX22" fmla="*/ 1413816 w 5487431"/>
              <a:gd name="connsiteY22" fmla="*/ 257420 h 505330"/>
              <a:gd name="connsiteX23" fmla="*/ 1303641 w 5487431"/>
              <a:gd name="connsiteY23" fmla="*/ 142174 h 505330"/>
              <a:gd name="connsiteX24" fmla="*/ 1600771 w 5487431"/>
              <a:gd name="connsiteY24" fmla="*/ 142174 h 505330"/>
              <a:gd name="connsiteX25" fmla="*/ 1467571 w 5487431"/>
              <a:gd name="connsiteY25" fmla="*/ 241602 h 505330"/>
              <a:gd name="connsiteX26" fmla="*/ 1551962 w 5487431"/>
              <a:gd name="connsiteY26" fmla="*/ 341030 h 505330"/>
              <a:gd name="connsiteX27" fmla="*/ 1621702 w 5487431"/>
              <a:gd name="connsiteY27" fmla="*/ 358260 h 505330"/>
              <a:gd name="connsiteX28" fmla="*/ 1675457 w 5487431"/>
              <a:gd name="connsiteY28" fmla="*/ 409387 h 505330"/>
              <a:gd name="connsiteX29" fmla="*/ 1606384 w 5487431"/>
              <a:gd name="connsiteY29" fmla="*/ 464656 h 505330"/>
              <a:gd name="connsiteX30" fmla="*/ 1526845 w 5487431"/>
              <a:gd name="connsiteY30" fmla="*/ 384624 h 505330"/>
              <a:gd name="connsiteX31" fmla="*/ 1452919 w 5487431"/>
              <a:gd name="connsiteY31" fmla="*/ 405338 h 505330"/>
              <a:gd name="connsiteX32" fmla="*/ 1597345 w 5487431"/>
              <a:gd name="connsiteY32" fmla="*/ 501282 h 505330"/>
              <a:gd name="connsiteX33" fmla="*/ 1742438 w 5487431"/>
              <a:gd name="connsiteY33" fmla="*/ 388767 h 505330"/>
              <a:gd name="connsiteX34" fmla="*/ 1649674 w 5487431"/>
              <a:gd name="connsiteY34" fmla="*/ 285196 h 505330"/>
              <a:gd name="connsiteX35" fmla="*/ 1582693 w 5487431"/>
              <a:gd name="connsiteY35" fmla="*/ 268625 h 505330"/>
              <a:gd name="connsiteX36" fmla="*/ 1534551 w 5487431"/>
              <a:gd name="connsiteY36" fmla="*/ 223054 h 505330"/>
              <a:gd name="connsiteX37" fmla="*/ 1593825 w 5487431"/>
              <a:gd name="connsiteY37" fmla="*/ 178895 h 505330"/>
              <a:gd name="connsiteX38" fmla="*/ 1664992 w 5487431"/>
              <a:gd name="connsiteY38" fmla="*/ 245180 h 505330"/>
              <a:gd name="connsiteX39" fmla="*/ 1734731 w 5487431"/>
              <a:gd name="connsiteY39" fmla="*/ 224466 h 505330"/>
              <a:gd name="connsiteX40" fmla="*/ 1600771 w 5487431"/>
              <a:gd name="connsiteY40" fmla="*/ 142174 h 505330"/>
              <a:gd name="connsiteX41" fmla="*/ 1946803 w 5487431"/>
              <a:gd name="connsiteY41" fmla="*/ 463149 h 505330"/>
              <a:gd name="connsiteX42" fmla="*/ 1863078 w 5487431"/>
              <a:gd name="connsiteY42" fmla="*/ 321634 h 505330"/>
              <a:gd name="connsiteX43" fmla="*/ 1946803 w 5487431"/>
              <a:gd name="connsiteY43" fmla="*/ 180119 h 505330"/>
              <a:gd name="connsiteX44" fmla="*/ 2030529 w 5487431"/>
              <a:gd name="connsiteY44" fmla="*/ 321634 h 505330"/>
              <a:gd name="connsiteX45" fmla="*/ 1946803 w 5487431"/>
              <a:gd name="connsiteY45" fmla="*/ 463149 h 505330"/>
              <a:gd name="connsiteX46" fmla="*/ 1946803 w 5487431"/>
              <a:gd name="connsiteY46" fmla="*/ 142174 h 505330"/>
              <a:gd name="connsiteX47" fmla="*/ 1776594 w 5487431"/>
              <a:gd name="connsiteY47" fmla="*/ 321634 h 505330"/>
              <a:gd name="connsiteX48" fmla="*/ 1946803 w 5487431"/>
              <a:gd name="connsiteY48" fmla="*/ 501094 h 505330"/>
              <a:gd name="connsiteX49" fmla="*/ 2117013 w 5487431"/>
              <a:gd name="connsiteY49" fmla="*/ 321634 h 505330"/>
              <a:gd name="connsiteX50" fmla="*/ 1946803 w 5487431"/>
              <a:gd name="connsiteY50" fmla="*/ 142174 h 505330"/>
              <a:gd name="connsiteX51" fmla="*/ 2348590 w 5487431"/>
              <a:gd name="connsiteY51" fmla="*/ 142174 h 505330"/>
              <a:gd name="connsiteX52" fmla="*/ 2252306 w 5487431"/>
              <a:gd name="connsiteY52" fmla="*/ 192547 h 505330"/>
              <a:gd name="connsiteX53" fmla="*/ 2248119 w 5487431"/>
              <a:gd name="connsiteY53" fmla="*/ 192547 h 505330"/>
              <a:gd name="connsiteX54" fmla="*/ 2248119 w 5487431"/>
              <a:gd name="connsiteY54" fmla="*/ 149048 h 505330"/>
              <a:gd name="connsiteX55" fmla="*/ 2165821 w 5487431"/>
              <a:gd name="connsiteY55" fmla="*/ 149048 h 505330"/>
              <a:gd name="connsiteX56" fmla="*/ 2165821 w 5487431"/>
              <a:gd name="connsiteY56" fmla="*/ 494221 h 505330"/>
              <a:gd name="connsiteX57" fmla="*/ 2248119 w 5487431"/>
              <a:gd name="connsiteY57" fmla="*/ 494221 h 505330"/>
              <a:gd name="connsiteX58" fmla="*/ 2248119 w 5487431"/>
              <a:gd name="connsiteY58" fmla="*/ 271261 h 505330"/>
              <a:gd name="connsiteX59" fmla="*/ 2317193 w 5487431"/>
              <a:gd name="connsiteY59" fmla="*/ 190476 h 505330"/>
              <a:gd name="connsiteX60" fmla="*/ 2376466 w 5487431"/>
              <a:gd name="connsiteY60" fmla="*/ 258173 h 505330"/>
              <a:gd name="connsiteX61" fmla="*/ 2376466 w 5487431"/>
              <a:gd name="connsiteY61" fmla="*/ 494221 h 505330"/>
              <a:gd name="connsiteX62" fmla="*/ 2458764 w 5487431"/>
              <a:gd name="connsiteY62" fmla="*/ 494221 h 505330"/>
              <a:gd name="connsiteX63" fmla="*/ 2458764 w 5487431"/>
              <a:gd name="connsiteY63" fmla="*/ 257420 h 505330"/>
              <a:gd name="connsiteX64" fmla="*/ 2348590 w 5487431"/>
              <a:gd name="connsiteY64" fmla="*/ 142174 h 505330"/>
              <a:gd name="connsiteX65" fmla="*/ 3571359 w 5487431"/>
              <a:gd name="connsiteY65" fmla="*/ 463149 h 505330"/>
              <a:gd name="connsiteX66" fmla="*/ 3487634 w 5487431"/>
              <a:gd name="connsiteY66" fmla="*/ 321634 h 505330"/>
              <a:gd name="connsiteX67" fmla="*/ 3571359 w 5487431"/>
              <a:gd name="connsiteY67" fmla="*/ 180119 h 505330"/>
              <a:gd name="connsiteX68" fmla="*/ 3655085 w 5487431"/>
              <a:gd name="connsiteY68" fmla="*/ 321634 h 505330"/>
              <a:gd name="connsiteX69" fmla="*/ 3571359 w 5487431"/>
              <a:gd name="connsiteY69" fmla="*/ 463149 h 505330"/>
              <a:gd name="connsiteX70" fmla="*/ 3571359 w 5487431"/>
              <a:gd name="connsiteY70" fmla="*/ 142174 h 505330"/>
              <a:gd name="connsiteX71" fmla="*/ 3401150 w 5487431"/>
              <a:gd name="connsiteY71" fmla="*/ 321634 h 505330"/>
              <a:gd name="connsiteX72" fmla="*/ 3571359 w 5487431"/>
              <a:gd name="connsiteY72" fmla="*/ 501094 h 505330"/>
              <a:gd name="connsiteX73" fmla="*/ 3741569 w 5487431"/>
              <a:gd name="connsiteY73" fmla="*/ 321634 h 505330"/>
              <a:gd name="connsiteX74" fmla="*/ 3571359 w 5487431"/>
              <a:gd name="connsiteY74" fmla="*/ 142174 h 505330"/>
              <a:gd name="connsiteX75" fmla="*/ 4332308 w 5487431"/>
              <a:gd name="connsiteY75" fmla="*/ 142174 h 505330"/>
              <a:gd name="connsiteX76" fmla="*/ 4236024 w 5487431"/>
              <a:gd name="connsiteY76" fmla="*/ 192547 h 505330"/>
              <a:gd name="connsiteX77" fmla="*/ 4231838 w 5487431"/>
              <a:gd name="connsiteY77" fmla="*/ 192547 h 505330"/>
              <a:gd name="connsiteX78" fmla="*/ 4231838 w 5487431"/>
              <a:gd name="connsiteY78" fmla="*/ 149048 h 505330"/>
              <a:gd name="connsiteX79" fmla="*/ 4149539 w 5487431"/>
              <a:gd name="connsiteY79" fmla="*/ 149048 h 505330"/>
              <a:gd name="connsiteX80" fmla="*/ 4149539 w 5487431"/>
              <a:gd name="connsiteY80" fmla="*/ 494221 h 505330"/>
              <a:gd name="connsiteX81" fmla="*/ 4231838 w 5487431"/>
              <a:gd name="connsiteY81" fmla="*/ 494221 h 505330"/>
              <a:gd name="connsiteX82" fmla="*/ 4231838 w 5487431"/>
              <a:gd name="connsiteY82" fmla="*/ 271261 h 505330"/>
              <a:gd name="connsiteX83" fmla="*/ 4300911 w 5487431"/>
              <a:gd name="connsiteY83" fmla="*/ 190476 h 505330"/>
              <a:gd name="connsiteX84" fmla="*/ 4360185 w 5487431"/>
              <a:gd name="connsiteY84" fmla="*/ 258173 h 505330"/>
              <a:gd name="connsiteX85" fmla="*/ 4360185 w 5487431"/>
              <a:gd name="connsiteY85" fmla="*/ 494221 h 505330"/>
              <a:gd name="connsiteX86" fmla="*/ 4442483 w 5487431"/>
              <a:gd name="connsiteY86" fmla="*/ 494221 h 505330"/>
              <a:gd name="connsiteX87" fmla="*/ 4442483 w 5487431"/>
              <a:gd name="connsiteY87" fmla="*/ 257420 h 505330"/>
              <a:gd name="connsiteX88" fmla="*/ 4332308 w 5487431"/>
              <a:gd name="connsiteY88" fmla="*/ 142174 h 505330"/>
              <a:gd name="connsiteX89" fmla="*/ 4629533 w 5487431"/>
              <a:gd name="connsiteY89" fmla="*/ 142174 h 505330"/>
              <a:gd name="connsiteX90" fmla="*/ 4496334 w 5487431"/>
              <a:gd name="connsiteY90" fmla="*/ 241602 h 505330"/>
              <a:gd name="connsiteX91" fmla="*/ 4580725 w 5487431"/>
              <a:gd name="connsiteY91" fmla="*/ 341030 h 505330"/>
              <a:gd name="connsiteX92" fmla="*/ 4650464 w 5487431"/>
              <a:gd name="connsiteY92" fmla="*/ 358260 h 505330"/>
              <a:gd name="connsiteX93" fmla="*/ 4704220 w 5487431"/>
              <a:gd name="connsiteY93" fmla="*/ 409387 h 505330"/>
              <a:gd name="connsiteX94" fmla="*/ 4635146 w 5487431"/>
              <a:gd name="connsiteY94" fmla="*/ 464656 h 505330"/>
              <a:gd name="connsiteX95" fmla="*/ 4555607 w 5487431"/>
              <a:gd name="connsiteY95" fmla="*/ 384624 h 505330"/>
              <a:gd name="connsiteX96" fmla="*/ 4481682 w 5487431"/>
              <a:gd name="connsiteY96" fmla="*/ 405338 h 505330"/>
              <a:gd name="connsiteX97" fmla="*/ 4626108 w 5487431"/>
              <a:gd name="connsiteY97" fmla="*/ 501282 h 505330"/>
              <a:gd name="connsiteX98" fmla="*/ 4771200 w 5487431"/>
              <a:gd name="connsiteY98" fmla="*/ 388767 h 505330"/>
              <a:gd name="connsiteX99" fmla="*/ 4678436 w 5487431"/>
              <a:gd name="connsiteY99" fmla="*/ 285196 h 505330"/>
              <a:gd name="connsiteX100" fmla="*/ 4611456 w 5487431"/>
              <a:gd name="connsiteY100" fmla="*/ 268625 h 505330"/>
              <a:gd name="connsiteX101" fmla="*/ 4563314 w 5487431"/>
              <a:gd name="connsiteY101" fmla="*/ 223054 h 505330"/>
              <a:gd name="connsiteX102" fmla="*/ 4622588 w 5487431"/>
              <a:gd name="connsiteY102" fmla="*/ 178895 h 505330"/>
              <a:gd name="connsiteX103" fmla="*/ 4693754 w 5487431"/>
              <a:gd name="connsiteY103" fmla="*/ 245180 h 505330"/>
              <a:gd name="connsiteX104" fmla="*/ 4763493 w 5487431"/>
              <a:gd name="connsiteY104" fmla="*/ 224466 h 505330"/>
              <a:gd name="connsiteX105" fmla="*/ 4629533 w 5487431"/>
              <a:gd name="connsiteY105" fmla="*/ 142174 h 505330"/>
              <a:gd name="connsiteX106" fmla="*/ 4975471 w 5487431"/>
              <a:gd name="connsiteY106" fmla="*/ 463149 h 505330"/>
              <a:gd name="connsiteX107" fmla="*/ 4891745 w 5487431"/>
              <a:gd name="connsiteY107" fmla="*/ 321634 h 505330"/>
              <a:gd name="connsiteX108" fmla="*/ 4975471 w 5487431"/>
              <a:gd name="connsiteY108" fmla="*/ 180119 h 505330"/>
              <a:gd name="connsiteX109" fmla="*/ 5059196 w 5487431"/>
              <a:gd name="connsiteY109" fmla="*/ 321634 h 505330"/>
              <a:gd name="connsiteX110" fmla="*/ 4975471 w 5487431"/>
              <a:gd name="connsiteY110" fmla="*/ 463149 h 505330"/>
              <a:gd name="connsiteX111" fmla="*/ 4975471 w 5487431"/>
              <a:gd name="connsiteY111" fmla="*/ 142174 h 505330"/>
              <a:gd name="connsiteX112" fmla="*/ 4805261 w 5487431"/>
              <a:gd name="connsiteY112" fmla="*/ 321634 h 505330"/>
              <a:gd name="connsiteX113" fmla="*/ 4975471 w 5487431"/>
              <a:gd name="connsiteY113" fmla="*/ 501094 h 505330"/>
              <a:gd name="connsiteX114" fmla="*/ 5145680 w 5487431"/>
              <a:gd name="connsiteY114" fmla="*/ 321634 h 505330"/>
              <a:gd name="connsiteX115" fmla="*/ 4975471 w 5487431"/>
              <a:gd name="connsiteY115" fmla="*/ 142174 h 505330"/>
              <a:gd name="connsiteX116" fmla="*/ 5377257 w 5487431"/>
              <a:gd name="connsiteY116" fmla="*/ 142174 h 505330"/>
              <a:gd name="connsiteX117" fmla="*/ 5280973 w 5487431"/>
              <a:gd name="connsiteY117" fmla="*/ 192547 h 505330"/>
              <a:gd name="connsiteX118" fmla="*/ 5276787 w 5487431"/>
              <a:gd name="connsiteY118" fmla="*/ 192547 h 505330"/>
              <a:gd name="connsiteX119" fmla="*/ 5276787 w 5487431"/>
              <a:gd name="connsiteY119" fmla="*/ 149048 h 505330"/>
              <a:gd name="connsiteX120" fmla="*/ 5194488 w 5487431"/>
              <a:gd name="connsiteY120" fmla="*/ 149048 h 505330"/>
              <a:gd name="connsiteX121" fmla="*/ 5194488 w 5487431"/>
              <a:gd name="connsiteY121" fmla="*/ 494221 h 505330"/>
              <a:gd name="connsiteX122" fmla="*/ 5276787 w 5487431"/>
              <a:gd name="connsiteY122" fmla="*/ 494221 h 505330"/>
              <a:gd name="connsiteX123" fmla="*/ 5276787 w 5487431"/>
              <a:gd name="connsiteY123" fmla="*/ 271261 h 505330"/>
              <a:gd name="connsiteX124" fmla="*/ 5345860 w 5487431"/>
              <a:gd name="connsiteY124" fmla="*/ 190476 h 505330"/>
              <a:gd name="connsiteX125" fmla="*/ 5405134 w 5487431"/>
              <a:gd name="connsiteY125" fmla="*/ 258173 h 505330"/>
              <a:gd name="connsiteX126" fmla="*/ 5405134 w 5487431"/>
              <a:gd name="connsiteY126" fmla="*/ 494221 h 505330"/>
              <a:gd name="connsiteX127" fmla="*/ 5487432 w 5487431"/>
              <a:gd name="connsiteY127" fmla="*/ 494221 h 505330"/>
              <a:gd name="connsiteX128" fmla="*/ 5487432 w 5487431"/>
              <a:gd name="connsiteY128" fmla="*/ 257420 h 505330"/>
              <a:gd name="connsiteX129" fmla="*/ 5377257 w 5487431"/>
              <a:gd name="connsiteY129" fmla="*/ 142174 h 505330"/>
              <a:gd name="connsiteX130" fmla="*/ 323674 w 5487431"/>
              <a:gd name="connsiteY130" fmla="*/ 11016 h 505330"/>
              <a:gd name="connsiteX131" fmla="*/ 237190 w 5487431"/>
              <a:gd name="connsiteY131" fmla="*/ 11016 h 505330"/>
              <a:gd name="connsiteX132" fmla="*/ 237190 w 5487431"/>
              <a:gd name="connsiteY132" fmla="*/ 367864 h 505330"/>
              <a:gd name="connsiteX133" fmla="*/ 161837 w 5487431"/>
              <a:gd name="connsiteY133" fmla="*/ 460325 h 505330"/>
              <a:gd name="connsiteX134" fmla="*/ 86484 w 5487431"/>
              <a:gd name="connsiteY134" fmla="*/ 360897 h 505330"/>
              <a:gd name="connsiteX135" fmla="*/ 86484 w 5487431"/>
              <a:gd name="connsiteY135" fmla="*/ 294612 h 505330"/>
              <a:gd name="connsiteX136" fmla="*/ 0 w 5487431"/>
              <a:gd name="connsiteY136" fmla="*/ 315985 h 505330"/>
              <a:gd name="connsiteX137" fmla="*/ 0 w 5487431"/>
              <a:gd name="connsiteY137" fmla="*/ 345644 h 505330"/>
              <a:gd name="connsiteX138" fmla="*/ 161837 w 5487431"/>
              <a:gd name="connsiteY138" fmla="*/ 505143 h 505330"/>
              <a:gd name="connsiteX139" fmla="*/ 323674 w 5487431"/>
              <a:gd name="connsiteY139" fmla="*/ 345644 h 505330"/>
              <a:gd name="connsiteX140" fmla="*/ 323674 w 5487431"/>
              <a:gd name="connsiteY140" fmla="*/ 11016 h 505330"/>
              <a:gd name="connsiteX141" fmla="*/ 844008 w 5487431"/>
              <a:gd name="connsiteY141" fmla="*/ 11016 h 505330"/>
              <a:gd name="connsiteX142" fmla="*/ 761710 w 5487431"/>
              <a:gd name="connsiteY142" fmla="*/ 11016 h 505330"/>
              <a:gd name="connsiteX143" fmla="*/ 761710 w 5487431"/>
              <a:gd name="connsiteY143" fmla="*/ 494221 h 505330"/>
              <a:gd name="connsiteX144" fmla="*/ 844008 w 5487431"/>
              <a:gd name="connsiteY144" fmla="*/ 494221 h 505330"/>
              <a:gd name="connsiteX145" fmla="*/ 844008 w 5487431"/>
              <a:gd name="connsiteY145" fmla="*/ 271261 h 505330"/>
              <a:gd name="connsiteX146" fmla="*/ 913081 w 5487431"/>
              <a:gd name="connsiteY146" fmla="*/ 190476 h 505330"/>
              <a:gd name="connsiteX147" fmla="*/ 972355 w 5487431"/>
              <a:gd name="connsiteY147" fmla="*/ 258173 h 505330"/>
              <a:gd name="connsiteX148" fmla="*/ 972355 w 5487431"/>
              <a:gd name="connsiteY148" fmla="*/ 494221 h 505330"/>
              <a:gd name="connsiteX149" fmla="*/ 1054653 w 5487431"/>
              <a:gd name="connsiteY149" fmla="*/ 494221 h 505330"/>
              <a:gd name="connsiteX150" fmla="*/ 1054653 w 5487431"/>
              <a:gd name="connsiteY150" fmla="*/ 257420 h 505330"/>
              <a:gd name="connsiteX151" fmla="*/ 944478 w 5487431"/>
              <a:gd name="connsiteY151" fmla="*/ 142174 h 505330"/>
              <a:gd name="connsiteX152" fmla="*/ 848194 w 5487431"/>
              <a:gd name="connsiteY152" fmla="*/ 192547 h 505330"/>
              <a:gd name="connsiteX153" fmla="*/ 844008 w 5487431"/>
              <a:gd name="connsiteY153" fmla="*/ 192547 h 505330"/>
              <a:gd name="connsiteX154" fmla="*/ 844008 w 5487431"/>
              <a:gd name="connsiteY154" fmla="*/ 11016 h 505330"/>
              <a:gd name="connsiteX155" fmla="*/ 3352342 w 5487431"/>
              <a:gd name="connsiteY155" fmla="*/ 11016 h 505330"/>
              <a:gd name="connsiteX156" fmla="*/ 3265857 w 5487431"/>
              <a:gd name="connsiteY156" fmla="*/ 11016 h 505330"/>
              <a:gd name="connsiteX157" fmla="*/ 3265857 w 5487431"/>
              <a:gd name="connsiteY157" fmla="*/ 367864 h 505330"/>
              <a:gd name="connsiteX158" fmla="*/ 3190504 w 5487431"/>
              <a:gd name="connsiteY158" fmla="*/ 460325 h 505330"/>
              <a:gd name="connsiteX159" fmla="*/ 3115152 w 5487431"/>
              <a:gd name="connsiteY159" fmla="*/ 360897 h 505330"/>
              <a:gd name="connsiteX160" fmla="*/ 3115152 w 5487431"/>
              <a:gd name="connsiteY160" fmla="*/ 294612 h 505330"/>
              <a:gd name="connsiteX161" fmla="*/ 3028667 w 5487431"/>
              <a:gd name="connsiteY161" fmla="*/ 315985 h 505330"/>
              <a:gd name="connsiteX162" fmla="*/ 3028667 w 5487431"/>
              <a:gd name="connsiteY162" fmla="*/ 345644 h 505330"/>
              <a:gd name="connsiteX163" fmla="*/ 3190504 w 5487431"/>
              <a:gd name="connsiteY163" fmla="*/ 505143 h 505330"/>
              <a:gd name="connsiteX164" fmla="*/ 3352342 w 5487431"/>
              <a:gd name="connsiteY164" fmla="*/ 345644 h 505330"/>
              <a:gd name="connsiteX165" fmla="*/ 3352342 w 5487431"/>
              <a:gd name="connsiteY165" fmla="*/ 11016 h 505330"/>
              <a:gd name="connsiteX166" fmla="*/ 3872675 w 5487431"/>
              <a:gd name="connsiteY166" fmla="*/ 11016 h 505330"/>
              <a:gd name="connsiteX167" fmla="*/ 3790377 w 5487431"/>
              <a:gd name="connsiteY167" fmla="*/ 11016 h 505330"/>
              <a:gd name="connsiteX168" fmla="*/ 3790377 w 5487431"/>
              <a:gd name="connsiteY168" fmla="*/ 494221 h 505330"/>
              <a:gd name="connsiteX169" fmla="*/ 3872675 w 5487431"/>
              <a:gd name="connsiteY169" fmla="*/ 494221 h 505330"/>
              <a:gd name="connsiteX170" fmla="*/ 3872675 w 5487431"/>
              <a:gd name="connsiteY170" fmla="*/ 271261 h 505330"/>
              <a:gd name="connsiteX171" fmla="*/ 3941749 w 5487431"/>
              <a:gd name="connsiteY171" fmla="*/ 190476 h 505330"/>
              <a:gd name="connsiteX172" fmla="*/ 4001022 w 5487431"/>
              <a:gd name="connsiteY172" fmla="*/ 258173 h 505330"/>
              <a:gd name="connsiteX173" fmla="*/ 4001022 w 5487431"/>
              <a:gd name="connsiteY173" fmla="*/ 494221 h 505330"/>
              <a:gd name="connsiteX174" fmla="*/ 4083320 w 5487431"/>
              <a:gd name="connsiteY174" fmla="*/ 494221 h 505330"/>
              <a:gd name="connsiteX175" fmla="*/ 4083320 w 5487431"/>
              <a:gd name="connsiteY175" fmla="*/ 257420 h 505330"/>
              <a:gd name="connsiteX176" fmla="*/ 3973146 w 5487431"/>
              <a:gd name="connsiteY176" fmla="*/ 142174 h 505330"/>
              <a:gd name="connsiteX177" fmla="*/ 3876861 w 5487431"/>
              <a:gd name="connsiteY177" fmla="*/ 192547 h 505330"/>
              <a:gd name="connsiteX178" fmla="*/ 3872675 w 5487431"/>
              <a:gd name="connsiteY178" fmla="*/ 192547 h 505330"/>
              <a:gd name="connsiteX179" fmla="*/ 3872675 w 5487431"/>
              <a:gd name="connsiteY179" fmla="*/ 11016 h 505330"/>
              <a:gd name="connsiteX180" fmla="*/ 2730110 w 5487431"/>
              <a:gd name="connsiteY180" fmla="*/ 454864 h 505330"/>
              <a:gd name="connsiteX181" fmla="*/ 2622029 w 5487431"/>
              <a:gd name="connsiteY181" fmla="*/ 343761 h 505330"/>
              <a:gd name="connsiteX182" fmla="*/ 2664557 w 5487431"/>
              <a:gd name="connsiteY182" fmla="*/ 256102 h 505330"/>
              <a:gd name="connsiteX183" fmla="*/ 2822208 w 5487431"/>
              <a:gd name="connsiteY183" fmla="*/ 426617 h 505330"/>
              <a:gd name="connsiteX184" fmla="*/ 2730110 w 5487431"/>
              <a:gd name="connsiteY184" fmla="*/ 454864 h 505330"/>
              <a:gd name="connsiteX185" fmla="*/ 2883575 w 5487431"/>
              <a:gd name="connsiteY185" fmla="*/ 369936 h 505330"/>
              <a:gd name="connsiteX186" fmla="*/ 2746856 w 5487431"/>
              <a:gd name="connsiteY186" fmla="*/ 220794 h 505330"/>
              <a:gd name="connsiteX187" fmla="*/ 2814502 w 5487431"/>
              <a:gd name="connsiteY187" fmla="*/ 207706 h 505330"/>
              <a:gd name="connsiteX188" fmla="*/ 2905838 w 5487431"/>
              <a:gd name="connsiteY188" fmla="*/ 296118 h 505330"/>
              <a:gd name="connsiteX189" fmla="*/ 2883575 w 5487431"/>
              <a:gd name="connsiteY189" fmla="*/ 369936 h 505330"/>
              <a:gd name="connsiteX190" fmla="*/ 2728017 w 5487431"/>
              <a:gd name="connsiteY190" fmla="*/ 200833 h 505330"/>
              <a:gd name="connsiteX191" fmla="*/ 2698047 w 5487431"/>
              <a:gd name="connsiteY191" fmla="*/ 167690 h 505330"/>
              <a:gd name="connsiteX192" fmla="*/ 2663891 w 5487431"/>
              <a:gd name="connsiteY192" fmla="*/ 99334 h 505330"/>
              <a:gd name="connsiteX193" fmla="*/ 2730110 w 5487431"/>
              <a:gd name="connsiteY193" fmla="*/ 36532 h 505330"/>
              <a:gd name="connsiteX194" fmla="*/ 2795664 w 5487431"/>
              <a:gd name="connsiteY194" fmla="*/ 102817 h 505330"/>
              <a:gd name="connsiteX195" fmla="*/ 2728017 w 5487431"/>
              <a:gd name="connsiteY195" fmla="*/ 200833 h 505330"/>
              <a:gd name="connsiteX196" fmla="*/ 2732204 w 5487431"/>
              <a:gd name="connsiteY196" fmla="*/ 0 h 505330"/>
              <a:gd name="connsiteX197" fmla="*/ 2588539 w 5487431"/>
              <a:gd name="connsiteY197" fmla="*/ 119389 h 505330"/>
              <a:gd name="connsiteX198" fmla="*/ 2644387 w 5487431"/>
              <a:gd name="connsiteY198" fmla="*/ 234635 h 505330"/>
              <a:gd name="connsiteX199" fmla="*/ 2645053 w 5487431"/>
              <a:gd name="connsiteY199" fmla="*/ 236047 h 505330"/>
              <a:gd name="connsiteX200" fmla="*/ 2545344 w 5487431"/>
              <a:gd name="connsiteY200" fmla="*/ 374832 h 505330"/>
              <a:gd name="connsiteX201" fmla="*/ 2685584 w 5487431"/>
              <a:gd name="connsiteY201" fmla="*/ 505331 h 505330"/>
              <a:gd name="connsiteX202" fmla="*/ 2843235 w 5487431"/>
              <a:gd name="connsiteY202" fmla="*/ 449403 h 505330"/>
              <a:gd name="connsiteX203" fmla="*/ 2885097 w 5487431"/>
              <a:gd name="connsiteY203" fmla="*/ 494315 h 505330"/>
              <a:gd name="connsiteX204" fmla="*/ 2994606 w 5487431"/>
              <a:gd name="connsiteY204" fmla="*/ 494315 h 505330"/>
              <a:gd name="connsiteX205" fmla="*/ 2994606 w 5487431"/>
              <a:gd name="connsiteY205" fmla="*/ 490831 h 505330"/>
              <a:gd name="connsiteX206" fmla="*/ 2905363 w 5487431"/>
              <a:gd name="connsiteY206" fmla="*/ 393474 h 505330"/>
              <a:gd name="connsiteX207" fmla="*/ 2964637 w 5487431"/>
              <a:gd name="connsiteY207" fmla="*/ 258833 h 505330"/>
              <a:gd name="connsiteX208" fmla="*/ 2873300 w 5487431"/>
              <a:gd name="connsiteY208" fmla="*/ 171174 h 505330"/>
              <a:gd name="connsiteX209" fmla="*/ 2789574 w 5487431"/>
              <a:gd name="connsiteY209" fmla="*/ 187745 h 505330"/>
              <a:gd name="connsiteX210" fmla="*/ 2788147 w 5487431"/>
              <a:gd name="connsiteY210" fmla="*/ 185015 h 505330"/>
              <a:gd name="connsiteX211" fmla="*/ 2863500 w 5487431"/>
              <a:gd name="connsiteY211" fmla="*/ 93873 h 505330"/>
              <a:gd name="connsiteX212" fmla="*/ 2732204 w 5487431"/>
              <a:gd name="connsiteY212" fmla="*/ 0 h 50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5487431" h="505330">
                <a:moveTo>
                  <a:pt x="542692" y="463149"/>
                </a:moveTo>
                <a:cubicBezTo>
                  <a:pt x="488937" y="463149"/>
                  <a:pt x="458967" y="412776"/>
                  <a:pt x="458967" y="321634"/>
                </a:cubicBezTo>
                <a:cubicBezTo>
                  <a:pt x="458967" y="229080"/>
                  <a:pt x="488937" y="180119"/>
                  <a:pt x="542692" y="180119"/>
                </a:cubicBezTo>
                <a:cubicBezTo>
                  <a:pt x="596448" y="180119"/>
                  <a:pt x="626417" y="229833"/>
                  <a:pt x="626417" y="321634"/>
                </a:cubicBezTo>
                <a:cubicBezTo>
                  <a:pt x="626322" y="414189"/>
                  <a:pt x="596352" y="463149"/>
                  <a:pt x="542692" y="463149"/>
                </a:cubicBezTo>
                <a:moveTo>
                  <a:pt x="542692" y="142174"/>
                </a:moveTo>
                <a:cubicBezTo>
                  <a:pt x="433183" y="142174"/>
                  <a:pt x="372482" y="222959"/>
                  <a:pt x="372482" y="321634"/>
                </a:cubicBezTo>
                <a:cubicBezTo>
                  <a:pt x="372482" y="420309"/>
                  <a:pt x="433183" y="501094"/>
                  <a:pt x="542692" y="501094"/>
                </a:cubicBezTo>
                <a:cubicBezTo>
                  <a:pt x="652201" y="501094"/>
                  <a:pt x="712902" y="420309"/>
                  <a:pt x="712902" y="321634"/>
                </a:cubicBezTo>
                <a:cubicBezTo>
                  <a:pt x="712902" y="222959"/>
                  <a:pt x="652201" y="142174"/>
                  <a:pt x="542692" y="142174"/>
                </a:cubicBezTo>
                <a:moveTo>
                  <a:pt x="1303641" y="142174"/>
                </a:moveTo>
                <a:cubicBezTo>
                  <a:pt x="1251979" y="142174"/>
                  <a:pt x="1223436" y="164301"/>
                  <a:pt x="1207357" y="192547"/>
                </a:cubicBezTo>
                <a:lnTo>
                  <a:pt x="1203170" y="192547"/>
                </a:lnTo>
                <a:lnTo>
                  <a:pt x="1203170" y="149048"/>
                </a:lnTo>
                <a:lnTo>
                  <a:pt x="1120872" y="149048"/>
                </a:lnTo>
                <a:lnTo>
                  <a:pt x="1120872" y="494221"/>
                </a:lnTo>
                <a:lnTo>
                  <a:pt x="1203170" y="494221"/>
                </a:lnTo>
                <a:lnTo>
                  <a:pt x="1203170" y="271261"/>
                </a:lnTo>
                <a:cubicBezTo>
                  <a:pt x="1203170" y="220229"/>
                  <a:pt x="1229715" y="190476"/>
                  <a:pt x="1272244" y="190476"/>
                </a:cubicBezTo>
                <a:cubicBezTo>
                  <a:pt x="1313440" y="190476"/>
                  <a:pt x="1331518" y="217404"/>
                  <a:pt x="1331518" y="258173"/>
                </a:cubicBezTo>
                <a:lnTo>
                  <a:pt x="1331518" y="494221"/>
                </a:lnTo>
                <a:lnTo>
                  <a:pt x="1413816" y="494221"/>
                </a:lnTo>
                <a:lnTo>
                  <a:pt x="1413816" y="257420"/>
                </a:lnTo>
                <a:cubicBezTo>
                  <a:pt x="1413911" y="186333"/>
                  <a:pt x="1376234" y="142174"/>
                  <a:pt x="1303641" y="142174"/>
                </a:cubicBezTo>
                <a:moveTo>
                  <a:pt x="1600771" y="142174"/>
                </a:moveTo>
                <a:cubicBezTo>
                  <a:pt x="1524752" y="142174"/>
                  <a:pt x="1467571" y="173905"/>
                  <a:pt x="1467571" y="241602"/>
                </a:cubicBezTo>
                <a:cubicBezTo>
                  <a:pt x="1467571" y="298943"/>
                  <a:pt x="1507341" y="330014"/>
                  <a:pt x="1551962" y="341030"/>
                </a:cubicBezTo>
                <a:lnTo>
                  <a:pt x="1621702" y="358260"/>
                </a:lnTo>
                <a:cubicBezTo>
                  <a:pt x="1658712" y="367205"/>
                  <a:pt x="1675457" y="380387"/>
                  <a:pt x="1675457" y="409387"/>
                </a:cubicBezTo>
                <a:cubicBezTo>
                  <a:pt x="1675457" y="444601"/>
                  <a:pt x="1650340" y="464656"/>
                  <a:pt x="1606384" y="464656"/>
                </a:cubicBezTo>
                <a:cubicBezTo>
                  <a:pt x="1558908" y="464656"/>
                  <a:pt x="1534551" y="441870"/>
                  <a:pt x="1526845" y="384624"/>
                </a:cubicBezTo>
                <a:lnTo>
                  <a:pt x="1452919" y="405338"/>
                </a:lnTo>
                <a:cubicBezTo>
                  <a:pt x="1457106" y="464750"/>
                  <a:pt x="1512954" y="501282"/>
                  <a:pt x="1597345" y="501282"/>
                </a:cubicBezTo>
                <a:cubicBezTo>
                  <a:pt x="1691536" y="501282"/>
                  <a:pt x="1742438" y="457782"/>
                  <a:pt x="1742438" y="388767"/>
                </a:cubicBezTo>
                <a:cubicBezTo>
                  <a:pt x="1742438" y="323894"/>
                  <a:pt x="1697055" y="296965"/>
                  <a:pt x="1649674" y="285196"/>
                </a:cubicBezTo>
                <a:lnTo>
                  <a:pt x="1582693" y="268625"/>
                </a:lnTo>
                <a:cubicBezTo>
                  <a:pt x="1549203" y="260339"/>
                  <a:pt x="1534551" y="245180"/>
                  <a:pt x="1534551" y="223054"/>
                </a:cubicBezTo>
                <a:cubicBezTo>
                  <a:pt x="1534551" y="195466"/>
                  <a:pt x="1558242" y="178895"/>
                  <a:pt x="1593825" y="178895"/>
                </a:cubicBezTo>
                <a:cubicBezTo>
                  <a:pt x="1635688" y="178895"/>
                  <a:pt x="1661471" y="201680"/>
                  <a:pt x="1664992" y="245180"/>
                </a:cubicBezTo>
                <a:lnTo>
                  <a:pt x="1734731" y="224466"/>
                </a:lnTo>
                <a:cubicBezTo>
                  <a:pt x="1726358" y="175976"/>
                  <a:pt x="1678216" y="142174"/>
                  <a:pt x="1600771" y="142174"/>
                </a:cubicBezTo>
                <a:moveTo>
                  <a:pt x="1946803" y="463149"/>
                </a:moveTo>
                <a:cubicBezTo>
                  <a:pt x="1893048" y="463149"/>
                  <a:pt x="1863078" y="412776"/>
                  <a:pt x="1863078" y="321634"/>
                </a:cubicBezTo>
                <a:cubicBezTo>
                  <a:pt x="1863078" y="229080"/>
                  <a:pt x="1893048" y="180119"/>
                  <a:pt x="1946803" y="180119"/>
                </a:cubicBezTo>
                <a:cubicBezTo>
                  <a:pt x="2000559" y="180119"/>
                  <a:pt x="2030529" y="229833"/>
                  <a:pt x="2030529" y="321634"/>
                </a:cubicBezTo>
                <a:cubicBezTo>
                  <a:pt x="2030529" y="414189"/>
                  <a:pt x="2000464" y="463149"/>
                  <a:pt x="1946803" y="463149"/>
                </a:cubicBezTo>
                <a:moveTo>
                  <a:pt x="1946803" y="142174"/>
                </a:moveTo>
                <a:cubicBezTo>
                  <a:pt x="1837294" y="142174"/>
                  <a:pt x="1776594" y="222959"/>
                  <a:pt x="1776594" y="321634"/>
                </a:cubicBezTo>
                <a:cubicBezTo>
                  <a:pt x="1776594" y="420309"/>
                  <a:pt x="1837294" y="501094"/>
                  <a:pt x="1946803" y="501094"/>
                </a:cubicBezTo>
                <a:cubicBezTo>
                  <a:pt x="2056312" y="501094"/>
                  <a:pt x="2117013" y="420309"/>
                  <a:pt x="2117013" y="321634"/>
                </a:cubicBezTo>
                <a:cubicBezTo>
                  <a:pt x="2117013" y="222959"/>
                  <a:pt x="2056312" y="142174"/>
                  <a:pt x="1946803" y="142174"/>
                </a:cubicBezTo>
                <a:moveTo>
                  <a:pt x="2348590" y="142174"/>
                </a:moveTo>
                <a:cubicBezTo>
                  <a:pt x="2296927" y="142174"/>
                  <a:pt x="2268385" y="164301"/>
                  <a:pt x="2252306" y="192547"/>
                </a:cubicBezTo>
                <a:lnTo>
                  <a:pt x="2248119" y="192547"/>
                </a:lnTo>
                <a:lnTo>
                  <a:pt x="2248119" y="149048"/>
                </a:lnTo>
                <a:lnTo>
                  <a:pt x="2165821" y="149048"/>
                </a:lnTo>
                <a:lnTo>
                  <a:pt x="2165821" y="494221"/>
                </a:lnTo>
                <a:lnTo>
                  <a:pt x="2248119" y="494221"/>
                </a:lnTo>
                <a:lnTo>
                  <a:pt x="2248119" y="271261"/>
                </a:lnTo>
                <a:cubicBezTo>
                  <a:pt x="2248119" y="220229"/>
                  <a:pt x="2274664" y="190476"/>
                  <a:pt x="2317193" y="190476"/>
                </a:cubicBezTo>
                <a:cubicBezTo>
                  <a:pt x="2358389" y="190476"/>
                  <a:pt x="2376466" y="217404"/>
                  <a:pt x="2376466" y="258173"/>
                </a:cubicBezTo>
                <a:lnTo>
                  <a:pt x="2376466" y="494221"/>
                </a:lnTo>
                <a:lnTo>
                  <a:pt x="2458764" y="494221"/>
                </a:lnTo>
                <a:lnTo>
                  <a:pt x="2458764" y="257420"/>
                </a:lnTo>
                <a:cubicBezTo>
                  <a:pt x="2458764" y="186333"/>
                  <a:pt x="2421088" y="142174"/>
                  <a:pt x="2348590" y="142174"/>
                </a:cubicBezTo>
                <a:moveTo>
                  <a:pt x="3571359" y="463149"/>
                </a:moveTo>
                <a:cubicBezTo>
                  <a:pt x="3517604" y="463149"/>
                  <a:pt x="3487634" y="412776"/>
                  <a:pt x="3487634" y="321634"/>
                </a:cubicBezTo>
                <a:cubicBezTo>
                  <a:pt x="3487634" y="229080"/>
                  <a:pt x="3517604" y="180119"/>
                  <a:pt x="3571359" y="180119"/>
                </a:cubicBezTo>
                <a:cubicBezTo>
                  <a:pt x="3625115" y="180119"/>
                  <a:pt x="3655085" y="229833"/>
                  <a:pt x="3655085" y="321634"/>
                </a:cubicBezTo>
                <a:cubicBezTo>
                  <a:pt x="3655085" y="414189"/>
                  <a:pt x="3625020" y="463149"/>
                  <a:pt x="3571359" y="463149"/>
                </a:cubicBezTo>
                <a:moveTo>
                  <a:pt x="3571359" y="142174"/>
                </a:moveTo>
                <a:cubicBezTo>
                  <a:pt x="3461850" y="142174"/>
                  <a:pt x="3401150" y="222959"/>
                  <a:pt x="3401150" y="321634"/>
                </a:cubicBezTo>
                <a:cubicBezTo>
                  <a:pt x="3401150" y="420309"/>
                  <a:pt x="3461850" y="501094"/>
                  <a:pt x="3571359" y="501094"/>
                </a:cubicBezTo>
                <a:cubicBezTo>
                  <a:pt x="3680868" y="501094"/>
                  <a:pt x="3741569" y="420309"/>
                  <a:pt x="3741569" y="321634"/>
                </a:cubicBezTo>
                <a:cubicBezTo>
                  <a:pt x="3741569" y="222959"/>
                  <a:pt x="3680868" y="142174"/>
                  <a:pt x="3571359" y="142174"/>
                </a:cubicBezTo>
                <a:moveTo>
                  <a:pt x="4332308" y="142174"/>
                </a:moveTo>
                <a:cubicBezTo>
                  <a:pt x="4280646" y="142174"/>
                  <a:pt x="4252103" y="164301"/>
                  <a:pt x="4236024" y="192547"/>
                </a:cubicBezTo>
                <a:lnTo>
                  <a:pt x="4231838" y="192547"/>
                </a:lnTo>
                <a:lnTo>
                  <a:pt x="4231838" y="149048"/>
                </a:lnTo>
                <a:lnTo>
                  <a:pt x="4149539" y="149048"/>
                </a:lnTo>
                <a:lnTo>
                  <a:pt x="4149539" y="494221"/>
                </a:lnTo>
                <a:lnTo>
                  <a:pt x="4231838" y="494221"/>
                </a:lnTo>
                <a:lnTo>
                  <a:pt x="4231838" y="271261"/>
                </a:lnTo>
                <a:cubicBezTo>
                  <a:pt x="4231838" y="220229"/>
                  <a:pt x="4258383" y="190476"/>
                  <a:pt x="4300911" y="190476"/>
                </a:cubicBezTo>
                <a:cubicBezTo>
                  <a:pt x="4342108" y="190476"/>
                  <a:pt x="4360185" y="217404"/>
                  <a:pt x="4360185" y="258173"/>
                </a:cubicBezTo>
                <a:lnTo>
                  <a:pt x="4360185" y="494221"/>
                </a:lnTo>
                <a:lnTo>
                  <a:pt x="4442483" y="494221"/>
                </a:lnTo>
                <a:lnTo>
                  <a:pt x="4442483" y="257420"/>
                </a:lnTo>
                <a:cubicBezTo>
                  <a:pt x="4442578" y="186333"/>
                  <a:pt x="4404902" y="142174"/>
                  <a:pt x="4332308" y="142174"/>
                </a:cubicBezTo>
                <a:moveTo>
                  <a:pt x="4629533" y="142174"/>
                </a:moveTo>
                <a:cubicBezTo>
                  <a:pt x="4553514" y="142174"/>
                  <a:pt x="4496334" y="173905"/>
                  <a:pt x="4496334" y="241602"/>
                </a:cubicBezTo>
                <a:cubicBezTo>
                  <a:pt x="4496334" y="298943"/>
                  <a:pt x="4536103" y="330014"/>
                  <a:pt x="4580725" y="341030"/>
                </a:cubicBezTo>
                <a:lnTo>
                  <a:pt x="4650464" y="358260"/>
                </a:lnTo>
                <a:cubicBezTo>
                  <a:pt x="4687475" y="367205"/>
                  <a:pt x="4704220" y="380387"/>
                  <a:pt x="4704220" y="409387"/>
                </a:cubicBezTo>
                <a:cubicBezTo>
                  <a:pt x="4704220" y="444601"/>
                  <a:pt x="4679102" y="464656"/>
                  <a:pt x="4635146" y="464656"/>
                </a:cubicBezTo>
                <a:cubicBezTo>
                  <a:pt x="4587670" y="464656"/>
                  <a:pt x="4563314" y="441870"/>
                  <a:pt x="4555607" y="384624"/>
                </a:cubicBezTo>
                <a:lnTo>
                  <a:pt x="4481682" y="405338"/>
                </a:lnTo>
                <a:cubicBezTo>
                  <a:pt x="4485868" y="464750"/>
                  <a:pt x="4541716" y="501282"/>
                  <a:pt x="4626108" y="501282"/>
                </a:cubicBezTo>
                <a:cubicBezTo>
                  <a:pt x="4720299" y="501282"/>
                  <a:pt x="4771200" y="457782"/>
                  <a:pt x="4771200" y="388767"/>
                </a:cubicBezTo>
                <a:cubicBezTo>
                  <a:pt x="4771200" y="323894"/>
                  <a:pt x="4725817" y="296965"/>
                  <a:pt x="4678436" y="285196"/>
                </a:cubicBezTo>
                <a:lnTo>
                  <a:pt x="4611456" y="268625"/>
                </a:lnTo>
                <a:cubicBezTo>
                  <a:pt x="4577966" y="260339"/>
                  <a:pt x="4563314" y="245180"/>
                  <a:pt x="4563314" y="223054"/>
                </a:cubicBezTo>
                <a:cubicBezTo>
                  <a:pt x="4563314" y="195466"/>
                  <a:pt x="4587004" y="178895"/>
                  <a:pt x="4622588" y="178895"/>
                </a:cubicBezTo>
                <a:cubicBezTo>
                  <a:pt x="4664450" y="178895"/>
                  <a:pt x="4690234" y="201680"/>
                  <a:pt x="4693754" y="245180"/>
                </a:cubicBezTo>
                <a:lnTo>
                  <a:pt x="4763493" y="224466"/>
                </a:lnTo>
                <a:cubicBezTo>
                  <a:pt x="4755026" y="175976"/>
                  <a:pt x="4706884" y="142174"/>
                  <a:pt x="4629533" y="142174"/>
                </a:cubicBezTo>
                <a:moveTo>
                  <a:pt x="4975471" y="463149"/>
                </a:moveTo>
                <a:cubicBezTo>
                  <a:pt x="4921715" y="463149"/>
                  <a:pt x="4891745" y="412776"/>
                  <a:pt x="4891745" y="321634"/>
                </a:cubicBezTo>
                <a:cubicBezTo>
                  <a:pt x="4891745" y="229080"/>
                  <a:pt x="4921715" y="180119"/>
                  <a:pt x="4975471" y="180119"/>
                </a:cubicBezTo>
                <a:cubicBezTo>
                  <a:pt x="5029226" y="180119"/>
                  <a:pt x="5059196" y="229833"/>
                  <a:pt x="5059196" y="321634"/>
                </a:cubicBezTo>
                <a:cubicBezTo>
                  <a:pt x="5059196" y="414189"/>
                  <a:pt x="5029131" y="463149"/>
                  <a:pt x="4975471" y="463149"/>
                </a:cubicBezTo>
                <a:moveTo>
                  <a:pt x="4975471" y="142174"/>
                </a:moveTo>
                <a:cubicBezTo>
                  <a:pt x="4865962" y="142174"/>
                  <a:pt x="4805261" y="222959"/>
                  <a:pt x="4805261" y="321634"/>
                </a:cubicBezTo>
                <a:cubicBezTo>
                  <a:pt x="4805261" y="420309"/>
                  <a:pt x="4865962" y="501094"/>
                  <a:pt x="4975471" y="501094"/>
                </a:cubicBezTo>
                <a:cubicBezTo>
                  <a:pt x="5084980" y="501094"/>
                  <a:pt x="5145680" y="420309"/>
                  <a:pt x="5145680" y="321634"/>
                </a:cubicBezTo>
                <a:cubicBezTo>
                  <a:pt x="5145680" y="222959"/>
                  <a:pt x="5084980" y="142174"/>
                  <a:pt x="4975471" y="142174"/>
                </a:cubicBezTo>
                <a:moveTo>
                  <a:pt x="5377257" y="142174"/>
                </a:moveTo>
                <a:cubicBezTo>
                  <a:pt x="5325595" y="142174"/>
                  <a:pt x="5297052" y="164301"/>
                  <a:pt x="5280973" y="192547"/>
                </a:cubicBezTo>
                <a:lnTo>
                  <a:pt x="5276787" y="192547"/>
                </a:lnTo>
                <a:lnTo>
                  <a:pt x="5276787" y="149048"/>
                </a:lnTo>
                <a:lnTo>
                  <a:pt x="5194488" y="149048"/>
                </a:lnTo>
                <a:lnTo>
                  <a:pt x="5194488" y="494221"/>
                </a:lnTo>
                <a:lnTo>
                  <a:pt x="5276787" y="494221"/>
                </a:lnTo>
                <a:lnTo>
                  <a:pt x="5276787" y="271261"/>
                </a:lnTo>
                <a:cubicBezTo>
                  <a:pt x="5276787" y="220229"/>
                  <a:pt x="5303331" y="190476"/>
                  <a:pt x="5345860" y="190476"/>
                </a:cubicBezTo>
                <a:cubicBezTo>
                  <a:pt x="5387057" y="190476"/>
                  <a:pt x="5405134" y="217404"/>
                  <a:pt x="5405134" y="258173"/>
                </a:cubicBezTo>
                <a:lnTo>
                  <a:pt x="5405134" y="494221"/>
                </a:lnTo>
                <a:lnTo>
                  <a:pt x="5487432" y="494221"/>
                </a:lnTo>
                <a:lnTo>
                  <a:pt x="5487432" y="257420"/>
                </a:lnTo>
                <a:cubicBezTo>
                  <a:pt x="5487432" y="186333"/>
                  <a:pt x="5449755" y="142174"/>
                  <a:pt x="5377257" y="142174"/>
                </a:cubicBezTo>
                <a:moveTo>
                  <a:pt x="323674" y="11016"/>
                </a:moveTo>
                <a:lnTo>
                  <a:pt x="237190" y="11016"/>
                </a:lnTo>
                <a:lnTo>
                  <a:pt x="237190" y="367864"/>
                </a:lnTo>
                <a:cubicBezTo>
                  <a:pt x="237190" y="425864"/>
                  <a:pt x="214831" y="460325"/>
                  <a:pt x="161837" y="460325"/>
                </a:cubicBezTo>
                <a:cubicBezTo>
                  <a:pt x="109509" y="460325"/>
                  <a:pt x="86484" y="423698"/>
                  <a:pt x="86484" y="360897"/>
                </a:cubicBezTo>
                <a:lnTo>
                  <a:pt x="86484" y="294612"/>
                </a:lnTo>
                <a:lnTo>
                  <a:pt x="0" y="315985"/>
                </a:lnTo>
                <a:lnTo>
                  <a:pt x="0" y="345644"/>
                </a:lnTo>
                <a:cubicBezTo>
                  <a:pt x="0" y="436033"/>
                  <a:pt x="45383" y="505143"/>
                  <a:pt x="161837" y="505143"/>
                </a:cubicBezTo>
                <a:cubicBezTo>
                  <a:pt x="278291" y="505143"/>
                  <a:pt x="323674" y="436127"/>
                  <a:pt x="323674" y="345644"/>
                </a:cubicBezTo>
                <a:lnTo>
                  <a:pt x="323674" y="11016"/>
                </a:lnTo>
                <a:moveTo>
                  <a:pt x="844008" y="11016"/>
                </a:moveTo>
                <a:lnTo>
                  <a:pt x="761710" y="11016"/>
                </a:lnTo>
                <a:lnTo>
                  <a:pt x="761710" y="494221"/>
                </a:lnTo>
                <a:lnTo>
                  <a:pt x="844008" y="494221"/>
                </a:lnTo>
                <a:lnTo>
                  <a:pt x="844008" y="271261"/>
                </a:lnTo>
                <a:cubicBezTo>
                  <a:pt x="844008" y="220229"/>
                  <a:pt x="870553" y="190476"/>
                  <a:pt x="913081" y="190476"/>
                </a:cubicBezTo>
                <a:cubicBezTo>
                  <a:pt x="954278" y="190476"/>
                  <a:pt x="972355" y="217404"/>
                  <a:pt x="972355" y="258173"/>
                </a:cubicBezTo>
                <a:lnTo>
                  <a:pt x="972355" y="494221"/>
                </a:lnTo>
                <a:lnTo>
                  <a:pt x="1054653" y="494221"/>
                </a:lnTo>
                <a:lnTo>
                  <a:pt x="1054653" y="257420"/>
                </a:lnTo>
                <a:cubicBezTo>
                  <a:pt x="1054653" y="186333"/>
                  <a:pt x="1016977" y="142174"/>
                  <a:pt x="944478" y="142174"/>
                </a:cubicBezTo>
                <a:cubicBezTo>
                  <a:pt x="892816" y="142174"/>
                  <a:pt x="864273" y="164301"/>
                  <a:pt x="848194" y="192547"/>
                </a:cubicBezTo>
                <a:lnTo>
                  <a:pt x="844008" y="192547"/>
                </a:lnTo>
                <a:lnTo>
                  <a:pt x="844008" y="11016"/>
                </a:lnTo>
                <a:moveTo>
                  <a:pt x="3352342" y="11016"/>
                </a:moveTo>
                <a:lnTo>
                  <a:pt x="3265857" y="11016"/>
                </a:lnTo>
                <a:lnTo>
                  <a:pt x="3265857" y="367864"/>
                </a:lnTo>
                <a:cubicBezTo>
                  <a:pt x="3265857" y="425864"/>
                  <a:pt x="3243499" y="460325"/>
                  <a:pt x="3190504" y="460325"/>
                </a:cubicBezTo>
                <a:cubicBezTo>
                  <a:pt x="3138176" y="460325"/>
                  <a:pt x="3115152" y="423698"/>
                  <a:pt x="3115152" y="360897"/>
                </a:cubicBezTo>
                <a:lnTo>
                  <a:pt x="3115152" y="294612"/>
                </a:lnTo>
                <a:lnTo>
                  <a:pt x="3028667" y="315985"/>
                </a:lnTo>
                <a:lnTo>
                  <a:pt x="3028667" y="345644"/>
                </a:lnTo>
                <a:cubicBezTo>
                  <a:pt x="3028667" y="436033"/>
                  <a:pt x="3074050" y="505143"/>
                  <a:pt x="3190504" y="505143"/>
                </a:cubicBezTo>
                <a:cubicBezTo>
                  <a:pt x="3306959" y="505143"/>
                  <a:pt x="3352342" y="436127"/>
                  <a:pt x="3352342" y="345644"/>
                </a:cubicBezTo>
                <a:lnTo>
                  <a:pt x="3352342" y="11016"/>
                </a:lnTo>
                <a:moveTo>
                  <a:pt x="3872675" y="11016"/>
                </a:moveTo>
                <a:lnTo>
                  <a:pt x="3790377" y="11016"/>
                </a:lnTo>
                <a:lnTo>
                  <a:pt x="3790377" y="494221"/>
                </a:lnTo>
                <a:lnTo>
                  <a:pt x="3872675" y="494221"/>
                </a:lnTo>
                <a:lnTo>
                  <a:pt x="3872675" y="271261"/>
                </a:lnTo>
                <a:cubicBezTo>
                  <a:pt x="3872675" y="220229"/>
                  <a:pt x="3899220" y="190476"/>
                  <a:pt x="3941749" y="190476"/>
                </a:cubicBezTo>
                <a:cubicBezTo>
                  <a:pt x="3982945" y="190476"/>
                  <a:pt x="4001022" y="217404"/>
                  <a:pt x="4001022" y="258173"/>
                </a:cubicBezTo>
                <a:lnTo>
                  <a:pt x="4001022" y="494221"/>
                </a:lnTo>
                <a:lnTo>
                  <a:pt x="4083320" y="494221"/>
                </a:lnTo>
                <a:lnTo>
                  <a:pt x="4083320" y="257420"/>
                </a:lnTo>
                <a:cubicBezTo>
                  <a:pt x="4083320" y="186333"/>
                  <a:pt x="4045644" y="142174"/>
                  <a:pt x="3973146" y="142174"/>
                </a:cubicBezTo>
                <a:cubicBezTo>
                  <a:pt x="3921483" y="142174"/>
                  <a:pt x="3892941" y="164301"/>
                  <a:pt x="3876861" y="192547"/>
                </a:cubicBezTo>
                <a:lnTo>
                  <a:pt x="3872675" y="192547"/>
                </a:lnTo>
                <a:lnTo>
                  <a:pt x="3872675" y="11016"/>
                </a:lnTo>
                <a:moveTo>
                  <a:pt x="2730110" y="454864"/>
                </a:moveTo>
                <a:cubicBezTo>
                  <a:pt x="2663130" y="454864"/>
                  <a:pt x="2622029" y="401007"/>
                  <a:pt x="2622029" y="343761"/>
                </a:cubicBezTo>
                <a:cubicBezTo>
                  <a:pt x="2622029" y="307887"/>
                  <a:pt x="2638108" y="274745"/>
                  <a:pt x="2664557" y="256102"/>
                </a:cubicBezTo>
                <a:lnTo>
                  <a:pt x="2822208" y="426617"/>
                </a:lnTo>
                <a:cubicBezTo>
                  <a:pt x="2792904" y="443848"/>
                  <a:pt x="2760080" y="454864"/>
                  <a:pt x="2730110" y="454864"/>
                </a:cubicBezTo>
                <a:moveTo>
                  <a:pt x="2883575" y="369936"/>
                </a:moveTo>
                <a:lnTo>
                  <a:pt x="2746856" y="220794"/>
                </a:lnTo>
                <a:cubicBezTo>
                  <a:pt x="2771307" y="211096"/>
                  <a:pt x="2794998" y="207706"/>
                  <a:pt x="2814502" y="207706"/>
                </a:cubicBezTo>
                <a:cubicBezTo>
                  <a:pt x="2871016" y="207706"/>
                  <a:pt x="2905838" y="240190"/>
                  <a:pt x="2905838" y="296118"/>
                </a:cubicBezTo>
                <a:cubicBezTo>
                  <a:pt x="2905934" y="320975"/>
                  <a:pt x="2898893" y="346491"/>
                  <a:pt x="2883575" y="369936"/>
                </a:cubicBezTo>
                <a:moveTo>
                  <a:pt x="2728017" y="200833"/>
                </a:moveTo>
                <a:lnTo>
                  <a:pt x="2698047" y="167690"/>
                </a:lnTo>
                <a:cubicBezTo>
                  <a:pt x="2671503" y="138691"/>
                  <a:pt x="2663891" y="120707"/>
                  <a:pt x="2663891" y="99334"/>
                </a:cubicBezTo>
                <a:cubicBezTo>
                  <a:pt x="2663891" y="59318"/>
                  <a:pt x="2689675" y="36532"/>
                  <a:pt x="2730110" y="36532"/>
                </a:cubicBezTo>
                <a:cubicBezTo>
                  <a:pt x="2771307" y="36532"/>
                  <a:pt x="2795664" y="59977"/>
                  <a:pt x="2795664" y="102817"/>
                </a:cubicBezTo>
                <a:cubicBezTo>
                  <a:pt x="2795664" y="142174"/>
                  <a:pt x="2776159" y="179460"/>
                  <a:pt x="2728017" y="200833"/>
                </a:cubicBezTo>
                <a:moveTo>
                  <a:pt x="2732204" y="0"/>
                </a:moveTo>
                <a:cubicBezTo>
                  <a:pt x="2635920" y="0"/>
                  <a:pt x="2588539" y="53198"/>
                  <a:pt x="2588539" y="119389"/>
                </a:cubicBezTo>
                <a:cubicBezTo>
                  <a:pt x="2588539" y="155262"/>
                  <a:pt x="2603857" y="191229"/>
                  <a:pt x="2644387" y="234635"/>
                </a:cubicBezTo>
                <a:lnTo>
                  <a:pt x="2645053" y="236047"/>
                </a:lnTo>
                <a:cubicBezTo>
                  <a:pt x="2576741" y="268531"/>
                  <a:pt x="2545344" y="320975"/>
                  <a:pt x="2545344" y="374832"/>
                </a:cubicBezTo>
                <a:cubicBezTo>
                  <a:pt x="2545344" y="445919"/>
                  <a:pt x="2600432" y="505331"/>
                  <a:pt x="2685584" y="505331"/>
                </a:cubicBezTo>
                <a:cubicBezTo>
                  <a:pt x="2734392" y="505331"/>
                  <a:pt x="2791573" y="485276"/>
                  <a:pt x="2843235" y="449403"/>
                </a:cubicBezTo>
                <a:lnTo>
                  <a:pt x="2885097" y="494315"/>
                </a:lnTo>
                <a:lnTo>
                  <a:pt x="2994606" y="494315"/>
                </a:lnTo>
                <a:lnTo>
                  <a:pt x="2994606" y="490831"/>
                </a:lnTo>
                <a:lnTo>
                  <a:pt x="2905363" y="393474"/>
                </a:lnTo>
                <a:cubicBezTo>
                  <a:pt x="2943039" y="349316"/>
                  <a:pt x="2964637" y="301014"/>
                  <a:pt x="2964637" y="258833"/>
                </a:cubicBezTo>
                <a:cubicBezTo>
                  <a:pt x="2964637" y="206388"/>
                  <a:pt x="2929053" y="171174"/>
                  <a:pt x="2873300" y="171174"/>
                </a:cubicBezTo>
                <a:cubicBezTo>
                  <a:pt x="2843996" y="171174"/>
                  <a:pt x="2811172" y="179460"/>
                  <a:pt x="2789574" y="187745"/>
                </a:cubicBezTo>
                <a:lnTo>
                  <a:pt x="2788147" y="185015"/>
                </a:lnTo>
                <a:cubicBezTo>
                  <a:pt x="2841142" y="156674"/>
                  <a:pt x="2863500" y="130499"/>
                  <a:pt x="2863500" y="93873"/>
                </a:cubicBezTo>
                <a:cubicBezTo>
                  <a:pt x="2863310" y="41428"/>
                  <a:pt x="2815929" y="0"/>
                  <a:pt x="2732204" y="0"/>
                </a:cubicBezTo>
              </a:path>
            </a:pathLst>
          </a:custGeom>
          <a:solidFill>
            <a:schemeClr val="bg1"/>
          </a:solidFill>
          <a:ln w="9509" cap="flat">
            <a:noFill/>
            <a:prstDash val="solid"/>
            <a:miter/>
          </a:ln>
        </p:spPr>
        <p:txBody>
          <a:bodyPr rtlCol="0" anchor="ctr"/>
          <a:lstStyle/>
          <a:p>
            <a:endParaRPr lang="en-GB"/>
          </a:p>
        </p:txBody>
      </p:sp>
    </p:spTree>
    <p:extLst>
      <p:ext uri="{BB962C8B-B14F-4D97-AF65-F5344CB8AC3E}">
        <p14:creationId xmlns:p14="http://schemas.microsoft.com/office/powerpoint/2010/main" val="186764006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Title Slide with Panel Images - Long titles [Accessible Version]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F71E3-AC39-2207-0CC4-1E2486610795}"/>
              </a:ext>
            </a:extLst>
          </p:cNvPr>
          <p:cNvSpPr>
            <a:spLocks noGrp="1"/>
          </p:cNvSpPr>
          <p:nvPr>
            <p:ph type="ctrTitle" hasCustomPrompt="1"/>
          </p:nvPr>
        </p:nvSpPr>
        <p:spPr>
          <a:xfrm>
            <a:off x="285979" y="266955"/>
            <a:ext cx="8518155" cy="2946145"/>
          </a:xfrm>
        </p:spPr>
        <p:txBody>
          <a:bodyPr wrap="square" anchor="t">
            <a:normAutofit/>
          </a:bodyPr>
          <a:lstStyle>
            <a:lvl1pPr algn="l">
              <a:lnSpc>
                <a:spcPct val="80000"/>
              </a:lnSpc>
              <a:defRPr sz="7000" b="0" i="0" spc="0" baseline="0">
                <a:solidFill>
                  <a:schemeClr val="accent1"/>
                </a:solidFill>
                <a:latin typeface="+mj-lt"/>
              </a:defRPr>
            </a:lvl1pPr>
          </a:lstStyle>
          <a:p>
            <a:r>
              <a:rPr lang="en-GB"/>
              <a:t>Longer titles will shrink automatically</a:t>
            </a:r>
            <a:br>
              <a:rPr lang="en-GB"/>
            </a:br>
            <a:endParaRPr lang="en-GB"/>
          </a:p>
        </p:txBody>
      </p:sp>
      <p:sp>
        <p:nvSpPr>
          <p:cNvPr id="9" name="Subtitle 2">
            <a:extLst>
              <a:ext uri="{FF2B5EF4-FFF2-40B4-BE49-F238E27FC236}">
                <a16:creationId xmlns:a16="http://schemas.microsoft.com/office/drawing/2014/main" id="{52CA5BFA-B5A6-B786-4C05-6FD9C9E49AB2}"/>
              </a:ext>
            </a:extLst>
          </p:cNvPr>
          <p:cNvSpPr>
            <a:spLocks noGrp="1"/>
          </p:cNvSpPr>
          <p:nvPr>
            <p:ph type="subTitle" idx="1" hasCustomPrompt="1"/>
          </p:nvPr>
        </p:nvSpPr>
        <p:spPr>
          <a:xfrm>
            <a:off x="284806" y="4889500"/>
            <a:ext cx="2795587" cy="865834"/>
          </a:xfrm>
        </p:spPr>
        <p:txBody>
          <a:bodyPr anchor="b"/>
          <a:lstStyle>
            <a:lvl1pPr marL="0" indent="0" algn="l">
              <a:lnSpc>
                <a:spcPct val="100000"/>
              </a:lnSpc>
              <a:spcBef>
                <a:spcPts val="0"/>
              </a:spcBef>
              <a:spcAft>
                <a:spcPts val="0"/>
              </a:spcAft>
              <a:buNone/>
              <a:defRPr sz="1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pporting details. Delete if not required.</a:t>
            </a:r>
          </a:p>
        </p:txBody>
      </p:sp>
      <p:sp>
        <p:nvSpPr>
          <p:cNvPr id="5" name="Picture Placeholder 3">
            <a:extLst>
              <a:ext uri="{FF2B5EF4-FFF2-40B4-BE49-F238E27FC236}">
                <a16:creationId xmlns:a16="http://schemas.microsoft.com/office/drawing/2014/main" id="{C04121E7-08DD-C793-86E0-65E3A5A388B9}"/>
              </a:ext>
            </a:extLst>
          </p:cNvPr>
          <p:cNvSpPr txBox="1">
            <a:spLocks/>
          </p:cNvSpPr>
          <p:nvPr/>
        </p:nvSpPr>
        <p:spPr>
          <a:xfrm>
            <a:off x="9150578" y="1"/>
            <a:ext cx="3041422" cy="3428999"/>
          </a:xfrm>
          <a:prstGeom prst="rect">
            <a:avLst/>
          </a:prstGeom>
          <a:solidFill>
            <a:srgbClr val="F6F3F2"/>
          </a:solidFill>
        </p:spPr>
        <p:txBody>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lang="en-US" sz="1800" b="0" i="0" kern="1200" dirty="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8568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a:lstStyle>
          <a:p>
            <a:pPr>
              <a:defRPr/>
            </a:pPr>
            <a:r>
              <a:rPr lang="en-US"/>
              <a:t>Click the icon to add a photo or illustration.</a:t>
            </a:r>
          </a:p>
        </p:txBody>
      </p:sp>
      <p:sp>
        <p:nvSpPr>
          <p:cNvPr id="6" name="Picture Placeholder 3">
            <a:extLst>
              <a:ext uri="{FF2B5EF4-FFF2-40B4-BE49-F238E27FC236}">
                <a16:creationId xmlns:a16="http://schemas.microsoft.com/office/drawing/2014/main" id="{44491B2F-D44C-0066-95F1-F250C57C0960}"/>
              </a:ext>
            </a:extLst>
          </p:cNvPr>
          <p:cNvSpPr txBox="1">
            <a:spLocks/>
          </p:cNvSpPr>
          <p:nvPr/>
        </p:nvSpPr>
        <p:spPr>
          <a:xfrm>
            <a:off x="5083403" y="3429000"/>
            <a:ext cx="3041422" cy="2479675"/>
          </a:xfrm>
          <a:prstGeom prst="rect">
            <a:avLst/>
          </a:prstGeom>
          <a:solidFill>
            <a:srgbClr val="F6F3F2"/>
          </a:solidFill>
        </p:spPr>
        <p:txBody>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lang="en-US" sz="1800" b="0" i="0" kern="1200" dirty="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8568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a:lstStyle>
          <a:p>
            <a:pPr>
              <a:defRPr/>
            </a:pPr>
            <a:r>
              <a:rPr lang="en-US"/>
              <a:t>Click the icon to add a photo or illustration.</a:t>
            </a:r>
          </a:p>
        </p:txBody>
      </p:sp>
      <p:sp>
        <p:nvSpPr>
          <p:cNvPr id="7" name="Graphic 2">
            <a:extLst>
              <a:ext uri="{FF2B5EF4-FFF2-40B4-BE49-F238E27FC236}">
                <a16:creationId xmlns:a16="http://schemas.microsoft.com/office/drawing/2014/main" id="{6FE39920-28CC-4C37-EC19-6F2C7A632392}"/>
              </a:ext>
            </a:extLst>
          </p:cNvPr>
          <p:cNvSpPr>
            <a:spLocks noChangeAspect="1"/>
          </p:cNvSpPr>
          <p:nvPr/>
        </p:nvSpPr>
        <p:spPr>
          <a:xfrm>
            <a:off x="290513" y="6377853"/>
            <a:ext cx="2034000" cy="187309"/>
          </a:xfrm>
          <a:custGeom>
            <a:avLst/>
            <a:gdLst>
              <a:gd name="connsiteX0" fmla="*/ 542692 w 5487431"/>
              <a:gd name="connsiteY0" fmla="*/ 463149 h 505330"/>
              <a:gd name="connsiteX1" fmla="*/ 458967 w 5487431"/>
              <a:gd name="connsiteY1" fmla="*/ 321634 h 505330"/>
              <a:gd name="connsiteX2" fmla="*/ 542692 w 5487431"/>
              <a:gd name="connsiteY2" fmla="*/ 180119 h 505330"/>
              <a:gd name="connsiteX3" fmla="*/ 626417 w 5487431"/>
              <a:gd name="connsiteY3" fmla="*/ 321634 h 505330"/>
              <a:gd name="connsiteX4" fmla="*/ 542692 w 5487431"/>
              <a:gd name="connsiteY4" fmla="*/ 463149 h 505330"/>
              <a:gd name="connsiteX5" fmla="*/ 542692 w 5487431"/>
              <a:gd name="connsiteY5" fmla="*/ 142174 h 505330"/>
              <a:gd name="connsiteX6" fmla="*/ 372482 w 5487431"/>
              <a:gd name="connsiteY6" fmla="*/ 321634 h 505330"/>
              <a:gd name="connsiteX7" fmla="*/ 542692 w 5487431"/>
              <a:gd name="connsiteY7" fmla="*/ 501094 h 505330"/>
              <a:gd name="connsiteX8" fmla="*/ 712902 w 5487431"/>
              <a:gd name="connsiteY8" fmla="*/ 321634 h 505330"/>
              <a:gd name="connsiteX9" fmla="*/ 542692 w 5487431"/>
              <a:gd name="connsiteY9" fmla="*/ 142174 h 505330"/>
              <a:gd name="connsiteX10" fmla="*/ 1303641 w 5487431"/>
              <a:gd name="connsiteY10" fmla="*/ 142174 h 505330"/>
              <a:gd name="connsiteX11" fmla="*/ 1207357 w 5487431"/>
              <a:gd name="connsiteY11" fmla="*/ 192547 h 505330"/>
              <a:gd name="connsiteX12" fmla="*/ 1203170 w 5487431"/>
              <a:gd name="connsiteY12" fmla="*/ 192547 h 505330"/>
              <a:gd name="connsiteX13" fmla="*/ 1203170 w 5487431"/>
              <a:gd name="connsiteY13" fmla="*/ 149048 h 505330"/>
              <a:gd name="connsiteX14" fmla="*/ 1120872 w 5487431"/>
              <a:gd name="connsiteY14" fmla="*/ 149048 h 505330"/>
              <a:gd name="connsiteX15" fmla="*/ 1120872 w 5487431"/>
              <a:gd name="connsiteY15" fmla="*/ 494221 h 505330"/>
              <a:gd name="connsiteX16" fmla="*/ 1203170 w 5487431"/>
              <a:gd name="connsiteY16" fmla="*/ 494221 h 505330"/>
              <a:gd name="connsiteX17" fmla="*/ 1203170 w 5487431"/>
              <a:gd name="connsiteY17" fmla="*/ 271261 h 505330"/>
              <a:gd name="connsiteX18" fmla="*/ 1272244 w 5487431"/>
              <a:gd name="connsiteY18" fmla="*/ 190476 h 505330"/>
              <a:gd name="connsiteX19" fmla="*/ 1331518 w 5487431"/>
              <a:gd name="connsiteY19" fmla="*/ 258173 h 505330"/>
              <a:gd name="connsiteX20" fmla="*/ 1331518 w 5487431"/>
              <a:gd name="connsiteY20" fmla="*/ 494221 h 505330"/>
              <a:gd name="connsiteX21" fmla="*/ 1413816 w 5487431"/>
              <a:gd name="connsiteY21" fmla="*/ 494221 h 505330"/>
              <a:gd name="connsiteX22" fmla="*/ 1413816 w 5487431"/>
              <a:gd name="connsiteY22" fmla="*/ 257420 h 505330"/>
              <a:gd name="connsiteX23" fmla="*/ 1303641 w 5487431"/>
              <a:gd name="connsiteY23" fmla="*/ 142174 h 505330"/>
              <a:gd name="connsiteX24" fmla="*/ 1600771 w 5487431"/>
              <a:gd name="connsiteY24" fmla="*/ 142174 h 505330"/>
              <a:gd name="connsiteX25" fmla="*/ 1467571 w 5487431"/>
              <a:gd name="connsiteY25" fmla="*/ 241602 h 505330"/>
              <a:gd name="connsiteX26" fmla="*/ 1551962 w 5487431"/>
              <a:gd name="connsiteY26" fmla="*/ 341030 h 505330"/>
              <a:gd name="connsiteX27" fmla="*/ 1621702 w 5487431"/>
              <a:gd name="connsiteY27" fmla="*/ 358260 h 505330"/>
              <a:gd name="connsiteX28" fmla="*/ 1675457 w 5487431"/>
              <a:gd name="connsiteY28" fmla="*/ 409387 h 505330"/>
              <a:gd name="connsiteX29" fmla="*/ 1606384 w 5487431"/>
              <a:gd name="connsiteY29" fmla="*/ 464656 h 505330"/>
              <a:gd name="connsiteX30" fmla="*/ 1526845 w 5487431"/>
              <a:gd name="connsiteY30" fmla="*/ 384624 h 505330"/>
              <a:gd name="connsiteX31" fmla="*/ 1452919 w 5487431"/>
              <a:gd name="connsiteY31" fmla="*/ 405338 h 505330"/>
              <a:gd name="connsiteX32" fmla="*/ 1597345 w 5487431"/>
              <a:gd name="connsiteY32" fmla="*/ 501282 h 505330"/>
              <a:gd name="connsiteX33" fmla="*/ 1742438 w 5487431"/>
              <a:gd name="connsiteY33" fmla="*/ 388767 h 505330"/>
              <a:gd name="connsiteX34" fmla="*/ 1649674 w 5487431"/>
              <a:gd name="connsiteY34" fmla="*/ 285196 h 505330"/>
              <a:gd name="connsiteX35" fmla="*/ 1582693 w 5487431"/>
              <a:gd name="connsiteY35" fmla="*/ 268625 h 505330"/>
              <a:gd name="connsiteX36" fmla="*/ 1534551 w 5487431"/>
              <a:gd name="connsiteY36" fmla="*/ 223054 h 505330"/>
              <a:gd name="connsiteX37" fmla="*/ 1593825 w 5487431"/>
              <a:gd name="connsiteY37" fmla="*/ 178895 h 505330"/>
              <a:gd name="connsiteX38" fmla="*/ 1664992 w 5487431"/>
              <a:gd name="connsiteY38" fmla="*/ 245180 h 505330"/>
              <a:gd name="connsiteX39" fmla="*/ 1734731 w 5487431"/>
              <a:gd name="connsiteY39" fmla="*/ 224466 h 505330"/>
              <a:gd name="connsiteX40" fmla="*/ 1600771 w 5487431"/>
              <a:gd name="connsiteY40" fmla="*/ 142174 h 505330"/>
              <a:gd name="connsiteX41" fmla="*/ 1946803 w 5487431"/>
              <a:gd name="connsiteY41" fmla="*/ 463149 h 505330"/>
              <a:gd name="connsiteX42" fmla="*/ 1863078 w 5487431"/>
              <a:gd name="connsiteY42" fmla="*/ 321634 h 505330"/>
              <a:gd name="connsiteX43" fmla="*/ 1946803 w 5487431"/>
              <a:gd name="connsiteY43" fmla="*/ 180119 h 505330"/>
              <a:gd name="connsiteX44" fmla="*/ 2030529 w 5487431"/>
              <a:gd name="connsiteY44" fmla="*/ 321634 h 505330"/>
              <a:gd name="connsiteX45" fmla="*/ 1946803 w 5487431"/>
              <a:gd name="connsiteY45" fmla="*/ 463149 h 505330"/>
              <a:gd name="connsiteX46" fmla="*/ 1946803 w 5487431"/>
              <a:gd name="connsiteY46" fmla="*/ 142174 h 505330"/>
              <a:gd name="connsiteX47" fmla="*/ 1776594 w 5487431"/>
              <a:gd name="connsiteY47" fmla="*/ 321634 h 505330"/>
              <a:gd name="connsiteX48" fmla="*/ 1946803 w 5487431"/>
              <a:gd name="connsiteY48" fmla="*/ 501094 h 505330"/>
              <a:gd name="connsiteX49" fmla="*/ 2117013 w 5487431"/>
              <a:gd name="connsiteY49" fmla="*/ 321634 h 505330"/>
              <a:gd name="connsiteX50" fmla="*/ 1946803 w 5487431"/>
              <a:gd name="connsiteY50" fmla="*/ 142174 h 505330"/>
              <a:gd name="connsiteX51" fmla="*/ 2348590 w 5487431"/>
              <a:gd name="connsiteY51" fmla="*/ 142174 h 505330"/>
              <a:gd name="connsiteX52" fmla="*/ 2252306 w 5487431"/>
              <a:gd name="connsiteY52" fmla="*/ 192547 h 505330"/>
              <a:gd name="connsiteX53" fmla="*/ 2248119 w 5487431"/>
              <a:gd name="connsiteY53" fmla="*/ 192547 h 505330"/>
              <a:gd name="connsiteX54" fmla="*/ 2248119 w 5487431"/>
              <a:gd name="connsiteY54" fmla="*/ 149048 h 505330"/>
              <a:gd name="connsiteX55" fmla="*/ 2165821 w 5487431"/>
              <a:gd name="connsiteY55" fmla="*/ 149048 h 505330"/>
              <a:gd name="connsiteX56" fmla="*/ 2165821 w 5487431"/>
              <a:gd name="connsiteY56" fmla="*/ 494221 h 505330"/>
              <a:gd name="connsiteX57" fmla="*/ 2248119 w 5487431"/>
              <a:gd name="connsiteY57" fmla="*/ 494221 h 505330"/>
              <a:gd name="connsiteX58" fmla="*/ 2248119 w 5487431"/>
              <a:gd name="connsiteY58" fmla="*/ 271261 h 505330"/>
              <a:gd name="connsiteX59" fmla="*/ 2317193 w 5487431"/>
              <a:gd name="connsiteY59" fmla="*/ 190476 h 505330"/>
              <a:gd name="connsiteX60" fmla="*/ 2376466 w 5487431"/>
              <a:gd name="connsiteY60" fmla="*/ 258173 h 505330"/>
              <a:gd name="connsiteX61" fmla="*/ 2376466 w 5487431"/>
              <a:gd name="connsiteY61" fmla="*/ 494221 h 505330"/>
              <a:gd name="connsiteX62" fmla="*/ 2458764 w 5487431"/>
              <a:gd name="connsiteY62" fmla="*/ 494221 h 505330"/>
              <a:gd name="connsiteX63" fmla="*/ 2458764 w 5487431"/>
              <a:gd name="connsiteY63" fmla="*/ 257420 h 505330"/>
              <a:gd name="connsiteX64" fmla="*/ 2348590 w 5487431"/>
              <a:gd name="connsiteY64" fmla="*/ 142174 h 505330"/>
              <a:gd name="connsiteX65" fmla="*/ 3571359 w 5487431"/>
              <a:gd name="connsiteY65" fmla="*/ 463149 h 505330"/>
              <a:gd name="connsiteX66" fmla="*/ 3487634 w 5487431"/>
              <a:gd name="connsiteY66" fmla="*/ 321634 h 505330"/>
              <a:gd name="connsiteX67" fmla="*/ 3571359 w 5487431"/>
              <a:gd name="connsiteY67" fmla="*/ 180119 h 505330"/>
              <a:gd name="connsiteX68" fmla="*/ 3655085 w 5487431"/>
              <a:gd name="connsiteY68" fmla="*/ 321634 h 505330"/>
              <a:gd name="connsiteX69" fmla="*/ 3571359 w 5487431"/>
              <a:gd name="connsiteY69" fmla="*/ 463149 h 505330"/>
              <a:gd name="connsiteX70" fmla="*/ 3571359 w 5487431"/>
              <a:gd name="connsiteY70" fmla="*/ 142174 h 505330"/>
              <a:gd name="connsiteX71" fmla="*/ 3401150 w 5487431"/>
              <a:gd name="connsiteY71" fmla="*/ 321634 h 505330"/>
              <a:gd name="connsiteX72" fmla="*/ 3571359 w 5487431"/>
              <a:gd name="connsiteY72" fmla="*/ 501094 h 505330"/>
              <a:gd name="connsiteX73" fmla="*/ 3741569 w 5487431"/>
              <a:gd name="connsiteY73" fmla="*/ 321634 h 505330"/>
              <a:gd name="connsiteX74" fmla="*/ 3571359 w 5487431"/>
              <a:gd name="connsiteY74" fmla="*/ 142174 h 505330"/>
              <a:gd name="connsiteX75" fmla="*/ 4332308 w 5487431"/>
              <a:gd name="connsiteY75" fmla="*/ 142174 h 505330"/>
              <a:gd name="connsiteX76" fmla="*/ 4236024 w 5487431"/>
              <a:gd name="connsiteY76" fmla="*/ 192547 h 505330"/>
              <a:gd name="connsiteX77" fmla="*/ 4231838 w 5487431"/>
              <a:gd name="connsiteY77" fmla="*/ 192547 h 505330"/>
              <a:gd name="connsiteX78" fmla="*/ 4231838 w 5487431"/>
              <a:gd name="connsiteY78" fmla="*/ 149048 h 505330"/>
              <a:gd name="connsiteX79" fmla="*/ 4149539 w 5487431"/>
              <a:gd name="connsiteY79" fmla="*/ 149048 h 505330"/>
              <a:gd name="connsiteX80" fmla="*/ 4149539 w 5487431"/>
              <a:gd name="connsiteY80" fmla="*/ 494221 h 505330"/>
              <a:gd name="connsiteX81" fmla="*/ 4231838 w 5487431"/>
              <a:gd name="connsiteY81" fmla="*/ 494221 h 505330"/>
              <a:gd name="connsiteX82" fmla="*/ 4231838 w 5487431"/>
              <a:gd name="connsiteY82" fmla="*/ 271261 h 505330"/>
              <a:gd name="connsiteX83" fmla="*/ 4300911 w 5487431"/>
              <a:gd name="connsiteY83" fmla="*/ 190476 h 505330"/>
              <a:gd name="connsiteX84" fmla="*/ 4360185 w 5487431"/>
              <a:gd name="connsiteY84" fmla="*/ 258173 h 505330"/>
              <a:gd name="connsiteX85" fmla="*/ 4360185 w 5487431"/>
              <a:gd name="connsiteY85" fmla="*/ 494221 h 505330"/>
              <a:gd name="connsiteX86" fmla="*/ 4442483 w 5487431"/>
              <a:gd name="connsiteY86" fmla="*/ 494221 h 505330"/>
              <a:gd name="connsiteX87" fmla="*/ 4442483 w 5487431"/>
              <a:gd name="connsiteY87" fmla="*/ 257420 h 505330"/>
              <a:gd name="connsiteX88" fmla="*/ 4332308 w 5487431"/>
              <a:gd name="connsiteY88" fmla="*/ 142174 h 505330"/>
              <a:gd name="connsiteX89" fmla="*/ 4629533 w 5487431"/>
              <a:gd name="connsiteY89" fmla="*/ 142174 h 505330"/>
              <a:gd name="connsiteX90" fmla="*/ 4496334 w 5487431"/>
              <a:gd name="connsiteY90" fmla="*/ 241602 h 505330"/>
              <a:gd name="connsiteX91" fmla="*/ 4580725 w 5487431"/>
              <a:gd name="connsiteY91" fmla="*/ 341030 h 505330"/>
              <a:gd name="connsiteX92" fmla="*/ 4650464 w 5487431"/>
              <a:gd name="connsiteY92" fmla="*/ 358260 h 505330"/>
              <a:gd name="connsiteX93" fmla="*/ 4704220 w 5487431"/>
              <a:gd name="connsiteY93" fmla="*/ 409387 h 505330"/>
              <a:gd name="connsiteX94" fmla="*/ 4635146 w 5487431"/>
              <a:gd name="connsiteY94" fmla="*/ 464656 h 505330"/>
              <a:gd name="connsiteX95" fmla="*/ 4555607 w 5487431"/>
              <a:gd name="connsiteY95" fmla="*/ 384624 h 505330"/>
              <a:gd name="connsiteX96" fmla="*/ 4481682 w 5487431"/>
              <a:gd name="connsiteY96" fmla="*/ 405338 h 505330"/>
              <a:gd name="connsiteX97" fmla="*/ 4626108 w 5487431"/>
              <a:gd name="connsiteY97" fmla="*/ 501282 h 505330"/>
              <a:gd name="connsiteX98" fmla="*/ 4771200 w 5487431"/>
              <a:gd name="connsiteY98" fmla="*/ 388767 h 505330"/>
              <a:gd name="connsiteX99" fmla="*/ 4678436 w 5487431"/>
              <a:gd name="connsiteY99" fmla="*/ 285196 h 505330"/>
              <a:gd name="connsiteX100" fmla="*/ 4611456 w 5487431"/>
              <a:gd name="connsiteY100" fmla="*/ 268625 h 505330"/>
              <a:gd name="connsiteX101" fmla="*/ 4563314 w 5487431"/>
              <a:gd name="connsiteY101" fmla="*/ 223054 h 505330"/>
              <a:gd name="connsiteX102" fmla="*/ 4622588 w 5487431"/>
              <a:gd name="connsiteY102" fmla="*/ 178895 h 505330"/>
              <a:gd name="connsiteX103" fmla="*/ 4693754 w 5487431"/>
              <a:gd name="connsiteY103" fmla="*/ 245180 h 505330"/>
              <a:gd name="connsiteX104" fmla="*/ 4763493 w 5487431"/>
              <a:gd name="connsiteY104" fmla="*/ 224466 h 505330"/>
              <a:gd name="connsiteX105" fmla="*/ 4629533 w 5487431"/>
              <a:gd name="connsiteY105" fmla="*/ 142174 h 505330"/>
              <a:gd name="connsiteX106" fmla="*/ 4975471 w 5487431"/>
              <a:gd name="connsiteY106" fmla="*/ 463149 h 505330"/>
              <a:gd name="connsiteX107" fmla="*/ 4891745 w 5487431"/>
              <a:gd name="connsiteY107" fmla="*/ 321634 h 505330"/>
              <a:gd name="connsiteX108" fmla="*/ 4975471 w 5487431"/>
              <a:gd name="connsiteY108" fmla="*/ 180119 h 505330"/>
              <a:gd name="connsiteX109" fmla="*/ 5059196 w 5487431"/>
              <a:gd name="connsiteY109" fmla="*/ 321634 h 505330"/>
              <a:gd name="connsiteX110" fmla="*/ 4975471 w 5487431"/>
              <a:gd name="connsiteY110" fmla="*/ 463149 h 505330"/>
              <a:gd name="connsiteX111" fmla="*/ 4975471 w 5487431"/>
              <a:gd name="connsiteY111" fmla="*/ 142174 h 505330"/>
              <a:gd name="connsiteX112" fmla="*/ 4805261 w 5487431"/>
              <a:gd name="connsiteY112" fmla="*/ 321634 h 505330"/>
              <a:gd name="connsiteX113" fmla="*/ 4975471 w 5487431"/>
              <a:gd name="connsiteY113" fmla="*/ 501094 h 505330"/>
              <a:gd name="connsiteX114" fmla="*/ 5145680 w 5487431"/>
              <a:gd name="connsiteY114" fmla="*/ 321634 h 505330"/>
              <a:gd name="connsiteX115" fmla="*/ 4975471 w 5487431"/>
              <a:gd name="connsiteY115" fmla="*/ 142174 h 505330"/>
              <a:gd name="connsiteX116" fmla="*/ 5377257 w 5487431"/>
              <a:gd name="connsiteY116" fmla="*/ 142174 h 505330"/>
              <a:gd name="connsiteX117" fmla="*/ 5280973 w 5487431"/>
              <a:gd name="connsiteY117" fmla="*/ 192547 h 505330"/>
              <a:gd name="connsiteX118" fmla="*/ 5276787 w 5487431"/>
              <a:gd name="connsiteY118" fmla="*/ 192547 h 505330"/>
              <a:gd name="connsiteX119" fmla="*/ 5276787 w 5487431"/>
              <a:gd name="connsiteY119" fmla="*/ 149048 h 505330"/>
              <a:gd name="connsiteX120" fmla="*/ 5194488 w 5487431"/>
              <a:gd name="connsiteY120" fmla="*/ 149048 h 505330"/>
              <a:gd name="connsiteX121" fmla="*/ 5194488 w 5487431"/>
              <a:gd name="connsiteY121" fmla="*/ 494221 h 505330"/>
              <a:gd name="connsiteX122" fmla="*/ 5276787 w 5487431"/>
              <a:gd name="connsiteY122" fmla="*/ 494221 h 505330"/>
              <a:gd name="connsiteX123" fmla="*/ 5276787 w 5487431"/>
              <a:gd name="connsiteY123" fmla="*/ 271261 h 505330"/>
              <a:gd name="connsiteX124" fmla="*/ 5345860 w 5487431"/>
              <a:gd name="connsiteY124" fmla="*/ 190476 h 505330"/>
              <a:gd name="connsiteX125" fmla="*/ 5405134 w 5487431"/>
              <a:gd name="connsiteY125" fmla="*/ 258173 h 505330"/>
              <a:gd name="connsiteX126" fmla="*/ 5405134 w 5487431"/>
              <a:gd name="connsiteY126" fmla="*/ 494221 h 505330"/>
              <a:gd name="connsiteX127" fmla="*/ 5487432 w 5487431"/>
              <a:gd name="connsiteY127" fmla="*/ 494221 h 505330"/>
              <a:gd name="connsiteX128" fmla="*/ 5487432 w 5487431"/>
              <a:gd name="connsiteY128" fmla="*/ 257420 h 505330"/>
              <a:gd name="connsiteX129" fmla="*/ 5377257 w 5487431"/>
              <a:gd name="connsiteY129" fmla="*/ 142174 h 505330"/>
              <a:gd name="connsiteX130" fmla="*/ 323674 w 5487431"/>
              <a:gd name="connsiteY130" fmla="*/ 11016 h 505330"/>
              <a:gd name="connsiteX131" fmla="*/ 237190 w 5487431"/>
              <a:gd name="connsiteY131" fmla="*/ 11016 h 505330"/>
              <a:gd name="connsiteX132" fmla="*/ 237190 w 5487431"/>
              <a:gd name="connsiteY132" fmla="*/ 367864 h 505330"/>
              <a:gd name="connsiteX133" fmla="*/ 161837 w 5487431"/>
              <a:gd name="connsiteY133" fmla="*/ 460325 h 505330"/>
              <a:gd name="connsiteX134" fmla="*/ 86484 w 5487431"/>
              <a:gd name="connsiteY134" fmla="*/ 360897 h 505330"/>
              <a:gd name="connsiteX135" fmla="*/ 86484 w 5487431"/>
              <a:gd name="connsiteY135" fmla="*/ 294612 h 505330"/>
              <a:gd name="connsiteX136" fmla="*/ 0 w 5487431"/>
              <a:gd name="connsiteY136" fmla="*/ 315985 h 505330"/>
              <a:gd name="connsiteX137" fmla="*/ 0 w 5487431"/>
              <a:gd name="connsiteY137" fmla="*/ 345644 h 505330"/>
              <a:gd name="connsiteX138" fmla="*/ 161837 w 5487431"/>
              <a:gd name="connsiteY138" fmla="*/ 505143 h 505330"/>
              <a:gd name="connsiteX139" fmla="*/ 323674 w 5487431"/>
              <a:gd name="connsiteY139" fmla="*/ 345644 h 505330"/>
              <a:gd name="connsiteX140" fmla="*/ 323674 w 5487431"/>
              <a:gd name="connsiteY140" fmla="*/ 11016 h 505330"/>
              <a:gd name="connsiteX141" fmla="*/ 844008 w 5487431"/>
              <a:gd name="connsiteY141" fmla="*/ 11016 h 505330"/>
              <a:gd name="connsiteX142" fmla="*/ 761710 w 5487431"/>
              <a:gd name="connsiteY142" fmla="*/ 11016 h 505330"/>
              <a:gd name="connsiteX143" fmla="*/ 761710 w 5487431"/>
              <a:gd name="connsiteY143" fmla="*/ 494221 h 505330"/>
              <a:gd name="connsiteX144" fmla="*/ 844008 w 5487431"/>
              <a:gd name="connsiteY144" fmla="*/ 494221 h 505330"/>
              <a:gd name="connsiteX145" fmla="*/ 844008 w 5487431"/>
              <a:gd name="connsiteY145" fmla="*/ 271261 h 505330"/>
              <a:gd name="connsiteX146" fmla="*/ 913081 w 5487431"/>
              <a:gd name="connsiteY146" fmla="*/ 190476 h 505330"/>
              <a:gd name="connsiteX147" fmla="*/ 972355 w 5487431"/>
              <a:gd name="connsiteY147" fmla="*/ 258173 h 505330"/>
              <a:gd name="connsiteX148" fmla="*/ 972355 w 5487431"/>
              <a:gd name="connsiteY148" fmla="*/ 494221 h 505330"/>
              <a:gd name="connsiteX149" fmla="*/ 1054653 w 5487431"/>
              <a:gd name="connsiteY149" fmla="*/ 494221 h 505330"/>
              <a:gd name="connsiteX150" fmla="*/ 1054653 w 5487431"/>
              <a:gd name="connsiteY150" fmla="*/ 257420 h 505330"/>
              <a:gd name="connsiteX151" fmla="*/ 944478 w 5487431"/>
              <a:gd name="connsiteY151" fmla="*/ 142174 h 505330"/>
              <a:gd name="connsiteX152" fmla="*/ 848194 w 5487431"/>
              <a:gd name="connsiteY152" fmla="*/ 192547 h 505330"/>
              <a:gd name="connsiteX153" fmla="*/ 844008 w 5487431"/>
              <a:gd name="connsiteY153" fmla="*/ 192547 h 505330"/>
              <a:gd name="connsiteX154" fmla="*/ 844008 w 5487431"/>
              <a:gd name="connsiteY154" fmla="*/ 11016 h 505330"/>
              <a:gd name="connsiteX155" fmla="*/ 3352342 w 5487431"/>
              <a:gd name="connsiteY155" fmla="*/ 11016 h 505330"/>
              <a:gd name="connsiteX156" fmla="*/ 3265857 w 5487431"/>
              <a:gd name="connsiteY156" fmla="*/ 11016 h 505330"/>
              <a:gd name="connsiteX157" fmla="*/ 3265857 w 5487431"/>
              <a:gd name="connsiteY157" fmla="*/ 367864 h 505330"/>
              <a:gd name="connsiteX158" fmla="*/ 3190504 w 5487431"/>
              <a:gd name="connsiteY158" fmla="*/ 460325 h 505330"/>
              <a:gd name="connsiteX159" fmla="*/ 3115152 w 5487431"/>
              <a:gd name="connsiteY159" fmla="*/ 360897 h 505330"/>
              <a:gd name="connsiteX160" fmla="*/ 3115152 w 5487431"/>
              <a:gd name="connsiteY160" fmla="*/ 294612 h 505330"/>
              <a:gd name="connsiteX161" fmla="*/ 3028667 w 5487431"/>
              <a:gd name="connsiteY161" fmla="*/ 315985 h 505330"/>
              <a:gd name="connsiteX162" fmla="*/ 3028667 w 5487431"/>
              <a:gd name="connsiteY162" fmla="*/ 345644 h 505330"/>
              <a:gd name="connsiteX163" fmla="*/ 3190504 w 5487431"/>
              <a:gd name="connsiteY163" fmla="*/ 505143 h 505330"/>
              <a:gd name="connsiteX164" fmla="*/ 3352342 w 5487431"/>
              <a:gd name="connsiteY164" fmla="*/ 345644 h 505330"/>
              <a:gd name="connsiteX165" fmla="*/ 3352342 w 5487431"/>
              <a:gd name="connsiteY165" fmla="*/ 11016 h 505330"/>
              <a:gd name="connsiteX166" fmla="*/ 3872675 w 5487431"/>
              <a:gd name="connsiteY166" fmla="*/ 11016 h 505330"/>
              <a:gd name="connsiteX167" fmla="*/ 3790377 w 5487431"/>
              <a:gd name="connsiteY167" fmla="*/ 11016 h 505330"/>
              <a:gd name="connsiteX168" fmla="*/ 3790377 w 5487431"/>
              <a:gd name="connsiteY168" fmla="*/ 494221 h 505330"/>
              <a:gd name="connsiteX169" fmla="*/ 3872675 w 5487431"/>
              <a:gd name="connsiteY169" fmla="*/ 494221 h 505330"/>
              <a:gd name="connsiteX170" fmla="*/ 3872675 w 5487431"/>
              <a:gd name="connsiteY170" fmla="*/ 271261 h 505330"/>
              <a:gd name="connsiteX171" fmla="*/ 3941749 w 5487431"/>
              <a:gd name="connsiteY171" fmla="*/ 190476 h 505330"/>
              <a:gd name="connsiteX172" fmla="*/ 4001022 w 5487431"/>
              <a:gd name="connsiteY172" fmla="*/ 258173 h 505330"/>
              <a:gd name="connsiteX173" fmla="*/ 4001022 w 5487431"/>
              <a:gd name="connsiteY173" fmla="*/ 494221 h 505330"/>
              <a:gd name="connsiteX174" fmla="*/ 4083320 w 5487431"/>
              <a:gd name="connsiteY174" fmla="*/ 494221 h 505330"/>
              <a:gd name="connsiteX175" fmla="*/ 4083320 w 5487431"/>
              <a:gd name="connsiteY175" fmla="*/ 257420 h 505330"/>
              <a:gd name="connsiteX176" fmla="*/ 3973146 w 5487431"/>
              <a:gd name="connsiteY176" fmla="*/ 142174 h 505330"/>
              <a:gd name="connsiteX177" fmla="*/ 3876861 w 5487431"/>
              <a:gd name="connsiteY177" fmla="*/ 192547 h 505330"/>
              <a:gd name="connsiteX178" fmla="*/ 3872675 w 5487431"/>
              <a:gd name="connsiteY178" fmla="*/ 192547 h 505330"/>
              <a:gd name="connsiteX179" fmla="*/ 3872675 w 5487431"/>
              <a:gd name="connsiteY179" fmla="*/ 11016 h 505330"/>
              <a:gd name="connsiteX180" fmla="*/ 2730110 w 5487431"/>
              <a:gd name="connsiteY180" fmla="*/ 454864 h 505330"/>
              <a:gd name="connsiteX181" fmla="*/ 2622029 w 5487431"/>
              <a:gd name="connsiteY181" fmla="*/ 343761 h 505330"/>
              <a:gd name="connsiteX182" fmla="*/ 2664557 w 5487431"/>
              <a:gd name="connsiteY182" fmla="*/ 256102 h 505330"/>
              <a:gd name="connsiteX183" fmla="*/ 2822208 w 5487431"/>
              <a:gd name="connsiteY183" fmla="*/ 426617 h 505330"/>
              <a:gd name="connsiteX184" fmla="*/ 2730110 w 5487431"/>
              <a:gd name="connsiteY184" fmla="*/ 454864 h 505330"/>
              <a:gd name="connsiteX185" fmla="*/ 2883575 w 5487431"/>
              <a:gd name="connsiteY185" fmla="*/ 369936 h 505330"/>
              <a:gd name="connsiteX186" fmla="*/ 2746856 w 5487431"/>
              <a:gd name="connsiteY186" fmla="*/ 220794 h 505330"/>
              <a:gd name="connsiteX187" fmla="*/ 2814502 w 5487431"/>
              <a:gd name="connsiteY187" fmla="*/ 207706 h 505330"/>
              <a:gd name="connsiteX188" fmla="*/ 2905838 w 5487431"/>
              <a:gd name="connsiteY188" fmla="*/ 296118 h 505330"/>
              <a:gd name="connsiteX189" fmla="*/ 2883575 w 5487431"/>
              <a:gd name="connsiteY189" fmla="*/ 369936 h 505330"/>
              <a:gd name="connsiteX190" fmla="*/ 2728017 w 5487431"/>
              <a:gd name="connsiteY190" fmla="*/ 200833 h 505330"/>
              <a:gd name="connsiteX191" fmla="*/ 2698047 w 5487431"/>
              <a:gd name="connsiteY191" fmla="*/ 167690 h 505330"/>
              <a:gd name="connsiteX192" fmla="*/ 2663891 w 5487431"/>
              <a:gd name="connsiteY192" fmla="*/ 99334 h 505330"/>
              <a:gd name="connsiteX193" fmla="*/ 2730110 w 5487431"/>
              <a:gd name="connsiteY193" fmla="*/ 36532 h 505330"/>
              <a:gd name="connsiteX194" fmla="*/ 2795664 w 5487431"/>
              <a:gd name="connsiteY194" fmla="*/ 102817 h 505330"/>
              <a:gd name="connsiteX195" fmla="*/ 2728017 w 5487431"/>
              <a:gd name="connsiteY195" fmla="*/ 200833 h 505330"/>
              <a:gd name="connsiteX196" fmla="*/ 2732204 w 5487431"/>
              <a:gd name="connsiteY196" fmla="*/ 0 h 505330"/>
              <a:gd name="connsiteX197" fmla="*/ 2588539 w 5487431"/>
              <a:gd name="connsiteY197" fmla="*/ 119389 h 505330"/>
              <a:gd name="connsiteX198" fmla="*/ 2644387 w 5487431"/>
              <a:gd name="connsiteY198" fmla="*/ 234635 h 505330"/>
              <a:gd name="connsiteX199" fmla="*/ 2645053 w 5487431"/>
              <a:gd name="connsiteY199" fmla="*/ 236047 h 505330"/>
              <a:gd name="connsiteX200" fmla="*/ 2545344 w 5487431"/>
              <a:gd name="connsiteY200" fmla="*/ 374832 h 505330"/>
              <a:gd name="connsiteX201" fmla="*/ 2685584 w 5487431"/>
              <a:gd name="connsiteY201" fmla="*/ 505331 h 505330"/>
              <a:gd name="connsiteX202" fmla="*/ 2843235 w 5487431"/>
              <a:gd name="connsiteY202" fmla="*/ 449403 h 505330"/>
              <a:gd name="connsiteX203" fmla="*/ 2885097 w 5487431"/>
              <a:gd name="connsiteY203" fmla="*/ 494315 h 505330"/>
              <a:gd name="connsiteX204" fmla="*/ 2994606 w 5487431"/>
              <a:gd name="connsiteY204" fmla="*/ 494315 h 505330"/>
              <a:gd name="connsiteX205" fmla="*/ 2994606 w 5487431"/>
              <a:gd name="connsiteY205" fmla="*/ 490831 h 505330"/>
              <a:gd name="connsiteX206" fmla="*/ 2905363 w 5487431"/>
              <a:gd name="connsiteY206" fmla="*/ 393474 h 505330"/>
              <a:gd name="connsiteX207" fmla="*/ 2964637 w 5487431"/>
              <a:gd name="connsiteY207" fmla="*/ 258833 h 505330"/>
              <a:gd name="connsiteX208" fmla="*/ 2873300 w 5487431"/>
              <a:gd name="connsiteY208" fmla="*/ 171174 h 505330"/>
              <a:gd name="connsiteX209" fmla="*/ 2789574 w 5487431"/>
              <a:gd name="connsiteY209" fmla="*/ 187745 h 505330"/>
              <a:gd name="connsiteX210" fmla="*/ 2788147 w 5487431"/>
              <a:gd name="connsiteY210" fmla="*/ 185015 h 505330"/>
              <a:gd name="connsiteX211" fmla="*/ 2863500 w 5487431"/>
              <a:gd name="connsiteY211" fmla="*/ 93873 h 505330"/>
              <a:gd name="connsiteX212" fmla="*/ 2732204 w 5487431"/>
              <a:gd name="connsiteY212" fmla="*/ 0 h 50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5487431" h="505330">
                <a:moveTo>
                  <a:pt x="542692" y="463149"/>
                </a:moveTo>
                <a:cubicBezTo>
                  <a:pt x="488937" y="463149"/>
                  <a:pt x="458967" y="412776"/>
                  <a:pt x="458967" y="321634"/>
                </a:cubicBezTo>
                <a:cubicBezTo>
                  <a:pt x="458967" y="229080"/>
                  <a:pt x="488937" y="180119"/>
                  <a:pt x="542692" y="180119"/>
                </a:cubicBezTo>
                <a:cubicBezTo>
                  <a:pt x="596448" y="180119"/>
                  <a:pt x="626417" y="229833"/>
                  <a:pt x="626417" y="321634"/>
                </a:cubicBezTo>
                <a:cubicBezTo>
                  <a:pt x="626322" y="414189"/>
                  <a:pt x="596352" y="463149"/>
                  <a:pt x="542692" y="463149"/>
                </a:cubicBezTo>
                <a:moveTo>
                  <a:pt x="542692" y="142174"/>
                </a:moveTo>
                <a:cubicBezTo>
                  <a:pt x="433183" y="142174"/>
                  <a:pt x="372482" y="222959"/>
                  <a:pt x="372482" y="321634"/>
                </a:cubicBezTo>
                <a:cubicBezTo>
                  <a:pt x="372482" y="420309"/>
                  <a:pt x="433183" y="501094"/>
                  <a:pt x="542692" y="501094"/>
                </a:cubicBezTo>
                <a:cubicBezTo>
                  <a:pt x="652201" y="501094"/>
                  <a:pt x="712902" y="420309"/>
                  <a:pt x="712902" y="321634"/>
                </a:cubicBezTo>
                <a:cubicBezTo>
                  <a:pt x="712902" y="222959"/>
                  <a:pt x="652201" y="142174"/>
                  <a:pt x="542692" y="142174"/>
                </a:cubicBezTo>
                <a:moveTo>
                  <a:pt x="1303641" y="142174"/>
                </a:moveTo>
                <a:cubicBezTo>
                  <a:pt x="1251979" y="142174"/>
                  <a:pt x="1223436" y="164301"/>
                  <a:pt x="1207357" y="192547"/>
                </a:cubicBezTo>
                <a:lnTo>
                  <a:pt x="1203170" y="192547"/>
                </a:lnTo>
                <a:lnTo>
                  <a:pt x="1203170" y="149048"/>
                </a:lnTo>
                <a:lnTo>
                  <a:pt x="1120872" y="149048"/>
                </a:lnTo>
                <a:lnTo>
                  <a:pt x="1120872" y="494221"/>
                </a:lnTo>
                <a:lnTo>
                  <a:pt x="1203170" y="494221"/>
                </a:lnTo>
                <a:lnTo>
                  <a:pt x="1203170" y="271261"/>
                </a:lnTo>
                <a:cubicBezTo>
                  <a:pt x="1203170" y="220229"/>
                  <a:pt x="1229715" y="190476"/>
                  <a:pt x="1272244" y="190476"/>
                </a:cubicBezTo>
                <a:cubicBezTo>
                  <a:pt x="1313440" y="190476"/>
                  <a:pt x="1331518" y="217404"/>
                  <a:pt x="1331518" y="258173"/>
                </a:cubicBezTo>
                <a:lnTo>
                  <a:pt x="1331518" y="494221"/>
                </a:lnTo>
                <a:lnTo>
                  <a:pt x="1413816" y="494221"/>
                </a:lnTo>
                <a:lnTo>
                  <a:pt x="1413816" y="257420"/>
                </a:lnTo>
                <a:cubicBezTo>
                  <a:pt x="1413911" y="186333"/>
                  <a:pt x="1376234" y="142174"/>
                  <a:pt x="1303641" y="142174"/>
                </a:cubicBezTo>
                <a:moveTo>
                  <a:pt x="1600771" y="142174"/>
                </a:moveTo>
                <a:cubicBezTo>
                  <a:pt x="1524752" y="142174"/>
                  <a:pt x="1467571" y="173905"/>
                  <a:pt x="1467571" y="241602"/>
                </a:cubicBezTo>
                <a:cubicBezTo>
                  <a:pt x="1467571" y="298943"/>
                  <a:pt x="1507341" y="330014"/>
                  <a:pt x="1551962" y="341030"/>
                </a:cubicBezTo>
                <a:lnTo>
                  <a:pt x="1621702" y="358260"/>
                </a:lnTo>
                <a:cubicBezTo>
                  <a:pt x="1658712" y="367205"/>
                  <a:pt x="1675457" y="380387"/>
                  <a:pt x="1675457" y="409387"/>
                </a:cubicBezTo>
                <a:cubicBezTo>
                  <a:pt x="1675457" y="444601"/>
                  <a:pt x="1650340" y="464656"/>
                  <a:pt x="1606384" y="464656"/>
                </a:cubicBezTo>
                <a:cubicBezTo>
                  <a:pt x="1558908" y="464656"/>
                  <a:pt x="1534551" y="441870"/>
                  <a:pt x="1526845" y="384624"/>
                </a:cubicBezTo>
                <a:lnTo>
                  <a:pt x="1452919" y="405338"/>
                </a:lnTo>
                <a:cubicBezTo>
                  <a:pt x="1457106" y="464750"/>
                  <a:pt x="1512954" y="501282"/>
                  <a:pt x="1597345" y="501282"/>
                </a:cubicBezTo>
                <a:cubicBezTo>
                  <a:pt x="1691536" y="501282"/>
                  <a:pt x="1742438" y="457782"/>
                  <a:pt x="1742438" y="388767"/>
                </a:cubicBezTo>
                <a:cubicBezTo>
                  <a:pt x="1742438" y="323894"/>
                  <a:pt x="1697055" y="296965"/>
                  <a:pt x="1649674" y="285196"/>
                </a:cubicBezTo>
                <a:lnTo>
                  <a:pt x="1582693" y="268625"/>
                </a:lnTo>
                <a:cubicBezTo>
                  <a:pt x="1549203" y="260339"/>
                  <a:pt x="1534551" y="245180"/>
                  <a:pt x="1534551" y="223054"/>
                </a:cubicBezTo>
                <a:cubicBezTo>
                  <a:pt x="1534551" y="195466"/>
                  <a:pt x="1558242" y="178895"/>
                  <a:pt x="1593825" y="178895"/>
                </a:cubicBezTo>
                <a:cubicBezTo>
                  <a:pt x="1635688" y="178895"/>
                  <a:pt x="1661471" y="201680"/>
                  <a:pt x="1664992" y="245180"/>
                </a:cubicBezTo>
                <a:lnTo>
                  <a:pt x="1734731" y="224466"/>
                </a:lnTo>
                <a:cubicBezTo>
                  <a:pt x="1726358" y="175976"/>
                  <a:pt x="1678216" y="142174"/>
                  <a:pt x="1600771" y="142174"/>
                </a:cubicBezTo>
                <a:moveTo>
                  <a:pt x="1946803" y="463149"/>
                </a:moveTo>
                <a:cubicBezTo>
                  <a:pt x="1893048" y="463149"/>
                  <a:pt x="1863078" y="412776"/>
                  <a:pt x="1863078" y="321634"/>
                </a:cubicBezTo>
                <a:cubicBezTo>
                  <a:pt x="1863078" y="229080"/>
                  <a:pt x="1893048" y="180119"/>
                  <a:pt x="1946803" y="180119"/>
                </a:cubicBezTo>
                <a:cubicBezTo>
                  <a:pt x="2000559" y="180119"/>
                  <a:pt x="2030529" y="229833"/>
                  <a:pt x="2030529" y="321634"/>
                </a:cubicBezTo>
                <a:cubicBezTo>
                  <a:pt x="2030529" y="414189"/>
                  <a:pt x="2000464" y="463149"/>
                  <a:pt x="1946803" y="463149"/>
                </a:cubicBezTo>
                <a:moveTo>
                  <a:pt x="1946803" y="142174"/>
                </a:moveTo>
                <a:cubicBezTo>
                  <a:pt x="1837294" y="142174"/>
                  <a:pt x="1776594" y="222959"/>
                  <a:pt x="1776594" y="321634"/>
                </a:cubicBezTo>
                <a:cubicBezTo>
                  <a:pt x="1776594" y="420309"/>
                  <a:pt x="1837294" y="501094"/>
                  <a:pt x="1946803" y="501094"/>
                </a:cubicBezTo>
                <a:cubicBezTo>
                  <a:pt x="2056312" y="501094"/>
                  <a:pt x="2117013" y="420309"/>
                  <a:pt x="2117013" y="321634"/>
                </a:cubicBezTo>
                <a:cubicBezTo>
                  <a:pt x="2117013" y="222959"/>
                  <a:pt x="2056312" y="142174"/>
                  <a:pt x="1946803" y="142174"/>
                </a:cubicBezTo>
                <a:moveTo>
                  <a:pt x="2348590" y="142174"/>
                </a:moveTo>
                <a:cubicBezTo>
                  <a:pt x="2296927" y="142174"/>
                  <a:pt x="2268385" y="164301"/>
                  <a:pt x="2252306" y="192547"/>
                </a:cubicBezTo>
                <a:lnTo>
                  <a:pt x="2248119" y="192547"/>
                </a:lnTo>
                <a:lnTo>
                  <a:pt x="2248119" y="149048"/>
                </a:lnTo>
                <a:lnTo>
                  <a:pt x="2165821" y="149048"/>
                </a:lnTo>
                <a:lnTo>
                  <a:pt x="2165821" y="494221"/>
                </a:lnTo>
                <a:lnTo>
                  <a:pt x="2248119" y="494221"/>
                </a:lnTo>
                <a:lnTo>
                  <a:pt x="2248119" y="271261"/>
                </a:lnTo>
                <a:cubicBezTo>
                  <a:pt x="2248119" y="220229"/>
                  <a:pt x="2274664" y="190476"/>
                  <a:pt x="2317193" y="190476"/>
                </a:cubicBezTo>
                <a:cubicBezTo>
                  <a:pt x="2358389" y="190476"/>
                  <a:pt x="2376466" y="217404"/>
                  <a:pt x="2376466" y="258173"/>
                </a:cubicBezTo>
                <a:lnTo>
                  <a:pt x="2376466" y="494221"/>
                </a:lnTo>
                <a:lnTo>
                  <a:pt x="2458764" y="494221"/>
                </a:lnTo>
                <a:lnTo>
                  <a:pt x="2458764" y="257420"/>
                </a:lnTo>
                <a:cubicBezTo>
                  <a:pt x="2458764" y="186333"/>
                  <a:pt x="2421088" y="142174"/>
                  <a:pt x="2348590" y="142174"/>
                </a:cubicBezTo>
                <a:moveTo>
                  <a:pt x="3571359" y="463149"/>
                </a:moveTo>
                <a:cubicBezTo>
                  <a:pt x="3517604" y="463149"/>
                  <a:pt x="3487634" y="412776"/>
                  <a:pt x="3487634" y="321634"/>
                </a:cubicBezTo>
                <a:cubicBezTo>
                  <a:pt x="3487634" y="229080"/>
                  <a:pt x="3517604" y="180119"/>
                  <a:pt x="3571359" y="180119"/>
                </a:cubicBezTo>
                <a:cubicBezTo>
                  <a:pt x="3625115" y="180119"/>
                  <a:pt x="3655085" y="229833"/>
                  <a:pt x="3655085" y="321634"/>
                </a:cubicBezTo>
                <a:cubicBezTo>
                  <a:pt x="3655085" y="414189"/>
                  <a:pt x="3625020" y="463149"/>
                  <a:pt x="3571359" y="463149"/>
                </a:cubicBezTo>
                <a:moveTo>
                  <a:pt x="3571359" y="142174"/>
                </a:moveTo>
                <a:cubicBezTo>
                  <a:pt x="3461850" y="142174"/>
                  <a:pt x="3401150" y="222959"/>
                  <a:pt x="3401150" y="321634"/>
                </a:cubicBezTo>
                <a:cubicBezTo>
                  <a:pt x="3401150" y="420309"/>
                  <a:pt x="3461850" y="501094"/>
                  <a:pt x="3571359" y="501094"/>
                </a:cubicBezTo>
                <a:cubicBezTo>
                  <a:pt x="3680868" y="501094"/>
                  <a:pt x="3741569" y="420309"/>
                  <a:pt x="3741569" y="321634"/>
                </a:cubicBezTo>
                <a:cubicBezTo>
                  <a:pt x="3741569" y="222959"/>
                  <a:pt x="3680868" y="142174"/>
                  <a:pt x="3571359" y="142174"/>
                </a:cubicBezTo>
                <a:moveTo>
                  <a:pt x="4332308" y="142174"/>
                </a:moveTo>
                <a:cubicBezTo>
                  <a:pt x="4280646" y="142174"/>
                  <a:pt x="4252103" y="164301"/>
                  <a:pt x="4236024" y="192547"/>
                </a:cubicBezTo>
                <a:lnTo>
                  <a:pt x="4231838" y="192547"/>
                </a:lnTo>
                <a:lnTo>
                  <a:pt x="4231838" y="149048"/>
                </a:lnTo>
                <a:lnTo>
                  <a:pt x="4149539" y="149048"/>
                </a:lnTo>
                <a:lnTo>
                  <a:pt x="4149539" y="494221"/>
                </a:lnTo>
                <a:lnTo>
                  <a:pt x="4231838" y="494221"/>
                </a:lnTo>
                <a:lnTo>
                  <a:pt x="4231838" y="271261"/>
                </a:lnTo>
                <a:cubicBezTo>
                  <a:pt x="4231838" y="220229"/>
                  <a:pt x="4258383" y="190476"/>
                  <a:pt x="4300911" y="190476"/>
                </a:cubicBezTo>
                <a:cubicBezTo>
                  <a:pt x="4342108" y="190476"/>
                  <a:pt x="4360185" y="217404"/>
                  <a:pt x="4360185" y="258173"/>
                </a:cubicBezTo>
                <a:lnTo>
                  <a:pt x="4360185" y="494221"/>
                </a:lnTo>
                <a:lnTo>
                  <a:pt x="4442483" y="494221"/>
                </a:lnTo>
                <a:lnTo>
                  <a:pt x="4442483" y="257420"/>
                </a:lnTo>
                <a:cubicBezTo>
                  <a:pt x="4442578" y="186333"/>
                  <a:pt x="4404902" y="142174"/>
                  <a:pt x="4332308" y="142174"/>
                </a:cubicBezTo>
                <a:moveTo>
                  <a:pt x="4629533" y="142174"/>
                </a:moveTo>
                <a:cubicBezTo>
                  <a:pt x="4553514" y="142174"/>
                  <a:pt x="4496334" y="173905"/>
                  <a:pt x="4496334" y="241602"/>
                </a:cubicBezTo>
                <a:cubicBezTo>
                  <a:pt x="4496334" y="298943"/>
                  <a:pt x="4536103" y="330014"/>
                  <a:pt x="4580725" y="341030"/>
                </a:cubicBezTo>
                <a:lnTo>
                  <a:pt x="4650464" y="358260"/>
                </a:lnTo>
                <a:cubicBezTo>
                  <a:pt x="4687475" y="367205"/>
                  <a:pt x="4704220" y="380387"/>
                  <a:pt x="4704220" y="409387"/>
                </a:cubicBezTo>
                <a:cubicBezTo>
                  <a:pt x="4704220" y="444601"/>
                  <a:pt x="4679102" y="464656"/>
                  <a:pt x="4635146" y="464656"/>
                </a:cubicBezTo>
                <a:cubicBezTo>
                  <a:pt x="4587670" y="464656"/>
                  <a:pt x="4563314" y="441870"/>
                  <a:pt x="4555607" y="384624"/>
                </a:cubicBezTo>
                <a:lnTo>
                  <a:pt x="4481682" y="405338"/>
                </a:lnTo>
                <a:cubicBezTo>
                  <a:pt x="4485868" y="464750"/>
                  <a:pt x="4541716" y="501282"/>
                  <a:pt x="4626108" y="501282"/>
                </a:cubicBezTo>
                <a:cubicBezTo>
                  <a:pt x="4720299" y="501282"/>
                  <a:pt x="4771200" y="457782"/>
                  <a:pt x="4771200" y="388767"/>
                </a:cubicBezTo>
                <a:cubicBezTo>
                  <a:pt x="4771200" y="323894"/>
                  <a:pt x="4725817" y="296965"/>
                  <a:pt x="4678436" y="285196"/>
                </a:cubicBezTo>
                <a:lnTo>
                  <a:pt x="4611456" y="268625"/>
                </a:lnTo>
                <a:cubicBezTo>
                  <a:pt x="4577966" y="260339"/>
                  <a:pt x="4563314" y="245180"/>
                  <a:pt x="4563314" y="223054"/>
                </a:cubicBezTo>
                <a:cubicBezTo>
                  <a:pt x="4563314" y="195466"/>
                  <a:pt x="4587004" y="178895"/>
                  <a:pt x="4622588" y="178895"/>
                </a:cubicBezTo>
                <a:cubicBezTo>
                  <a:pt x="4664450" y="178895"/>
                  <a:pt x="4690234" y="201680"/>
                  <a:pt x="4693754" y="245180"/>
                </a:cubicBezTo>
                <a:lnTo>
                  <a:pt x="4763493" y="224466"/>
                </a:lnTo>
                <a:cubicBezTo>
                  <a:pt x="4755026" y="175976"/>
                  <a:pt x="4706884" y="142174"/>
                  <a:pt x="4629533" y="142174"/>
                </a:cubicBezTo>
                <a:moveTo>
                  <a:pt x="4975471" y="463149"/>
                </a:moveTo>
                <a:cubicBezTo>
                  <a:pt x="4921715" y="463149"/>
                  <a:pt x="4891745" y="412776"/>
                  <a:pt x="4891745" y="321634"/>
                </a:cubicBezTo>
                <a:cubicBezTo>
                  <a:pt x="4891745" y="229080"/>
                  <a:pt x="4921715" y="180119"/>
                  <a:pt x="4975471" y="180119"/>
                </a:cubicBezTo>
                <a:cubicBezTo>
                  <a:pt x="5029226" y="180119"/>
                  <a:pt x="5059196" y="229833"/>
                  <a:pt x="5059196" y="321634"/>
                </a:cubicBezTo>
                <a:cubicBezTo>
                  <a:pt x="5059196" y="414189"/>
                  <a:pt x="5029131" y="463149"/>
                  <a:pt x="4975471" y="463149"/>
                </a:cubicBezTo>
                <a:moveTo>
                  <a:pt x="4975471" y="142174"/>
                </a:moveTo>
                <a:cubicBezTo>
                  <a:pt x="4865962" y="142174"/>
                  <a:pt x="4805261" y="222959"/>
                  <a:pt x="4805261" y="321634"/>
                </a:cubicBezTo>
                <a:cubicBezTo>
                  <a:pt x="4805261" y="420309"/>
                  <a:pt x="4865962" y="501094"/>
                  <a:pt x="4975471" y="501094"/>
                </a:cubicBezTo>
                <a:cubicBezTo>
                  <a:pt x="5084980" y="501094"/>
                  <a:pt x="5145680" y="420309"/>
                  <a:pt x="5145680" y="321634"/>
                </a:cubicBezTo>
                <a:cubicBezTo>
                  <a:pt x="5145680" y="222959"/>
                  <a:pt x="5084980" y="142174"/>
                  <a:pt x="4975471" y="142174"/>
                </a:cubicBezTo>
                <a:moveTo>
                  <a:pt x="5377257" y="142174"/>
                </a:moveTo>
                <a:cubicBezTo>
                  <a:pt x="5325595" y="142174"/>
                  <a:pt x="5297052" y="164301"/>
                  <a:pt x="5280973" y="192547"/>
                </a:cubicBezTo>
                <a:lnTo>
                  <a:pt x="5276787" y="192547"/>
                </a:lnTo>
                <a:lnTo>
                  <a:pt x="5276787" y="149048"/>
                </a:lnTo>
                <a:lnTo>
                  <a:pt x="5194488" y="149048"/>
                </a:lnTo>
                <a:lnTo>
                  <a:pt x="5194488" y="494221"/>
                </a:lnTo>
                <a:lnTo>
                  <a:pt x="5276787" y="494221"/>
                </a:lnTo>
                <a:lnTo>
                  <a:pt x="5276787" y="271261"/>
                </a:lnTo>
                <a:cubicBezTo>
                  <a:pt x="5276787" y="220229"/>
                  <a:pt x="5303331" y="190476"/>
                  <a:pt x="5345860" y="190476"/>
                </a:cubicBezTo>
                <a:cubicBezTo>
                  <a:pt x="5387057" y="190476"/>
                  <a:pt x="5405134" y="217404"/>
                  <a:pt x="5405134" y="258173"/>
                </a:cubicBezTo>
                <a:lnTo>
                  <a:pt x="5405134" y="494221"/>
                </a:lnTo>
                <a:lnTo>
                  <a:pt x="5487432" y="494221"/>
                </a:lnTo>
                <a:lnTo>
                  <a:pt x="5487432" y="257420"/>
                </a:lnTo>
                <a:cubicBezTo>
                  <a:pt x="5487432" y="186333"/>
                  <a:pt x="5449755" y="142174"/>
                  <a:pt x="5377257" y="142174"/>
                </a:cubicBezTo>
                <a:moveTo>
                  <a:pt x="323674" y="11016"/>
                </a:moveTo>
                <a:lnTo>
                  <a:pt x="237190" y="11016"/>
                </a:lnTo>
                <a:lnTo>
                  <a:pt x="237190" y="367864"/>
                </a:lnTo>
                <a:cubicBezTo>
                  <a:pt x="237190" y="425864"/>
                  <a:pt x="214831" y="460325"/>
                  <a:pt x="161837" y="460325"/>
                </a:cubicBezTo>
                <a:cubicBezTo>
                  <a:pt x="109509" y="460325"/>
                  <a:pt x="86484" y="423698"/>
                  <a:pt x="86484" y="360897"/>
                </a:cubicBezTo>
                <a:lnTo>
                  <a:pt x="86484" y="294612"/>
                </a:lnTo>
                <a:lnTo>
                  <a:pt x="0" y="315985"/>
                </a:lnTo>
                <a:lnTo>
                  <a:pt x="0" y="345644"/>
                </a:lnTo>
                <a:cubicBezTo>
                  <a:pt x="0" y="436033"/>
                  <a:pt x="45383" y="505143"/>
                  <a:pt x="161837" y="505143"/>
                </a:cubicBezTo>
                <a:cubicBezTo>
                  <a:pt x="278291" y="505143"/>
                  <a:pt x="323674" y="436127"/>
                  <a:pt x="323674" y="345644"/>
                </a:cubicBezTo>
                <a:lnTo>
                  <a:pt x="323674" y="11016"/>
                </a:lnTo>
                <a:moveTo>
                  <a:pt x="844008" y="11016"/>
                </a:moveTo>
                <a:lnTo>
                  <a:pt x="761710" y="11016"/>
                </a:lnTo>
                <a:lnTo>
                  <a:pt x="761710" y="494221"/>
                </a:lnTo>
                <a:lnTo>
                  <a:pt x="844008" y="494221"/>
                </a:lnTo>
                <a:lnTo>
                  <a:pt x="844008" y="271261"/>
                </a:lnTo>
                <a:cubicBezTo>
                  <a:pt x="844008" y="220229"/>
                  <a:pt x="870553" y="190476"/>
                  <a:pt x="913081" y="190476"/>
                </a:cubicBezTo>
                <a:cubicBezTo>
                  <a:pt x="954278" y="190476"/>
                  <a:pt x="972355" y="217404"/>
                  <a:pt x="972355" y="258173"/>
                </a:cubicBezTo>
                <a:lnTo>
                  <a:pt x="972355" y="494221"/>
                </a:lnTo>
                <a:lnTo>
                  <a:pt x="1054653" y="494221"/>
                </a:lnTo>
                <a:lnTo>
                  <a:pt x="1054653" y="257420"/>
                </a:lnTo>
                <a:cubicBezTo>
                  <a:pt x="1054653" y="186333"/>
                  <a:pt x="1016977" y="142174"/>
                  <a:pt x="944478" y="142174"/>
                </a:cubicBezTo>
                <a:cubicBezTo>
                  <a:pt x="892816" y="142174"/>
                  <a:pt x="864273" y="164301"/>
                  <a:pt x="848194" y="192547"/>
                </a:cubicBezTo>
                <a:lnTo>
                  <a:pt x="844008" y="192547"/>
                </a:lnTo>
                <a:lnTo>
                  <a:pt x="844008" y="11016"/>
                </a:lnTo>
                <a:moveTo>
                  <a:pt x="3352342" y="11016"/>
                </a:moveTo>
                <a:lnTo>
                  <a:pt x="3265857" y="11016"/>
                </a:lnTo>
                <a:lnTo>
                  <a:pt x="3265857" y="367864"/>
                </a:lnTo>
                <a:cubicBezTo>
                  <a:pt x="3265857" y="425864"/>
                  <a:pt x="3243499" y="460325"/>
                  <a:pt x="3190504" y="460325"/>
                </a:cubicBezTo>
                <a:cubicBezTo>
                  <a:pt x="3138176" y="460325"/>
                  <a:pt x="3115152" y="423698"/>
                  <a:pt x="3115152" y="360897"/>
                </a:cubicBezTo>
                <a:lnTo>
                  <a:pt x="3115152" y="294612"/>
                </a:lnTo>
                <a:lnTo>
                  <a:pt x="3028667" y="315985"/>
                </a:lnTo>
                <a:lnTo>
                  <a:pt x="3028667" y="345644"/>
                </a:lnTo>
                <a:cubicBezTo>
                  <a:pt x="3028667" y="436033"/>
                  <a:pt x="3074050" y="505143"/>
                  <a:pt x="3190504" y="505143"/>
                </a:cubicBezTo>
                <a:cubicBezTo>
                  <a:pt x="3306959" y="505143"/>
                  <a:pt x="3352342" y="436127"/>
                  <a:pt x="3352342" y="345644"/>
                </a:cubicBezTo>
                <a:lnTo>
                  <a:pt x="3352342" y="11016"/>
                </a:lnTo>
                <a:moveTo>
                  <a:pt x="3872675" y="11016"/>
                </a:moveTo>
                <a:lnTo>
                  <a:pt x="3790377" y="11016"/>
                </a:lnTo>
                <a:lnTo>
                  <a:pt x="3790377" y="494221"/>
                </a:lnTo>
                <a:lnTo>
                  <a:pt x="3872675" y="494221"/>
                </a:lnTo>
                <a:lnTo>
                  <a:pt x="3872675" y="271261"/>
                </a:lnTo>
                <a:cubicBezTo>
                  <a:pt x="3872675" y="220229"/>
                  <a:pt x="3899220" y="190476"/>
                  <a:pt x="3941749" y="190476"/>
                </a:cubicBezTo>
                <a:cubicBezTo>
                  <a:pt x="3982945" y="190476"/>
                  <a:pt x="4001022" y="217404"/>
                  <a:pt x="4001022" y="258173"/>
                </a:cubicBezTo>
                <a:lnTo>
                  <a:pt x="4001022" y="494221"/>
                </a:lnTo>
                <a:lnTo>
                  <a:pt x="4083320" y="494221"/>
                </a:lnTo>
                <a:lnTo>
                  <a:pt x="4083320" y="257420"/>
                </a:lnTo>
                <a:cubicBezTo>
                  <a:pt x="4083320" y="186333"/>
                  <a:pt x="4045644" y="142174"/>
                  <a:pt x="3973146" y="142174"/>
                </a:cubicBezTo>
                <a:cubicBezTo>
                  <a:pt x="3921483" y="142174"/>
                  <a:pt x="3892941" y="164301"/>
                  <a:pt x="3876861" y="192547"/>
                </a:cubicBezTo>
                <a:lnTo>
                  <a:pt x="3872675" y="192547"/>
                </a:lnTo>
                <a:lnTo>
                  <a:pt x="3872675" y="11016"/>
                </a:lnTo>
                <a:moveTo>
                  <a:pt x="2730110" y="454864"/>
                </a:moveTo>
                <a:cubicBezTo>
                  <a:pt x="2663130" y="454864"/>
                  <a:pt x="2622029" y="401007"/>
                  <a:pt x="2622029" y="343761"/>
                </a:cubicBezTo>
                <a:cubicBezTo>
                  <a:pt x="2622029" y="307887"/>
                  <a:pt x="2638108" y="274745"/>
                  <a:pt x="2664557" y="256102"/>
                </a:cubicBezTo>
                <a:lnTo>
                  <a:pt x="2822208" y="426617"/>
                </a:lnTo>
                <a:cubicBezTo>
                  <a:pt x="2792904" y="443848"/>
                  <a:pt x="2760080" y="454864"/>
                  <a:pt x="2730110" y="454864"/>
                </a:cubicBezTo>
                <a:moveTo>
                  <a:pt x="2883575" y="369936"/>
                </a:moveTo>
                <a:lnTo>
                  <a:pt x="2746856" y="220794"/>
                </a:lnTo>
                <a:cubicBezTo>
                  <a:pt x="2771307" y="211096"/>
                  <a:pt x="2794998" y="207706"/>
                  <a:pt x="2814502" y="207706"/>
                </a:cubicBezTo>
                <a:cubicBezTo>
                  <a:pt x="2871016" y="207706"/>
                  <a:pt x="2905838" y="240190"/>
                  <a:pt x="2905838" y="296118"/>
                </a:cubicBezTo>
                <a:cubicBezTo>
                  <a:pt x="2905934" y="320975"/>
                  <a:pt x="2898893" y="346491"/>
                  <a:pt x="2883575" y="369936"/>
                </a:cubicBezTo>
                <a:moveTo>
                  <a:pt x="2728017" y="200833"/>
                </a:moveTo>
                <a:lnTo>
                  <a:pt x="2698047" y="167690"/>
                </a:lnTo>
                <a:cubicBezTo>
                  <a:pt x="2671503" y="138691"/>
                  <a:pt x="2663891" y="120707"/>
                  <a:pt x="2663891" y="99334"/>
                </a:cubicBezTo>
                <a:cubicBezTo>
                  <a:pt x="2663891" y="59318"/>
                  <a:pt x="2689675" y="36532"/>
                  <a:pt x="2730110" y="36532"/>
                </a:cubicBezTo>
                <a:cubicBezTo>
                  <a:pt x="2771307" y="36532"/>
                  <a:pt x="2795664" y="59977"/>
                  <a:pt x="2795664" y="102817"/>
                </a:cubicBezTo>
                <a:cubicBezTo>
                  <a:pt x="2795664" y="142174"/>
                  <a:pt x="2776159" y="179460"/>
                  <a:pt x="2728017" y="200833"/>
                </a:cubicBezTo>
                <a:moveTo>
                  <a:pt x="2732204" y="0"/>
                </a:moveTo>
                <a:cubicBezTo>
                  <a:pt x="2635920" y="0"/>
                  <a:pt x="2588539" y="53198"/>
                  <a:pt x="2588539" y="119389"/>
                </a:cubicBezTo>
                <a:cubicBezTo>
                  <a:pt x="2588539" y="155262"/>
                  <a:pt x="2603857" y="191229"/>
                  <a:pt x="2644387" y="234635"/>
                </a:cubicBezTo>
                <a:lnTo>
                  <a:pt x="2645053" y="236047"/>
                </a:lnTo>
                <a:cubicBezTo>
                  <a:pt x="2576741" y="268531"/>
                  <a:pt x="2545344" y="320975"/>
                  <a:pt x="2545344" y="374832"/>
                </a:cubicBezTo>
                <a:cubicBezTo>
                  <a:pt x="2545344" y="445919"/>
                  <a:pt x="2600432" y="505331"/>
                  <a:pt x="2685584" y="505331"/>
                </a:cubicBezTo>
                <a:cubicBezTo>
                  <a:pt x="2734392" y="505331"/>
                  <a:pt x="2791573" y="485276"/>
                  <a:pt x="2843235" y="449403"/>
                </a:cubicBezTo>
                <a:lnTo>
                  <a:pt x="2885097" y="494315"/>
                </a:lnTo>
                <a:lnTo>
                  <a:pt x="2994606" y="494315"/>
                </a:lnTo>
                <a:lnTo>
                  <a:pt x="2994606" y="490831"/>
                </a:lnTo>
                <a:lnTo>
                  <a:pt x="2905363" y="393474"/>
                </a:lnTo>
                <a:cubicBezTo>
                  <a:pt x="2943039" y="349316"/>
                  <a:pt x="2964637" y="301014"/>
                  <a:pt x="2964637" y="258833"/>
                </a:cubicBezTo>
                <a:cubicBezTo>
                  <a:pt x="2964637" y="206388"/>
                  <a:pt x="2929053" y="171174"/>
                  <a:pt x="2873300" y="171174"/>
                </a:cubicBezTo>
                <a:cubicBezTo>
                  <a:pt x="2843996" y="171174"/>
                  <a:pt x="2811172" y="179460"/>
                  <a:pt x="2789574" y="187745"/>
                </a:cubicBezTo>
                <a:lnTo>
                  <a:pt x="2788147" y="185015"/>
                </a:lnTo>
                <a:cubicBezTo>
                  <a:pt x="2841142" y="156674"/>
                  <a:pt x="2863500" y="130499"/>
                  <a:pt x="2863500" y="93873"/>
                </a:cubicBezTo>
                <a:cubicBezTo>
                  <a:pt x="2863310" y="41428"/>
                  <a:pt x="2815929" y="0"/>
                  <a:pt x="2732204" y="0"/>
                </a:cubicBezTo>
              </a:path>
            </a:pathLst>
          </a:custGeom>
          <a:solidFill>
            <a:schemeClr val="accent1"/>
          </a:solidFill>
          <a:ln w="9509" cap="flat">
            <a:noFill/>
            <a:prstDash val="solid"/>
            <a:miter/>
          </a:ln>
        </p:spPr>
        <p:txBody>
          <a:bodyPr rtlCol="0" anchor="ctr"/>
          <a:lstStyle/>
          <a:p>
            <a:endParaRPr lang="en-GB"/>
          </a:p>
        </p:txBody>
      </p:sp>
    </p:spTree>
    <p:extLst>
      <p:ext uri="{BB962C8B-B14F-4D97-AF65-F5344CB8AC3E}">
        <p14:creationId xmlns:p14="http://schemas.microsoft.com/office/powerpoint/2010/main" val="34658035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AC08568-CB34-FA3A-354B-5E34EE1B1FD2}"/>
              </a:ext>
            </a:extLst>
          </p:cNvPr>
          <p:cNvSpPr>
            <a:spLocks noGrp="1"/>
          </p:cNvSpPr>
          <p:nvPr>
            <p:ph type="title"/>
          </p:nvPr>
        </p:nvSpPr>
        <p:spPr>
          <a:xfrm>
            <a:off x="288303" y="262267"/>
            <a:ext cx="6713538" cy="457818"/>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80450DE-2BB5-2901-3769-3BBFA07946C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7">
            <a:extLst>
              <a:ext uri="{FF2B5EF4-FFF2-40B4-BE49-F238E27FC236}">
                <a16:creationId xmlns:a16="http://schemas.microsoft.com/office/drawing/2014/main" id="{65B587F7-0E47-48EC-A5BC-5623F62D615C}"/>
              </a:ext>
            </a:extLst>
          </p:cNvPr>
          <p:cNvSpPr>
            <a:spLocks noGrp="1"/>
          </p:cNvSpPr>
          <p:nvPr>
            <p:ph type="body" sz="quarter" idx="14"/>
          </p:nvPr>
        </p:nvSpPr>
        <p:spPr>
          <a:xfrm>
            <a:off x="8124825" y="295200"/>
            <a:ext cx="3778250" cy="876375"/>
          </a:xfrm>
        </p:spPr>
        <p:txBody>
          <a:bodyPr/>
          <a:lstStyle>
            <a:lvl1pPr>
              <a:defRPr sz="1400"/>
            </a:lvl1pPr>
            <a:lvl2pPr>
              <a:defRPr sz="1400"/>
            </a:lvl2pPr>
            <a:lvl3pPr>
              <a:defRPr sz="1200"/>
            </a:lvl3pPr>
          </a:lstStyle>
          <a:p>
            <a:pPr lvl="0"/>
            <a:r>
              <a:rPr lang="en-US"/>
              <a:t>Click to edit Master text styles</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A9E0D3F3-D407-76CD-22B7-F52045970808}"/>
              </a:ext>
            </a:extLst>
          </p:cNvPr>
          <p:cNvSpPr>
            <a:spLocks noGrp="1"/>
          </p:cNvSpPr>
          <p:nvPr>
            <p:ph type="ftr" sz="quarter" idx="11"/>
          </p:nvPr>
        </p:nvSpPr>
        <p:spPr/>
        <p:txBody>
          <a:bodyPr/>
          <a:lstStyle/>
          <a:p>
            <a:r>
              <a:rPr lang="en-US"/>
              <a:t>Job Aid and Guidance Document still under review.</a:t>
            </a:r>
            <a:endParaRPr lang="en-GB"/>
          </a:p>
        </p:txBody>
      </p:sp>
      <p:sp>
        <p:nvSpPr>
          <p:cNvPr id="6" name="Slide Number Placeholder 5">
            <a:extLst>
              <a:ext uri="{FF2B5EF4-FFF2-40B4-BE49-F238E27FC236}">
                <a16:creationId xmlns:a16="http://schemas.microsoft.com/office/drawing/2014/main" id="{3FB68AB9-3222-3CF5-BF4D-DB291E974D21}"/>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4" name="Subtitle 2">
            <a:extLst>
              <a:ext uri="{FF2B5EF4-FFF2-40B4-BE49-F238E27FC236}">
                <a16:creationId xmlns:a16="http://schemas.microsoft.com/office/drawing/2014/main" id="{443DEE11-107C-6B66-46B9-BE5E88B65B71}"/>
              </a:ext>
            </a:extLst>
          </p:cNvPr>
          <p:cNvSpPr>
            <a:spLocks noGrp="1"/>
          </p:cNvSpPr>
          <p:nvPr>
            <p:ph type="subTitle" idx="15" hasCustomPrompt="1"/>
          </p:nvPr>
        </p:nvSpPr>
        <p:spPr>
          <a:xfrm>
            <a:off x="288302" y="713620"/>
            <a:ext cx="5733083" cy="292965"/>
          </a:xfrm>
        </p:spPr>
        <p:txBody>
          <a:bodyPr wrap="square" anchor="t">
            <a:spAutoFit/>
          </a:bodyPr>
          <a:lstStyle>
            <a:lvl1pPr marL="0" indent="0" algn="l">
              <a:lnSpc>
                <a:spcPct val="110000"/>
              </a:lnSpc>
              <a:spcBef>
                <a:spcPts val="0"/>
              </a:spcBef>
              <a:spcAft>
                <a:spcPts val="0"/>
              </a:spcAft>
              <a:buNone/>
              <a:tabLst/>
              <a:defRPr lang="en-GB" sz="18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Subtitle goes here if required</a:t>
            </a:r>
          </a:p>
        </p:txBody>
      </p:sp>
    </p:spTree>
    <p:extLst>
      <p:ext uri="{BB962C8B-B14F-4D97-AF65-F5344CB8AC3E}">
        <p14:creationId xmlns:p14="http://schemas.microsoft.com/office/powerpoint/2010/main" val="213087749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节标题">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hasCustomPrompt="1"/>
          </p:nvPr>
        </p:nvSpPr>
        <p:spPr>
          <a:xfrm>
            <a:off x="287338" y="266400"/>
            <a:ext cx="8674100" cy="2770117"/>
          </a:xfrm>
        </p:spPr>
        <p:txBody>
          <a:bodyPr anchor="t">
            <a:normAutofit/>
          </a:bodyPr>
          <a:lstStyle>
            <a:lvl1pPr>
              <a:lnSpc>
                <a:spcPct val="80000"/>
              </a:lnSpc>
              <a:defRPr sz="7400" spc="0" baseline="0">
                <a:solidFill>
                  <a:schemeClr val="tx1"/>
                </a:solidFill>
              </a:defRPr>
            </a:lvl1pPr>
          </a:lstStyle>
          <a:p>
            <a:r>
              <a:rPr lang="en-GB"/>
              <a:t>Click to edit Master title style</a:t>
            </a:r>
            <a:br>
              <a:rPr lang="en-GB"/>
            </a:br>
            <a:endParaRPr lang="en-GB"/>
          </a:p>
        </p:txBody>
      </p:sp>
      <p:sp>
        <p:nvSpPr>
          <p:cNvPr id="5" name="Footer Placeholder 4">
            <a:extLst>
              <a:ext uri="{FF2B5EF4-FFF2-40B4-BE49-F238E27FC236}">
                <a16:creationId xmlns:a16="http://schemas.microsoft.com/office/drawing/2014/main" id="{895F487D-4064-92B3-E439-C4C68E6D7889}"/>
              </a:ext>
            </a:extLst>
          </p:cNvPr>
          <p:cNvSpPr>
            <a:spLocks noGrp="1"/>
          </p:cNvSpPr>
          <p:nvPr>
            <p:ph type="ftr" sz="quarter" idx="11"/>
          </p:nvPr>
        </p:nvSpPr>
        <p:spPr/>
        <p:txBody>
          <a:bodyPr/>
          <a:lstStyle/>
          <a:p>
            <a:pPr>
              <a:spcBef>
                <a:spcPts val="0"/>
              </a:spcBef>
              <a:spcAft>
                <a:spcPts val="300"/>
              </a:spcAft>
            </a:pPr>
            <a:r>
              <a:rPr lang="en-US" b="0" i="0">
                <a:effectLst/>
              </a:rPr>
              <a:t>Job Aid and Guidance Document still under review.</a:t>
            </a:r>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p>
            <a:fld id="{AEC8D767-5246-2244-A4A3-B8AFB218393C}" type="slidenum">
              <a:rPr lang="en-GB" smtClean="0"/>
              <a:t>‹#›</a:t>
            </a:fld>
            <a:endParaRPr lang="en-GB"/>
          </a:p>
        </p:txBody>
      </p:sp>
    </p:spTree>
    <p:extLst>
      <p:ext uri="{BB962C8B-B14F-4D97-AF65-F5344CB8AC3E}">
        <p14:creationId xmlns:p14="http://schemas.microsoft.com/office/powerpoint/2010/main" val="233184827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1_Section Header Panel 01">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D4FF8C-1D72-E0CF-4605-CF03816DB150}"/>
              </a:ext>
            </a:extLst>
          </p:cNvPr>
          <p:cNvSpPr/>
          <p:nvPr/>
        </p:nvSpPr>
        <p:spPr>
          <a:xfrm>
            <a:off x="9144000" y="2"/>
            <a:ext cx="3048000" cy="22825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7" name="Rectangle 6">
            <a:extLst>
              <a:ext uri="{FF2B5EF4-FFF2-40B4-BE49-F238E27FC236}">
                <a16:creationId xmlns:a16="http://schemas.microsoft.com/office/drawing/2014/main" id="{BB951803-8B14-5893-C6D9-F22E6D29647B}"/>
              </a:ext>
            </a:extLst>
          </p:cNvPr>
          <p:cNvSpPr/>
          <p:nvPr/>
        </p:nvSpPr>
        <p:spPr>
          <a:xfrm>
            <a:off x="0" y="4578308"/>
            <a:ext cx="8089900" cy="22825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9" name="Title 1">
            <a:extLst>
              <a:ext uri="{FF2B5EF4-FFF2-40B4-BE49-F238E27FC236}">
                <a16:creationId xmlns:a16="http://schemas.microsoft.com/office/drawing/2014/main" id="{41E30424-3D6B-9C32-D056-E12FEE159594}"/>
              </a:ext>
            </a:extLst>
          </p:cNvPr>
          <p:cNvSpPr>
            <a:spLocks noGrp="1"/>
          </p:cNvSpPr>
          <p:nvPr>
            <p:ph type="title"/>
          </p:nvPr>
        </p:nvSpPr>
        <p:spPr>
          <a:xfrm>
            <a:off x="287338" y="266400"/>
            <a:ext cx="7694612" cy="1859099"/>
          </a:xfrm>
        </p:spPr>
        <p:txBody>
          <a:bodyPr anchor="t"/>
          <a:lstStyle>
            <a:lvl1pPr>
              <a:lnSpc>
                <a:spcPct val="80000"/>
              </a:lnSpc>
              <a:defRPr sz="7400" spc="0" baseline="0">
                <a:solidFill>
                  <a:schemeClr val="accent1"/>
                </a:solidFill>
              </a:defRPr>
            </a:lvl1pPr>
          </a:lstStyle>
          <a:p>
            <a:r>
              <a:rPr lang="zh-CN" altLang="en-US"/>
              <a:t>单击此处编辑母版标题样式</a:t>
            </a:r>
            <a:endParaRPr lang="en-GB"/>
          </a:p>
        </p:txBody>
      </p:sp>
      <p:sp>
        <p:nvSpPr>
          <p:cNvPr id="4" name="Slide Number Placeholder 5">
            <a:extLst>
              <a:ext uri="{FF2B5EF4-FFF2-40B4-BE49-F238E27FC236}">
                <a16:creationId xmlns:a16="http://schemas.microsoft.com/office/drawing/2014/main" id="{FC72F9C5-6F6D-587C-351F-0B5583DF1799}"/>
              </a:ext>
            </a:extLst>
          </p:cNvPr>
          <p:cNvSpPr>
            <a:spLocks noGrp="1"/>
          </p:cNvSpPr>
          <p:nvPr>
            <p:ph type="sldNum" sz="quarter" idx="12"/>
          </p:nvPr>
        </p:nvSpPr>
        <p:spPr>
          <a:xfrm>
            <a:off x="11581942" y="6433878"/>
            <a:ext cx="320674" cy="153463"/>
          </a:xfrm>
        </p:spPr>
        <p:txBody>
          <a:bodyPr/>
          <a:lstStyle/>
          <a:p>
            <a:fld id="{AEC8D767-5246-2244-A4A3-B8AFB218393C}" type="slidenum">
              <a:rPr lang="en-GB" smtClean="0"/>
              <a:t>‹#›</a:t>
            </a:fld>
            <a:endParaRPr lang="en-GB"/>
          </a:p>
        </p:txBody>
      </p:sp>
      <p:sp>
        <p:nvSpPr>
          <p:cNvPr id="2" name="Graphic 8">
            <a:extLst>
              <a:ext uri="{FF2B5EF4-FFF2-40B4-BE49-F238E27FC236}">
                <a16:creationId xmlns:a16="http://schemas.microsoft.com/office/drawing/2014/main" id="{E57334F2-2D9C-A261-5F71-74062D3E0043}"/>
              </a:ext>
            </a:extLst>
          </p:cNvPr>
          <p:cNvSpPr>
            <a:spLocks noChangeAspect="1"/>
          </p:cNvSpPr>
          <p:nvPr/>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a:p>
        </p:txBody>
      </p:sp>
    </p:spTree>
    <p:extLst>
      <p:ext uri="{BB962C8B-B14F-4D97-AF65-F5344CB8AC3E}">
        <p14:creationId xmlns:p14="http://schemas.microsoft.com/office/powerpoint/2010/main" val="320404097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Section Header Panel 01">
    <p:bg>
      <p:bgPr>
        <a:solidFill>
          <a:schemeClr val="accent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1DFFC51-5FDD-DBA1-C803-B017E296ADB6}"/>
              </a:ext>
            </a:extLst>
          </p:cNvPr>
          <p:cNvSpPr/>
          <p:nvPr/>
        </p:nvSpPr>
        <p:spPr>
          <a:xfrm>
            <a:off x="9144000" y="2"/>
            <a:ext cx="3048000" cy="22825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0" name="Rectangle 19">
            <a:extLst>
              <a:ext uri="{FF2B5EF4-FFF2-40B4-BE49-F238E27FC236}">
                <a16:creationId xmlns:a16="http://schemas.microsoft.com/office/drawing/2014/main" id="{E6A0B6D5-9FAE-6088-29AE-ECA683A12070}"/>
              </a:ext>
            </a:extLst>
          </p:cNvPr>
          <p:cNvSpPr/>
          <p:nvPr/>
        </p:nvSpPr>
        <p:spPr>
          <a:xfrm>
            <a:off x="0" y="4578308"/>
            <a:ext cx="8089900" cy="22825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199B8AD4-5298-7DA9-DDAD-3AB53AF2F9F5}"/>
              </a:ext>
            </a:extLst>
          </p:cNvPr>
          <p:cNvSpPr>
            <a:spLocks noGrp="1"/>
          </p:cNvSpPr>
          <p:nvPr>
            <p:ph type="title"/>
          </p:nvPr>
        </p:nvSpPr>
        <p:spPr>
          <a:xfrm>
            <a:off x="287338" y="266400"/>
            <a:ext cx="7694612" cy="1859099"/>
          </a:xfrm>
        </p:spPr>
        <p:txBody>
          <a:bodyPr anchor="t"/>
          <a:lstStyle>
            <a:lvl1pPr>
              <a:lnSpc>
                <a:spcPct val="80000"/>
              </a:lnSpc>
              <a:defRPr sz="7400" spc="0" baseline="0">
                <a:solidFill>
                  <a:schemeClr val="bg1"/>
                </a:solidFill>
              </a:defRPr>
            </a:lvl1pPr>
          </a:lstStyle>
          <a:p>
            <a:r>
              <a:rPr lang="zh-CN" altLang="en-US"/>
              <a:t>单击此处编辑母版标题样式</a:t>
            </a:r>
            <a:endParaRPr lang="en-GB"/>
          </a:p>
        </p:txBody>
      </p:sp>
      <p:sp>
        <p:nvSpPr>
          <p:cNvPr id="5" name="Slide Number Placeholder 5">
            <a:extLst>
              <a:ext uri="{FF2B5EF4-FFF2-40B4-BE49-F238E27FC236}">
                <a16:creationId xmlns:a16="http://schemas.microsoft.com/office/drawing/2014/main" id="{5996C02B-DDD3-6ECC-5C7A-81C542C2CC80}"/>
              </a:ext>
            </a:extLst>
          </p:cNvPr>
          <p:cNvSpPr>
            <a:spLocks noGrp="1"/>
          </p:cNvSpPr>
          <p:nvPr>
            <p:ph type="sldNum" sz="quarter" idx="12"/>
          </p:nvPr>
        </p:nvSpPr>
        <p:spPr>
          <a:xfrm>
            <a:off x="11581942" y="6433878"/>
            <a:ext cx="320674" cy="153463"/>
          </a:xfrm>
        </p:spPr>
        <p:txBody>
          <a:bodyPr/>
          <a:lstStyle>
            <a:lvl1pPr>
              <a:defRPr>
                <a:solidFill>
                  <a:schemeClr val="bg1"/>
                </a:solidFill>
              </a:defRPr>
            </a:lvl1pPr>
          </a:lstStyle>
          <a:p>
            <a:fld id="{AEC8D767-5246-2244-A4A3-B8AFB218393C}" type="slidenum">
              <a:rPr lang="en-GB" smtClean="0"/>
              <a:pPr/>
              <a:t>‹#›</a:t>
            </a:fld>
            <a:endParaRPr lang="en-GB"/>
          </a:p>
        </p:txBody>
      </p:sp>
      <p:sp>
        <p:nvSpPr>
          <p:cNvPr id="3" name="Graphic 8">
            <a:extLst>
              <a:ext uri="{FF2B5EF4-FFF2-40B4-BE49-F238E27FC236}">
                <a16:creationId xmlns:a16="http://schemas.microsoft.com/office/drawing/2014/main" id="{738221C5-F9D8-43DB-B798-DF9312647345}"/>
              </a:ext>
            </a:extLst>
          </p:cNvPr>
          <p:cNvSpPr>
            <a:spLocks noChangeAspect="1"/>
          </p:cNvSpPr>
          <p:nvPr/>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accent1"/>
          </a:solidFill>
          <a:ln w="24751" cap="flat">
            <a:noFill/>
            <a:prstDash val="solid"/>
            <a:miter/>
          </a:ln>
        </p:spPr>
        <p:txBody>
          <a:bodyPr rtlCol="0" anchor="ctr"/>
          <a:lstStyle/>
          <a:p>
            <a:endParaRPr lang="en-GB"/>
          </a:p>
        </p:txBody>
      </p:sp>
    </p:spTree>
    <p:extLst>
      <p:ext uri="{BB962C8B-B14F-4D97-AF65-F5344CB8AC3E}">
        <p14:creationId xmlns:p14="http://schemas.microsoft.com/office/powerpoint/2010/main" val="296937954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Section Header Gray">
    <p:bg>
      <p:bgPr>
        <a:solidFill>
          <a:srgbClr val="5E4F4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hasCustomPrompt="1"/>
          </p:nvPr>
        </p:nvSpPr>
        <p:spPr>
          <a:xfrm>
            <a:off x="287338" y="266705"/>
            <a:ext cx="8674100" cy="2770117"/>
          </a:xfrm>
        </p:spPr>
        <p:txBody>
          <a:bodyPr anchor="t">
            <a:normAutofit/>
          </a:bodyPr>
          <a:lstStyle>
            <a:lvl1pPr>
              <a:lnSpc>
                <a:spcPct val="80000"/>
              </a:lnSpc>
              <a:defRPr sz="7400" spc="0" baseline="0">
                <a:solidFill>
                  <a:schemeClr val="bg1"/>
                </a:solidFill>
              </a:defRPr>
            </a:lvl1pPr>
          </a:lstStyle>
          <a:p>
            <a:r>
              <a:rPr lang="en-GB"/>
              <a:t>Click to edit Master title style</a:t>
            </a:r>
            <a:br>
              <a:rPr lang="en-GB"/>
            </a:br>
            <a:endParaRPr lang="en-GB"/>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3" name="Text Placeholder 31">
            <a:extLst>
              <a:ext uri="{FF2B5EF4-FFF2-40B4-BE49-F238E27FC236}">
                <a16:creationId xmlns:a16="http://schemas.microsoft.com/office/drawing/2014/main" id="{4D4C34F6-671F-EEC0-FEE1-02A18D85B646}"/>
              </a:ext>
            </a:extLst>
          </p:cNvPr>
          <p:cNvSpPr>
            <a:spLocks noGrp="1"/>
          </p:cNvSpPr>
          <p:nvPr>
            <p:ph type="body" sz="quarter" idx="10" hasCustomPrompt="1"/>
          </p:nvPr>
        </p:nvSpPr>
        <p:spPr>
          <a:xfrm>
            <a:off x="287339" y="4389438"/>
            <a:ext cx="5732692" cy="1376362"/>
          </a:xfrm>
        </p:spPr>
        <p:txBody>
          <a:bodyPr anchor="b"/>
          <a:lstStyle>
            <a:lvl1pPr>
              <a:lnSpc>
                <a:spcPct val="100000"/>
              </a:lnSpc>
              <a:spcBef>
                <a:spcPts val="0"/>
              </a:spcBef>
              <a:spcAft>
                <a:spcPts val="0"/>
              </a:spcAft>
              <a:defRPr sz="1400">
                <a:solidFill>
                  <a:schemeClr val="bg1"/>
                </a:solidFill>
              </a:defRPr>
            </a:lvl1pPr>
          </a:lstStyle>
          <a:p>
            <a:r>
              <a:rPr lang="en-US" noProof="0"/>
              <a:t>Supporting details.</a:t>
            </a:r>
            <a:r>
              <a:rPr lang="en-GB"/>
              <a:t> Delete if not required. </a:t>
            </a:r>
            <a:r>
              <a:rPr lang="en-US" noProof="0"/>
              <a:t>Right click on background &gt; Select ‘Format background’ &gt; Select color fill to change color.</a:t>
            </a:r>
          </a:p>
        </p:txBody>
      </p:sp>
      <p:sp>
        <p:nvSpPr>
          <p:cNvPr id="4" name="Footer Placeholder 4">
            <a:extLst>
              <a:ext uri="{FF2B5EF4-FFF2-40B4-BE49-F238E27FC236}">
                <a16:creationId xmlns:a16="http://schemas.microsoft.com/office/drawing/2014/main" id="{A83A6692-6756-028A-9F7E-2811210F0747}"/>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bg1"/>
                </a:solidFill>
                <a:latin typeface="+mn-lt"/>
              </a:defRPr>
            </a:lvl1pPr>
          </a:lstStyle>
          <a:p>
            <a:pPr>
              <a:spcBef>
                <a:spcPts val="0"/>
              </a:spcBef>
              <a:spcAft>
                <a:spcPts val="300"/>
              </a:spcAft>
            </a:pPr>
            <a:r>
              <a:rPr lang="en-US" b="0" i="0">
                <a:effectLst/>
              </a:rPr>
              <a:t>Job Aid and Guidance Document still under review.</a:t>
            </a:r>
          </a:p>
        </p:txBody>
      </p:sp>
      <p:sp>
        <p:nvSpPr>
          <p:cNvPr id="5" name="Graphic 8">
            <a:extLst>
              <a:ext uri="{FF2B5EF4-FFF2-40B4-BE49-F238E27FC236}">
                <a16:creationId xmlns:a16="http://schemas.microsoft.com/office/drawing/2014/main" id="{C2666627-5EC6-6B74-6176-F0B74B3F4F65}"/>
              </a:ext>
            </a:extLst>
          </p:cNvPr>
          <p:cNvSpPr>
            <a:spLocks noChangeAspect="1"/>
          </p:cNvSpPr>
          <p:nvPr/>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a:p>
        </p:txBody>
      </p:sp>
    </p:spTree>
    <p:extLst>
      <p:ext uri="{BB962C8B-B14F-4D97-AF65-F5344CB8AC3E}">
        <p14:creationId xmlns:p14="http://schemas.microsoft.com/office/powerpoint/2010/main" val="68533635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Section Header Red with Imag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hasCustomPrompt="1"/>
          </p:nvPr>
        </p:nvSpPr>
        <p:spPr>
          <a:xfrm>
            <a:off x="289384" y="266400"/>
            <a:ext cx="5732004" cy="3681136"/>
          </a:xfrm>
        </p:spPr>
        <p:txBody>
          <a:bodyPr anchor="t">
            <a:normAutofit/>
          </a:bodyPr>
          <a:lstStyle>
            <a:lvl1pPr>
              <a:lnSpc>
                <a:spcPct val="80000"/>
              </a:lnSpc>
              <a:defRPr sz="7400" spc="0" baseline="0">
                <a:solidFill>
                  <a:schemeClr val="bg1"/>
                </a:solidFill>
              </a:defRPr>
            </a:lvl1pPr>
          </a:lstStyle>
          <a:p>
            <a:r>
              <a:rPr lang="en-GB"/>
              <a:t>Click to edit Master title style</a:t>
            </a:r>
            <a:br>
              <a:rPr lang="en-GB"/>
            </a:br>
            <a:endParaRPr lang="en-GB"/>
          </a:p>
        </p:txBody>
      </p:sp>
      <p:sp>
        <p:nvSpPr>
          <p:cNvPr id="10" name="Picture Placeholder 3">
            <a:extLst>
              <a:ext uri="{FF2B5EF4-FFF2-40B4-BE49-F238E27FC236}">
                <a16:creationId xmlns:a16="http://schemas.microsoft.com/office/drawing/2014/main" id="{7474C3C3-E6CF-FCE1-1181-F02BC23A1017}"/>
              </a:ext>
            </a:extLst>
          </p:cNvPr>
          <p:cNvSpPr>
            <a:spLocks noGrp="1"/>
          </p:cNvSpPr>
          <p:nvPr>
            <p:ph type="pic" sz="quarter" idx="11" hasCustomPrompt="1"/>
          </p:nvPr>
        </p:nvSpPr>
        <p:spPr>
          <a:xfrm>
            <a:off x="6165851" y="0"/>
            <a:ext cx="6026150" cy="6858000"/>
          </a:xfrm>
          <a:solidFill>
            <a:srgbClr val="F6F3F2"/>
          </a:solidFill>
        </p:spPr>
        <p:txBody>
          <a:bodyPr/>
          <a:lstStyle>
            <a:lvl1pPr>
              <a:defRPr lang="en-US"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3" name="Graphic 8">
            <a:extLst>
              <a:ext uri="{FF2B5EF4-FFF2-40B4-BE49-F238E27FC236}">
                <a16:creationId xmlns:a16="http://schemas.microsoft.com/office/drawing/2014/main" id="{340F79D8-9CB3-8533-8439-9D23904770BB}"/>
              </a:ext>
            </a:extLst>
          </p:cNvPr>
          <p:cNvSpPr>
            <a:spLocks noChangeAspect="1"/>
          </p:cNvSpPr>
          <p:nvPr/>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a:p>
        </p:txBody>
      </p:sp>
    </p:spTree>
    <p:extLst>
      <p:ext uri="{BB962C8B-B14F-4D97-AF65-F5344CB8AC3E}">
        <p14:creationId xmlns:p14="http://schemas.microsoft.com/office/powerpoint/2010/main" val="168186563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Section Header with Im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hasCustomPrompt="1"/>
          </p:nvPr>
        </p:nvSpPr>
        <p:spPr>
          <a:xfrm>
            <a:off x="289384" y="270000"/>
            <a:ext cx="5732004" cy="3681136"/>
          </a:xfrm>
        </p:spPr>
        <p:txBody>
          <a:bodyPr anchor="t">
            <a:normAutofit/>
          </a:bodyPr>
          <a:lstStyle>
            <a:lvl1pPr>
              <a:lnSpc>
                <a:spcPct val="80000"/>
              </a:lnSpc>
              <a:defRPr sz="7400" spc="0" baseline="0">
                <a:solidFill>
                  <a:schemeClr val="accent1"/>
                </a:solidFill>
              </a:defRPr>
            </a:lvl1pPr>
          </a:lstStyle>
          <a:p>
            <a:r>
              <a:rPr lang="en-GB"/>
              <a:t>Click to edit Master title style</a:t>
            </a:r>
            <a:br>
              <a:rPr lang="en-GB"/>
            </a:br>
            <a:endParaRPr lang="en-GB"/>
          </a:p>
        </p:txBody>
      </p:sp>
      <p:sp>
        <p:nvSpPr>
          <p:cNvPr id="6" name="Picture Placeholder 3">
            <a:extLst>
              <a:ext uri="{FF2B5EF4-FFF2-40B4-BE49-F238E27FC236}">
                <a16:creationId xmlns:a16="http://schemas.microsoft.com/office/drawing/2014/main" id="{4C3BD605-06B1-68EF-DD24-2EA9D4780A82}"/>
              </a:ext>
            </a:extLst>
          </p:cNvPr>
          <p:cNvSpPr>
            <a:spLocks noGrp="1"/>
          </p:cNvSpPr>
          <p:nvPr>
            <p:ph type="pic" sz="quarter" idx="11" hasCustomPrompt="1"/>
          </p:nvPr>
        </p:nvSpPr>
        <p:spPr>
          <a:xfrm>
            <a:off x="6165851" y="0"/>
            <a:ext cx="6026150" cy="6858000"/>
          </a:xfrm>
          <a:solidFill>
            <a:srgbClr val="F6F3F2"/>
          </a:solidFill>
        </p:spPr>
        <p:txBody>
          <a:bodyPr/>
          <a:lstStyle>
            <a:lvl1pPr>
              <a:defRPr lang="en-US"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Tree>
    <p:extLst>
      <p:ext uri="{BB962C8B-B14F-4D97-AF65-F5344CB8AC3E}">
        <p14:creationId xmlns:p14="http://schemas.microsoft.com/office/powerpoint/2010/main" val="359484611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C22AC-FEA7-AD51-FB22-01EC3D276410}"/>
              </a:ext>
            </a:extLst>
          </p:cNvPr>
          <p:cNvSpPr>
            <a:spLocks noGrp="1"/>
          </p:cNvSpPr>
          <p:nvPr>
            <p:ph type="title"/>
          </p:nvPr>
        </p:nvSpPr>
        <p:spPr>
          <a:xfrm>
            <a:off x="286715" y="273600"/>
            <a:ext cx="1811959" cy="392415"/>
          </a:xfrm>
        </p:spPr>
        <p:txBody>
          <a:bodyPr/>
          <a:lstStyle>
            <a:lvl1pPr>
              <a:lnSpc>
                <a:spcPct val="85000"/>
              </a:lnSpc>
              <a:defRPr sz="1500" b="1" i="0">
                <a:solidFill>
                  <a:schemeClr val="tx1"/>
                </a:solidFill>
                <a:latin typeface="+mn-lt"/>
              </a:defRPr>
            </a:lvl1pPr>
          </a:lstStyle>
          <a:p>
            <a:r>
              <a:rPr lang="zh-CN" altLang="en-US"/>
              <a:t>单击此处编辑母版标题样式</a:t>
            </a:r>
            <a:endParaRPr lang="en-GB"/>
          </a:p>
        </p:txBody>
      </p:sp>
      <p:sp>
        <p:nvSpPr>
          <p:cNvPr id="6" name="Text Placeholder 5">
            <a:extLst>
              <a:ext uri="{FF2B5EF4-FFF2-40B4-BE49-F238E27FC236}">
                <a16:creationId xmlns:a16="http://schemas.microsoft.com/office/drawing/2014/main" id="{D07DAC6C-95A8-D53D-7D6B-43128BEEF186}"/>
              </a:ext>
            </a:extLst>
          </p:cNvPr>
          <p:cNvSpPr>
            <a:spLocks noGrp="1"/>
          </p:cNvSpPr>
          <p:nvPr>
            <p:ph type="body" sz="quarter" idx="13"/>
          </p:nvPr>
        </p:nvSpPr>
        <p:spPr>
          <a:xfrm>
            <a:off x="3225801" y="277200"/>
            <a:ext cx="8966200" cy="5488600"/>
          </a:xfrm>
        </p:spPr>
        <p:txBody>
          <a:bodyPr/>
          <a:lstStyle>
            <a:lvl1pPr marL="981075" indent="-981075">
              <a:lnSpc>
                <a:spcPct val="80000"/>
              </a:lnSpc>
              <a:spcBef>
                <a:spcPts val="600"/>
              </a:spcBef>
              <a:spcAft>
                <a:spcPts val="600"/>
              </a:spcAft>
              <a:buFont typeface="+mj-lt"/>
              <a:buAutoNum type="arabicPeriod"/>
              <a:tabLst/>
              <a:defRPr sz="3000" b="0" i="0">
                <a:latin typeface="+mj-lt"/>
              </a:defRPr>
            </a:lvl1pPr>
            <a:lvl2pPr marL="1201738" indent="-220663">
              <a:tabLst/>
              <a:defRPr/>
            </a:lvl2pPr>
            <a:lvl3pPr marL="1201738" indent="-220663">
              <a:tabLst/>
              <a:defRPr/>
            </a:lvl3pPr>
            <a:lvl4pPr marL="1201738" indent="-220663">
              <a:tabLst/>
              <a:defRPr/>
            </a:lvl4pPr>
            <a:lvl5pPr marL="1201738" indent="-220663">
              <a:tabLst/>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9" name="Footer Placeholder 4">
            <a:extLst>
              <a:ext uri="{FF2B5EF4-FFF2-40B4-BE49-F238E27FC236}">
                <a16:creationId xmlns:a16="http://schemas.microsoft.com/office/drawing/2014/main" id="{73D73DEF-9C82-2768-837B-EB448FCEC2C3}"/>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23634246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2F4DE542-4D98-B05D-597C-9623E7D2E7C2}"/>
              </a:ext>
            </a:extLst>
          </p:cNvPr>
          <p:cNvSpPr>
            <a:spLocks noGrp="1"/>
          </p:cNvSpPr>
          <p:nvPr>
            <p:ph type="title"/>
          </p:nvPr>
        </p:nvSpPr>
        <p:spPr>
          <a:xfrm>
            <a:off x="286715" y="273600"/>
            <a:ext cx="1811959" cy="392415"/>
          </a:xfrm>
        </p:spPr>
        <p:txBody>
          <a:bodyPr/>
          <a:lstStyle>
            <a:lvl1pPr>
              <a:lnSpc>
                <a:spcPct val="85000"/>
              </a:lnSpc>
              <a:defRPr sz="1500" b="1" i="0">
                <a:solidFill>
                  <a:schemeClr val="tx1"/>
                </a:solidFill>
                <a:latin typeface="+mn-lt"/>
              </a:defRPr>
            </a:lvl1pPr>
          </a:lstStyle>
          <a:p>
            <a:r>
              <a:rPr lang="zh-CN" altLang="en-US"/>
              <a:t>单击此处编辑母版标题样式</a:t>
            </a:r>
            <a:endParaRPr lang="en-GB"/>
          </a:p>
        </p:txBody>
      </p:sp>
      <p:sp>
        <p:nvSpPr>
          <p:cNvPr id="151" name="Picture Placeholder 92">
            <a:extLst>
              <a:ext uri="{FF2B5EF4-FFF2-40B4-BE49-F238E27FC236}">
                <a16:creationId xmlns:a16="http://schemas.microsoft.com/office/drawing/2014/main" id="{414C0709-0B1A-11C5-45EE-CC44E7A13411}"/>
              </a:ext>
            </a:extLst>
          </p:cNvPr>
          <p:cNvSpPr>
            <a:spLocks noGrp="1"/>
          </p:cNvSpPr>
          <p:nvPr>
            <p:ph type="pic" sz="quarter" idx="56" hasCustomPrompt="1"/>
          </p:nvPr>
        </p:nvSpPr>
        <p:spPr>
          <a:xfrm>
            <a:off x="3225799" y="933132"/>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163" name="Text Placeholder 5">
            <a:extLst>
              <a:ext uri="{FF2B5EF4-FFF2-40B4-BE49-F238E27FC236}">
                <a16:creationId xmlns:a16="http://schemas.microsoft.com/office/drawing/2014/main" id="{12B824E8-EE25-7DB2-F96D-DEA8631E51FB}"/>
              </a:ext>
            </a:extLst>
          </p:cNvPr>
          <p:cNvSpPr>
            <a:spLocks noGrp="1"/>
          </p:cNvSpPr>
          <p:nvPr>
            <p:ph type="body" sz="quarter" idx="13" hasCustomPrompt="1"/>
          </p:nvPr>
        </p:nvSpPr>
        <p:spPr>
          <a:xfrm>
            <a:off x="3225800" y="231771"/>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64" name="Text Placeholder 5">
            <a:extLst>
              <a:ext uri="{FF2B5EF4-FFF2-40B4-BE49-F238E27FC236}">
                <a16:creationId xmlns:a16="http://schemas.microsoft.com/office/drawing/2014/main" id="{A4F70AC5-374E-DFC2-2B29-2318F0BB51E4}"/>
              </a:ext>
            </a:extLst>
          </p:cNvPr>
          <p:cNvSpPr>
            <a:spLocks noGrp="1"/>
          </p:cNvSpPr>
          <p:nvPr>
            <p:ph type="body" sz="quarter" idx="14"/>
          </p:nvPr>
        </p:nvSpPr>
        <p:spPr>
          <a:xfrm>
            <a:off x="4644000" y="231771"/>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zh-CN" altLang="en-US"/>
              <a:t>单击此处编辑母版文本样式</a:t>
            </a:r>
          </a:p>
        </p:txBody>
      </p:sp>
      <p:sp>
        <p:nvSpPr>
          <p:cNvPr id="165" name="Text Placeholder 5">
            <a:extLst>
              <a:ext uri="{FF2B5EF4-FFF2-40B4-BE49-F238E27FC236}">
                <a16:creationId xmlns:a16="http://schemas.microsoft.com/office/drawing/2014/main" id="{EB857D0D-CD76-A612-A712-E14D8C7049C6}"/>
              </a:ext>
            </a:extLst>
          </p:cNvPr>
          <p:cNvSpPr>
            <a:spLocks noGrp="1"/>
          </p:cNvSpPr>
          <p:nvPr>
            <p:ph type="body" sz="quarter" idx="15" hasCustomPrompt="1"/>
          </p:nvPr>
        </p:nvSpPr>
        <p:spPr>
          <a:xfrm>
            <a:off x="9106462" y="231771"/>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66" name="Picture Placeholder 91">
            <a:extLst>
              <a:ext uri="{FF2B5EF4-FFF2-40B4-BE49-F238E27FC236}">
                <a16:creationId xmlns:a16="http://schemas.microsoft.com/office/drawing/2014/main" id="{23E05799-FE6A-9155-DA4E-C09C4B03CA27}"/>
              </a:ext>
            </a:extLst>
          </p:cNvPr>
          <p:cNvSpPr>
            <a:spLocks noGrp="1"/>
          </p:cNvSpPr>
          <p:nvPr>
            <p:ph type="pic" sz="quarter" idx="55" hasCustomPrompt="1"/>
          </p:nvPr>
        </p:nvSpPr>
        <p:spPr>
          <a:xfrm>
            <a:off x="3225799" y="538994"/>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167" name="Text Placeholder 5">
            <a:extLst>
              <a:ext uri="{FF2B5EF4-FFF2-40B4-BE49-F238E27FC236}">
                <a16:creationId xmlns:a16="http://schemas.microsoft.com/office/drawing/2014/main" id="{24089EB1-E806-6913-C5B8-A4C01D0814E6}"/>
              </a:ext>
            </a:extLst>
          </p:cNvPr>
          <p:cNvSpPr>
            <a:spLocks noGrp="1"/>
          </p:cNvSpPr>
          <p:nvPr>
            <p:ph type="body" sz="quarter" idx="16" hasCustomPrompt="1"/>
          </p:nvPr>
        </p:nvSpPr>
        <p:spPr>
          <a:xfrm>
            <a:off x="3225800" y="625471"/>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68" name="Text Placeholder 5">
            <a:extLst>
              <a:ext uri="{FF2B5EF4-FFF2-40B4-BE49-F238E27FC236}">
                <a16:creationId xmlns:a16="http://schemas.microsoft.com/office/drawing/2014/main" id="{10C7981E-34E4-22AC-19D7-855BF963AC6A}"/>
              </a:ext>
            </a:extLst>
          </p:cNvPr>
          <p:cNvSpPr>
            <a:spLocks noGrp="1"/>
          </p:cNvSpPr>
          <p:nvPr>
            <p:ph type="body" sz="quarter" idx="17"/>
          </p:nvPr>
        </p:nvSpPr>
        <p:spPr>
          <a:xfrm>
            <a:off x="4644000" y="625471"/>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zh-CN" altLang="en-US"/>
              <a:t>单击此处编辑母版文本样式</a:t>
            </a:r>
          </a:p>
        </p:txBody>
      </p:sp>
      <p:sp>
        <p:nvSpPr>
          <p:cNvPr id="169" name="Text Placeholder 5">
            <a:extLst>
              <a:ext uri="{FF2B5EF4-FFF2-40B4-BE49-F238E27FC236}">
                <a16:creationId xmlns:a16="http://schemas.microsoft.com/office/drawing/2014/main" id="{127EEF89-640D-17FA-3E79-57DA3786E32A}"/>
              </a:ext>
            </a:extLst>
          </p:cNvPr>
          <p:cNvSpPr>
            <a:spLocks noGrp="1"/>
          </p:cNvSpPr>
          <p:nvPr>
            <p:ph type="body" sz="quarter" idx="18" hasCustomPrompt="1"/>
          </p:nvPr>
        </p:nvSpPr>
        <p:spPr>
          <a:xfrm>
            <a:off x="9106462" y="625471"/>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70" name="Text Placeholder 5">
            <a:extLst>
              <a:ext uri="{FF2B5EF4-FFF2-40B4-BE49-F238E27FC236}">
                <a16:creationId xmlns:a16="http://schemas.microsoft.com/office/drawing/2014/main" id="{C3E76B7F-03AC-D5BD-BECC-8B0881567D59}"/>
              </a:ext>
            </a:extLst>
          </p:cNvPr>
          <p:cNvSpPr>
            <a:spLocks noGrp="1"/>
          </p:cNvSpPr>
          <p:nvPr>
            <p:ph type="body" sz="quarter" idx="19" hasCustomPrompt="1"/>
          </p:nvPr>
        </p:nvSpPr>
        <p:spPr>
          <a:xfrm>
            <a:off x="3225800" y="1022195"/>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71" name="Text Placeholder 5">
            <a:extLst>
              <a:ext uri="{FF2B5EF4-FFF2-40B4-BE49-F238E27FC236}">
                <a16:creationId xmlns:a16="http://schemas.microsoft.com/office/drawing/2014/main" id="{8344A73D-BCE2-9041-0430-DCA16AE2194A}"/>
              </a:ext>
            </a:extLst>
          </p:cNvPr>
          <p:cNvSpPr>
            <a:spLocks noGrp="1"/>
          </p:cNvSpPr>
          <p:nvPr>
            <p:ph type="body" sz="quarter" idx="20"/>
          </p:nvPr>
        </p:nvSpPr>
        <p:spPr>
          <a:xfrm>
            <a:off x="4644000" y="1022195"/>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zh-CN" altLang="en-US"/>
              <a:t>单击此处编辑母版文本样式</a:t>
            </a:r>
          </a:p>
        </p:txBody>
      </p:sp>
      <p:sp>
        <p:nvSpPr>
          <p:cNvPr id="172" name="Text Placeholder 5">
            <a:extLst>
              <a:ext uri="{FF2B5EF4-FFF2-40B4-BE49-F238E27FC236}">
                <a16:creationId xmlns:a16="http://schemas.microsoft.com/office/drawing/2014/main" id="{BA7AD8A2-995B-0025-7B23-12D44BEB24F7}"/>
              </a:ext>
            </a:extLst>
          </p:cNvPr>
          <p:cNvSpPr>
            <a:spLocks noGrp="1"/>
          </p:cNvSpPr>
          <p:nvPr>
            <p:ph type="body" sz="quarter" idx="21" hasCustomPrompt="1"/>
          </p:nvPr>
        </p:nvSpPr>
        <p:spPr>
          <a:xfrm>
            <a:off x="9106462" y="1022195"/>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73" name="Picture Placeholder 93">
            <a:extLst>
              <a:ext uri="{FF2B5EF4-FFF2-40B4-BE49-F238E27FC236}">
                <a16:creationId xmlns:a16="http://schemas.microsoft.com/office/drawing/2014/main" id="{C7221CC4-5A16-F8BC-F970-B26EBD5A8BA8}"/>
              </a:ext>
            </a:extLst>
          </p:cNvPr>
          <p:cNvSpPr>
            <a:spLocks noGrp="1"/>
          </p:cNvSpPr>
          <p:nvPr>
            <p:ph type="pic" sz="quarter" idx="57" hasCustomPrompt="1"/>
          </p:nvPr>
        </p:nvSpPr>
        <p:spPr>
          <a:xfrm>
            <a:off x="3225799" y="1335152"/>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174" name="Text Placeholder 5">
            <a:extLst>
              <a:ext uri="{FF2B5EF4-FFF2-40B4-BE49-F238E27FC236}">
                <a16:creationId xmlns:a16="http://schemas.microsoft.com/office/drawing/2014/main" id="{B4AD80BA-61F2-11A3-5213-31194E78CF82}"/>
              </a:ext>
            </a:extLst>
          </p:cNvPr>
          <p:cNvSpPr>
            <a:spLocks noGrp="1"/>
          </p:cNvSpPr>
          <p:nvPr>
            <p:ph type="body" sz="quarter" idx="22" hasCustomPrompt="1"/>
          </p:nvPr>
        </p:nvSpPr>
        <p:spPr>
          <a:xfrm>
            <a:off x="3225800" y="1418919"/>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75" name="Text Placeholder 5">
            <a:extLst>
              <a:ext uri="{FF2B5EF4-FFF2-40B4-BE49-F238E27FC236}">
                <a16:creationId xmlns:a16="http://schemas.microsoft.com/office/drawing/2014/main" id="{27C0D85E-74CB-0D5E-89E5-5D22045B8749}"/>
              </a:ext>
            </a:extLst>
          </p:cNvPr>
          <p:cNvSpPr>
            <a:spLocks noGrp="1"/>
          </p:cNvSpPr>
          <p:nvPr>
            <p:ph type="body" sz="quarter" idx="23"/>
          </p:nvPr>
        </p:nvSpPr>
        <p:spPr>
          <a:xfrm>
            <a:off x="4644000" y="1418919"/>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zh-CN" altLang="en-US"/>
              <a:t>单击此处编辑母版文本样式</a:t>
            </a:r>
          </a:p>
        </p:txBody>
      </p:sp>
      <p:sp>
        <p:nvSpPr>
          <p:cNvPr id="176" name="Text Placeholder 5">
            <a:extLst>
              <a:ext uri="{FF2B5EF4-FFF2-40B4-BE49-F238E27FC236}">
                <a16:creationId xmlns:a16="http://schemas.microsoft.com/office/drawing/2014/main" id="{D3602011-9A32-BE74-D43E-233E4FC27356}"/>
              </a:ext>
            </a:extLst>
          </p:cNvPr>
          <p:cNvSpPr>
            <a:spLocks noGrp="1"/>
          </p:cNvSpPr>
          <p:nvPr>
            <p:ph type="body" sz="quarter" idx="24" hasCustomPrompt="1"/>
          </p:nvPr>
        </p:nvSpPr>
        <p:spPr>
          <a:xfrm>
            <a:off x="9106462" y="1418919"/>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77" name="Picture Placeholder 94">
            <a:extLst>
              <a:ext uri="{FF2B5EF4-FFF2-40B4-BE49-F238E27FC236}">
                <a16:creationId xmlns:a16="http://schemas.microsoft.com/office/drawing/2014/main" id="{269B4BB8-2420-C116-E384-4500FB15D7E4}"/>
              </a:ext>
            </a:extLst>
          </p:cNvPr>
          <p:cNvSpPr>
            <a:spLocks noGrp="1"/>
          </p:cNvSpPr>
          <p:nvPr>
            <p:ph type="pic" sz="quarter" idx="58" hasCustomPrompt="1"/>
          </p:nvPr>
        </p:nvSpPr>
        <p:spPr>
          <a:xfrm>
            <a:off x="3225799" y="1737173"/>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178" name="Text Placeholder 5">
            <a:extLst>
              <a:ext uri="{FF2B5EF4-FFF2-40B4-BE49-F238E27FC236}">
                <a16:creationId xmlns:a16="http://schemas.microsoft.com/office/drawing/2014/main" id="{A65D6C32-597E-A87D-B6BE-91881E645FE5}"/>
              </a:ext>
            </a:extLst>
          </p:cNvPr>
          <p:cNvSpPr>
            <a:spLocks noGrp="1"/>
          </p:cNvSpPr>
          <p:nvPr>
            <p:ph type="body" sz="quarter" idx="25" hasCustomPrompt="1"/>
          </p:nvPr>
        </p:nvSpPr>
        <p:spPr>
          <a:xfrm>
            <a:off x="3225800" y="1815643"/>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79" name="Text Placeholder 5">
            <a:extLst>
              <a:ext uri="{FF2B5EF4-FFF2-40B4-BE49-F238E27FC236}">
                <a16:creationId xmlns:a16="http://schemas.microsoft.com/office/drawing/2014/main" id="{4B1DF343-DFC7-F81B-915B-96E9335A5E49}"/>
              </a:ext>
            </a:extLst>
          </p:cNvPr>
          <p:cNvSpPr>
            <a:spLocks noGrp="1"/>
          </p:cNvSpPr>
          <p:nvPr>
            <p:ph type="body" sz="quarter" idx="26"/>
          </p:nvPr>
        </p:nvSpPr>
        <p:spPr>
          <a:xfrm>
            <a:off x="4644000" y="1815643"/>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zh-CN" altLang="en-US"/>
              <a:t>单击此处编辑母版文本样式</a:t>
            </a:r>
          </a:p>
        </p:txBody>
      </p:sp>
      <p:sp>
        <p:nvSpPr>
          <p:cNvPr id="180" name="Text Placeholder 5">
            <a:extLst>
              <a:ext uri="{FF2B5EF4-FFF2-40B4-BE49-F238E27FC236}">
                <a16:creationId xmlns:a16="http://schemas.microsoft.com/office/drawing/2014/main" id="{B101370D-BD23-0E59-00B2-1DF4D768EBDF}"/>
              </a:ext>
            </a:extLst>
          </p:cNvPr>
          <p:cNvSpPr>
            <a:spLocks noGrp="1"/>
          </p:cNvSpPr>
          <p:nvPr>
            <p:ph type="body" sz="quarter" idx="27" hasCustomPrompt="1"/>
          </p:nvPr>
        </p:nvSpPr>
        <p:spPr>
          <a:xfrm>
            <a:off x="9106462" y="1815643"/>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81" name="Picture Placeholder 95">
            <a:extLst>
              <a:ext uri="{FF2B5EF4-FFF2-40B4-BE49-F238E27FC236}">
                <a16:creationId xmlns:a16="http://schemas.microsoft.com/office/drawing/2014/main" id="{F4B3C050-4D54-40AC-903F-F698E83D054E}"/>
              </a:ext>
            </a:extLst>
          </p:cNvPr>
          <p:cNvSpPr>
            <a:spLocks noGrp="1"/>
          </p:cNvSpPr>
          <p:nvPr>
            <p:ph type="pic" sz="quarter" idx="59" hasCustomPrompt="1"/>
          </p:nvPr>
        </p:nvSpPr>
        <p:spPr>
          <a:xfrm>
            <a:off x="3225799" y="2123428"/>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182" name="Text Placeholder 5">
            <a:extLst>
              <a:ext uri="{FF2B5EF4-FFF2-40B4-BE49-F238E27FC236}">
                <a16:creationId xmlns:a16="http://schemas.microsoft.com/office/drawing/2014/main" id="{155ABD36-F107-FAC7-D94F-C71129D99E04}"/>
              </a:ext>
            </a:extLst>
          </p:cNvPr>
          <p:cNvSpPr>
            <a:spLocks noGrp="1"/>
          </p:cNvSpPr>
          <p:nvPr>
            <p:ph type="body" sz="quarter" idx="28" hasCustomPrompt="1"/>
          </p:nvPr>
        </p:nvSpPr>
        <p:spPr>
          <a:xfrm>
            <a:off x="3225800" y="2212367"/>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83" name="Text Placeholder 5">
            <a:extLst>
              <a:ext uri="{FF2B5EF4-FFF2-40B4-BE49-F238E27FC236}">
                <a16:creationId xmlns:a16="http://schemas.microsoft.com/office/drawing/2014/main" id="{0A1512C3-4983-E876-9159-16E3626DF5B5}"/>
              </a:ext>
            </a:extLst>
          </p:cNvPr>
          <p:cNvSpPr>
            <a:spLocks noGrp="1"/>
          </p:cNvSpPr>
          <p:nvPr>
            <p:ph type="body" sz="quarter" idx="29"/>
          </p:nvPr>
        </p:nvSpPr>
        <p:spPr>
          <a:xfrm>
            <a:off x="4644000" y="2212367"/>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zh-CN" altLang="en-US"/>
              <a:t>单击此处编辑母版文本样式</a:t>
            </a:r>
          </a:p>
        </p:txBody>
      </p:sp>
      <p:sp>
        <p:nvSpPr>
          <p:cNvPr id="184" name="Text Placeholder 5">
            <a:extLst>
              <a:ext uri="{FF2B5EF4-FFF2-40B4-BE49-F238E27FC236}">
                <a16:creationId xmlns:a16="http://schemas.microsoft.com/office/drawing/2014/main" id="{F7879AFD-9EB9-2FB8-189D-455DEDB6131F}"/>
              </a:ext>
            </a:extLst>
          </p:cNvPr>
          <p:cNvSpPr>
            <a:spLocks noGrp="1"/>
          </p:cNvSpPr>
          <p:nvPr>
            <p:ph type="body" sz="quarter" idx="30" hasCustomPrompt="1"/>
          </p:nvPr>
        </p:nvSpPr>
        <p:spPr>
          <a:xfrm>
            <a:off x="9106462" y="2212367"/>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85" name="Picture Placeholder 96">
            <a:extLst>
              <a:ext uri="{FF2B5EF4-FFF2-40B4-BE49-F238E27FC236}">
                <a16:creationId xmlns:a16="http://schemas.microsoft.com/office/drawing/2014/main" id="{35FA00DC-0DE0-96B1-C7B7-F45DB8335CDB}"/>
              </a:ext>
            </a:extLst>
          </p:cNvPr>
          <p:cNvSpPr>
            <a:spLocks noGrp="1"/>
          </p:cNvSpPr>
          <p:nvPr>
            <p:ph type="pic" sz="quarter" idx="60" hasCustomPrompt="1"/>
          </p:nvPr>
        </p:nvSpPr>
        <p:spPr>
          <a:xfrm>
            <a:off x="3225799" y="2525448"/>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186" name="Text Placeholder 5">
            <a:extLst>
              <a:ext uri="{FF2B5EF4-FFF2-40B4-BE49-F238E27FC236}">
                <a16:creationId xmlns:a16="http://schemas.microsoft.com/office/drawing/2014/main" id="{BE4AFC06-39CD-C8B1-3AE0-5EC6BA91A93A}"/>
              </a:ext>
            </a:extLst>
          </p:cNvPr>
          <p:cNvSpPr>
            <a:spLocks noGrp="1"/>
          </p:cNvSpPr>
          <p:nvPr>
            <p:ph type="body" sz="quarter" idx="31" hasCustomPrompt="1"/>
          </p:nvPr>
        </p:nvSpPr>
        <p:spPr>
          <a:xfrm>
            <a:off x="3225800" y="2607652"/>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87" name="Text Placeholder 5">
            <a:extLst>
              <a:ext uri="{FF2B5EF4-FFF2-40B4-BE49-F238E27FC236}">
                <a16:creationId xmlns:a16="http://schemas.microsoft.com/office/drawing/2014/main" id="{626B338C-7172-C0D7-9039-86A9DE0F1FA0}"/>
              </a:ext>
            </a:extLst>
          </p:cNvPr>
          <p:cNvSpPr>
            <a:spLocks noGrp="1"/>
          </p:cNvSpPr>
          <p:nvPr>
            <p:ph type="body" sz="quarter" idx="32"/>
          </p:nvPr>
        </p:nvSpPr>
        <p:spPr>
          <a:xfrm>
            <a:off x="4644000" y="2607652"/>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zh-CN" altLang="en-US"/>
              <a:t>单击此处编辑母版文本样式</a:t>
            </a:r>
          </a:p>
        </p:txBody>
      </p:sp>
      <p:sp>
        <p:nvSpPr>
          <p:cNvPr id="188" name="Text Placeholder 5">
            <a:extLst>
              <a:ext uri="{FF2B5EF4-FFF2-40B4-BE49-F238E27FC236}">
                <a16:creationId xmlns:a16="http://schemas.microsoft.com/office/drawing/2014/main" id="{F53E4D8E-1408-3646-C31B-01AB5D69F9EE}"/>
              </a:ext>
            </a:extLst>
          </p:cNvPr>
          <p:cNvSpPr>
            <a:spLocks noGrp="1"/>
          </p:cNvSpPr>
          <p:nvPr>
            <p:ph type="body" sz="quarter" idx="33" hasCustomPrompt="1"/>
          </p:nvPr>
        </p:nvSpPr>
        <p:spPr>
          <a:xfrm>
            <a:off x="9106462" y="2607652"/>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89" name="Picture Placeholder 97">
            <a:extLst>
              <a:ext uri="{FF2B5EF4-FFF2-40B4-BE49-F238E27FC236}">
                <a16:creationId xmlns:a16="http://schemas.microsoft.com/office/drawing/2014/main" id="{E48216AF-0F70-8F6D-3261-AB2C4BA6E6DD}"/>
              </a:ext>
            </a:extLst>
          </p:cNvPr>
          <p:cNvSpPr>
            <a:spLocks noGrp="1"/>
          </p:cNvSpPr>
          <p:nvPr>
            <p:ph type="pic" sz="quarter" idx="61" hasCustomPrompt="1"/>
          </p:nvPr>
        </p:nvSpPr>
        <p:spPr>
          <a:xfrm>
            <a:off x="3225799" y="2919586"/>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190" name="Text Placeholder 5">
            <a:extLst>
              <a:ext uri="{FF2B5EF4-FFF2-40B4-BE49-F238E27FC236}">
                <a16:creationId xmlns:a16="http://schemas.microsoft.com/office/drawing/2014/main" id="{ACC59BB8-BBFA-7099-D2F9-58BFCAF10734}"/>
              </a:ext>
            </a:extLst>
          </p:cNvPr>
          <p:cNvSpPr>
            <a:spLocks noGrp="1"/>
          </p:cNvSpPr>
          <p:nvPr>
            <p:ph type="body" sz="quarter" idx="34" hasCustomPrompt="1"/>
          </p:nvPr>
        </p:nvSpPr>
        <p:spPr>
          <a:xfrm>
            <a:off x="3225800" y="3002937"/>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91" name="Text Placeholder 5">
            <a:extLst>
              <a:ext uri="{FF2B5EF4-FFF2-40B4-BE49-F238E27FC236}">
                <a16:creationId xmlns:a16="http://schemas.microsoft.com/office/drawing/2014/main" id="{CACBCBB1-0D34-45F6-E211-B0C865D3FF9F}"/>
              </a:ext>
            </a:extLst>
          </p:cNvPr>
          <p:cNvSpPr>
            <a:spLocks noGrp="1"/>
          </p:cNvSpPr>
          <p:nvPr>
            <p:ph type="body" sz="quarter" idx="35"/>
          </p:nvPr>
        </p:nvSpPr>
        <p:spPr>
          <a:xfrm>
            <a:off x="4644000" y="3002937"/>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zh-CN" altLang="en-US"/>
              <a:t>单击此处编辑母版文本样式</a:t>
            </a:r>
          </a:p>
        </p:txBody>
      </p:sp>
      <p:sp>
        <p:nvSpPr>
          <p:cNvPr id="192" name="Text Placeholder 5">
            <a:extLst>
              <a:ext uri="{FF2B5EF4-FFF2-40B4-BE49-F238E27FC236}">
                <a16:creationId xmlns:a16="http://schemas.microsoft.com/office/drawing/2014/main" id="{AA85DA3F-ECA7-C004-3370-0301B640466D}"/>
              </a:ext>
            </a:extLst>
          </p:cNvPr>
          <p:cNvSpPr>
            <a:spLocks noGrp="1"/>
          </p:cNvSpPr>
          <p:nvPr>
            <p:ph type="body" sz="quarter" idx="36" hasCustomPrompt="1"/>
          </p:nvPr>
        </p:nvSpPr>
        <p:spPr>
          <a:xfrm>
            <a:off x="9106462" y="3002937"/>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93" name="Picture Placeholder 98">
            <a:extLst>
              <a:ext uri="{FF2B5EF4-FFF2-40B4-BE49-F238E27FC236}">
                <a16:creationId xmlns:a16="http://schemas.microsoft.com/office/drawing/2014/main" id="{6E85E349-99D2-61C9-CD7D-58A15220FF0A}"/>
              </a:ext>
            </a:extLst>
          </p:cNvPr>
          <p:cNvSpPr>
            <a:spLocks noGrp="1"/>
          </p:cNvSpPr>
          <p:nvPr>
            <p:ph type="pic" sz="quarter" idx="62" hasCustomPrompt="1"/>
          </p:nvPr>
        </p:nvSpPr>
        <p:spPr>
          <a:xfrm>
            <a:off x="3225799" y="3313724"/>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194" name="Text Placeholder 5">
            <a:extLst>
              <a:ext uri="{FF2B5EF4-FFF2-40B4-BE49-F238E27FC236}">
                <a16:creationId xmlns:a16="http://schemas.microsoft.com/office/drawing/2014/main" id="{D00E7ED3-4AED-567D-4156-2F6D199ADA79}"/>
              </a:ext>
            </a:extLst>
          </p:cNvPr>
          <p:cNvSpPr>
            <a:spLocks noGrp="1"/>
          </p:cNvSpPr>
          <p:nvPr>
            <p:ph type="body" sz="quarter" idx="37" hasCustomPrompt="1"/>
          </p:nvPr>
        </p:nvSpPr>
        <p:spPr>
          <a:xfrm>
            <a:off x="3225800" y="3398222"/>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95" name="Text Placeholder 5">
            <a:extLst>
              <a:ext uri="{FF2B5EF4-FFF2-40B4-BE49-F238E27FC236}">
                <a16:creationId xmlns:a16="http://schemas.microsoft.com/office/drawing/2014/main" id="{C8FC743C-8275-AD1C-7797-8C970CCC8D44}"/>
              </a:ext>
            </a:extLst>
          </p:cNvPr>
          <p:cNvSpPr>
            <a:spLocks noGrp="1"/>
          </p:cNvSpPr>
          <p:nvPr>
            <p:ph type="body" sz="quarter" idx="38"/>
          </p:nvPr>
        </p:nvSpPr>
        <p:spPr>
          <a:xfrm>
            <a:off x="4644000" y="3398222"/>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zh-CN" altLang="en-US"/>
              <a:t>单击此处编辑母版文本样式</a:t>
            </a:r>
          </a:p>
        </p:txBody>
      </p:sp>
      <p:sp>
        <p:nvSpPr>
          <p:cNvPr id="196" name="Text Placeholder 5">
            <a:extLst>
              <a:ext uri="{FF2B5EF4-FFF2-40B4-BE49-F238E27FC236}">
                <a16:creationId xmlns:a16="http://schemas.microsoft.com/office/drawing/2014/main" id="{AF7A0554-FA98-7604-80E6-32CB2E2929A8}"/>
              </a:ext>
            </a:extLst>
          </p:cNvPr>
          <p:cNvSpPr>
            <a:spLocks noGrp="1"/>
          </p:cNvSpPr>
          <p:nvPr>
            <p:ph type="body" sz="quarter" idx="39" hasCustomPrompt="1"/>
          </p:nvPr>
        </p:nvSpPr>
        <p:spPr>
          <a:xfrm>
            <a:off x="9106462" y="3398222"/>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97" name="Picture Placeholder 99">
            <a:extLst>
              <a:ext uri="{FF2B5EF4-FFF2-40B4-BE49-F238E27FC236}">
                <a16:creationId xmlns:a16="http://schemas.microsoft.com/office/drawing/2014/main" id="{F876AA1D-D562-3A3B-A233-9C23797C9A2F}"/>
              </a:ext>
            </a:extLst>
          </p:cNvPr>
          <p:cNvSpPr>
            <a:spLocks noGrp="1"/>
          </p:cNvSpPr>
          <p:nvPr>
            <p:ph type="pic" sz="quarter" idx="63" hasCustomPrompt="1"/>
          </p:nvPr>
        </p:nvSpPr>
        <p:spPr>
          <a:xfrm>
            <a:off x="3225799" y="3715744"/>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198" name="Text Placeholder 5">
            <a:extLst>
              <a:ext uri="{FF2B5EF4-FFF2-40B4-BE49-F238E27FC236}">
                <a16:creationId xmlns:a16="http://schemas.microsoft.com/office/drawing/2014/main" id="{4AAF2467-86C6-2863-72E4-0D257BDEFEC8}"/>
              </a:ext>
            </a:extLst>
          </p:cNvPr>
          <p:cNvSpPr>
            <a:spLocks noGrp="1"/>
          </p:cNvSpPr>
          <p:nvPr>
            <p:ph type="body" sz="quarter" idx="40" hasCustomPrompt="1"/>
          </p:nvPr>
        </p:nvSpPr>
        <p:spPr>
          <a:xfrm>
            <a:off x="3225800" y="3793507"/>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99" name="Text Placeholder 5">
            <a:extLst>
              <a:ext uri="{FF2B5EF4-FFF2-40B4-BE49-F238E27FC236}">
                <a16:creationId xmlns:a16="http://schemas.microsoft.com/office/drawing/2014/main" id="{D10BCF98-803A-D107-CF63-05EE97CCF877}"/>
              </a:ext>
            </a:extLst>
          </p:cNvPr>
          <p:cNvSpPr>
            <a:spLocks noGrp="1"/>
          </p:cNvSpPr>
          <p:nvPr>
            <p:ph type="body" sz="quarter" idx="41"/>
          </p:nvPr>
        </p:nvSpPr>
        <p:spPr>
          <a:xfrm>
            <a:off x="4644000" y="3793507"/>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zh-CN" altLang="en-US"/>
              <a:t>单击此处编辑母版文本样式</a:t>
            </a:r>
          </a:p>
        </p:txBody>
      </p:sp>
      <p:sp>
        <p:nvSpPr>
          <p:cNvPr id="200" name="Text Placeholder 5">
            <a:extLst>
              <a:ext uri="{FF2B5EF4-FFF2-40B4-BE49-F238E27FC236}">
                <a16:creationId xmlns:a16="http://schemas.microsoft.com/office/drawing/2014/main" id="{66FCBF15-2260-D8AF-4A2A-454AC1F084CE}"/>
              </a:ext>
            </a:extLst>
          </p:cNvPr>
          <p:cNvSpPr>
            <a:spLocks noGrp="1"/>
          </p:cNvSpPr>
          <p:nvPr>
            <p:ph type="body" sz="quarter" idx="42" hasCustomPrompt="1"/>
          </p:nvPr>
        </p:nvSpPr>
        <p:spPr>
          <a:xfrm>
            <a:off x="9106462" y="3793507"/>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201" name="Picture Placeholder 100">
            <a:extLst>
              <a:ext uri="{FF2B5EF4-FFF2-40B4-BE49-F238E27FC236}">
                <a16:creationId xmlns:a16="http://schemas.microsoft.com/office/drawing/2014/main" id="{9AA08646-E580-C6E2-B08A-A52294AA1302}"/>
              </a:ext>
            </a:extLst>
          </p:cNvPr>
          <p:cNvSpPr>
            <a:spLocks noGrp="1"/>
          </p:cNvSpPr>
          <p:nvPr>
            <p:ph type="pic" sz="quarter" idx="64" hasCustomPrompt="1"/>
          </p:nvPr>
        </p:nvSpPr>
        <p:spPr>
          <a:xfrm>
            <a:off x="3225799" y="410199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202" name="Text Placeholder 5">
            <a:extLst>
              <a:ext uri="{FF2B5EF4-FFF2-40B4-BE49-F238E27FC236}">
                <a16:creationId xmlns:a16="http://schemas.microsoft.com/office/drawing/2014/main" id="{F1F57BF8-4802-2C8C-0E82-371529BD021B}"/>
              </a:ext>
            </a:extLst>
          </p:cNvPr>
          <p:cNvSpPr>
            <a:spLocks noGrp="1"/>
          </p:cNvSpPr>
          <p:nvPr>
            <p:ph type="body" sz="quarter" idx="43" hasCustomPrompt="1"/>
          </p:nvPr>
        </p:nvSpPr>
        <p:spPr>
          <a:xfrm>
            <a:off x="3225800" y="4185778"/>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203" name="Text Placeholder 5">
            <a:extLst>
              <a:ext uri="{FF2B5EF4-FFF2-40B4-BE49-F238E27FC236}">
                <a16:creationId xmlns:a16="http://schemas.microsoft.com/office/drawing/2014/main" id="{04A64809-4725-EAB5-6238-C72786840E58}"/>
              </a:ext>
            </a:extLst>
          </p:cNvPr>
          <p:cNvSpPr>
            <a:spLocks noGrp="1"/>
          </p:cNvSpPr>
          <p:nvPr>
            <p:ph type="body" sz="quarter" idx="44"/>
          </p:nvPr>
        </p:nvSpPr>
        <p:spPr>
          <a:xfrm>
            <a:off x="4644000" y="4185778"/>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zh-CN" altLang="en-US"/>
              <a:t>单击此处编辑母版文本样式</a:t>
            </a:r>
          </a:p>
        </p:txBody>
      </p:sp>
      <p:sp>
        <p:nvSpPr>
          <p:cNvPr id="204" name="Text Placeholder 5">
            <a:extLst>
              <a:ext uri="{FF2B5EF4-FFF2-40B4-BE49-F238E27FC236}">
                <a16:creationId xmlns:a16="http://schemas.microsoft.com/office/drawing/2014/main" id="{4CB9BFE3-9BB1-5FD8-09B8-E24BA20F557E}"/>
              </a:ext>
            </a:extLst>
          </p:cNvPr>
          <p:cNvSpPr>
            <a:spLocks noGrp="1"/>
          </p:cNvSpPr>
          <p:nvPr>
            <p:ph type="body" sz="quarter" idx="45" hasCustomPrompt="1"/>
          </p:nvPr>
        </p:nvSpPr>
        <p:spPr>
          <a:xfrm>
            <a:off x="9106462" y="4185778"/>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205" name="Picture Placeholder 101">
            <a:extLst>
              <a:ext uri="{FF2B5EF4-FFF2-40B4-BE49-F238E27FC236}">
                <a16:creationId xmlns:a16="http://schemas.microsoft.com/office/drawing/2014/main" id="{44DB8248-2938-15C7-274A-CA5D91633846}"/>
              </a:ext>
            </a:extLst>
          </p:cNvPr>
          <p:cNvSpPr>
            <a:spLocks noGrp="1"/>
          </p:cNvSpPr>
          <p:nvPr>
            <p:ph type="pic" sz="quarter" idx="65" hasCustomPrompt="1"/>
          </p:nvPr>
        </p:nvSpPr>
        <p:spPr>
          <a:xfrm>
            <a:off x="3225799" y="4496137"/>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206" name="Text Placeholder 5">
            <a:extLst>
              <a:ext uri="{FF2B5EF4-FFF2-40B4-BE49-F238E27FC236}">
                <a16:creationId xmlns:a16="http://schemas.microsoft.com/office/drawing/2014/main" id="{611AE180-E3A1-4890-5ADE-0648958344D8}"/>
              </a:ext>
            </a:extLst>
          </p:cNvPr>
          <p:cNvSpPr>
            <a:spLocks noGrp="1"/>
          </p:cNvSpPr>
          <p:nvPr>
            <p:ph type="body" sz="quarter" idx="46" hasCustomPrompt="1"/>
          </p:nvPr>
        </p:nvSpPr>
        <p:spPr>
          <a:xfrm>
            <a:off x="3225800" y="4578049"/>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207" name="Text Placeholder 5">
            <a:extLst>
              <a:ext uri="{FF2B5EF4-FFF2-40B4-BE49-F238E27FC236}">
                <a16:creationId xmlns:a16="http://schemas.microsoft.com/office/drawing/2014/main" id="{E90EADE4-597A-8C59-D59C-21DE4011EC86}"/>
              </a:ext>
            </a:extLst>
          </p:cNvPr>
          <p:cNvSpPr>
            <a:spLocks noGrp="1"/>
          </p:cNvSpPr>
          <p:nvPr>
            <p:ph type="body" sz="quarter" idx="47"/>
          </p:nvPr>
        </p:nvSpPr>
        <p:spPr>
          <a:xfrm>
            <a:off x="4644000" y="4578049"/>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zh-CN" altLang="en-US"/>
              <a:t>单击此处编辑母版文本样式</a:t>
            </a:r>
          </a:p>
        </p:txBody>
      </p:sp>
      <p:sp>
        <p:nvSpPr>
          <p:cNvPr id="208" name="Text Placeholder 5">
            <a:extLst>
              <a:ext uri="{FF2B5EF4-FFF2-40B4-BE49-F238E27FC236}">
                <a16:creationId xmlns:a16="http://schemas.microsoft.com/office/drawing/2014/main" id="{8988DD51-F3BF-BE97-FF13-DAAFB4A50B04}"/>
              </a:ext>
            </a:extLst>
          </p:cNvPr>
          <p:cNvSpPr>
            <a:spLocks noGrp="1"/>
          </p:cNvSpPr>
          <p:nvPr>
            <p:ph type="body" sz="quarter" idx="48" hasCustomPrompt="1"/>
          </p:nvPr>
        </p:nvSpPr>
        <p:spPr>
          <a:xfrm>
            <a:off x="9106462" y="4578049"/>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209" name="Picture Placeholder 102">
            <a:extLst>
              <a:ext uri="{FF2B5EF4-FFF2-40B4-BE49-F238E27FC236}">
                <a16:creationId xmlns:a16="http://schemas.microsoft.com/office/drawing/2014/main" id="{5DAB147A-0351-E869-E2C9-849967B3E0CC}"/>
              </a:ext>
            </a:extLst>
          </p:cNvPr>
          <p:cNvSpPr>
            <a:spLocks noGrp="1"/>
          </p:cNvSpPr>
          <p:nvPr>
            <p:ph type="pic" sz="quarter" idx="66" hasCustomPrompt="1"/>
          </p:nvPr>
        </p:nvSpPr>
        <p:spPr>
          <a:xfrm>
            <a:off x="3225799" y="4890274"/>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210" name="Text Placeholder 5">
            <a:extLst>
              <a:ext uri="{FF2B5EF4-FFF2-40B4-BE49-F238E27FC236}">
                <a16:creationId xmlns:a16="http://schemas.microsoft.com/office/drawing/2014/main" id="{3A1DC516-9D33-7E76-1881-D60014DC876A}"/>
              </a:ext>
            </a:extLst>
          </p:cNvPr>
          <p:cNvSpPr>
            <a:spLocks noGrp="1"/>
          </p:cNvSpPr>
          <p:nvPr>
            <p:ph type="body" sz="quarter" idx="49" hasCustomPrompt="1"/>
          </p:nvPr>
        </p:nvSpPr>
        <p:spPr>
          <a:xfrm>
            <a:off x="3225800" y="4969019"/>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211" name="Text Placeholder 5">
            <a:extLst>
              <a:ext uri="{FF2B5EF4-FFF2-40B4-BE49-F238E27FC236}">
                <a16:creationId xmlns:a16="http://schemas.microsoft.com/office/drawing/2014/main" id="{50E9B1C4-B2F3-4C78-8518-39911DF5B99E}"/>
              </a:ext>
            </a:extLst>
          </p:cNvPr>
          <p:cNvSpPr>
            <a:spLocks noGrp="1"/>
          </p:cNvSpPr>
          <p:nvPr>
            <p:ph type="body" sz="quarter" idx="50"/>
          </p:nvPr>
        </p:nvSpPr>
        <p:spPr>
          <a:xfrm>
            <a:off x="4644000" y="4969019"/>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zh-CN" altLang="en-US"/>
              <a:t>单击此处编辑母版文本样式</a:t>
            </a:r>
          </a:p>
        </p:txBody>
      </p:sp>
      <p:sp>
        <p:nvSpPr>
          <p:cNvPr id="212" name="Text Placeholder 5">
            <a:extLst>
              <a:ext uri="{FF2B5EF4-FFF2-40B4-BE49-F238E27FC236}">
                <a16:creationId xmlns:a16="http://schemas.microsoft.com/office/drawing/2014/main" id="{BE4B6B57-1237-7AB3-7574-6A37E89A9F5C}"/>
              </a:ext>
            </a:extLst>
          </p:cNvPr>
          <p:cNvSpPr>
            <a:spLocks noGrp="1"/>
          </p:cNvSpPr>
          <p:nvPr>
            <p:ph type="body" sz="quarter" idx="51" hasCustomPrompt="1"/>
          </p:nvPr>
        </p:nvSpPr>
        <p:spPr>
          <a:xfrm>
            <a:off x="9106462" y="4969019"/>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213" name="Picture Placeholder 103">
            <a:extLst>
              <a:ext uri="{FF2B5EF4-FFF2-40B4-BE49-F238E27FC236}">
                <a16:creationId xmlns:a16="http://schemas.microsoft.com/office/drawing/2014/main" id="{469187E8-1DE2-B301-6DE0-4B9CEA368C43}"/>
              </a:ext>
            </a:extLst>
          </p:cNvPr>
          <p:cNvSpPr>
            <a:spLocks noGrp="1"/>
          </p:cNvSpPr>
          <p:nvPr>
            <p:ph type="pic" sz="quarter" idx="67" hasCustomPrompt="1"/>
          </p:nvPr>
        </p:nvSpPr>
        <p:spPr>
          <a:xfrm>
            <a:off x="3225799" y="527652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214" name="Text Placeholder 5">
            <a:extLst>
              <a:ext uri="{FF2B5EF4-FFF2-40B4-BE49-F238E27FC236}">
                <a16:creationId xmlns:a16="http://schemas.microsoft.com/office/drawing/2014/main" id="{C07B97CB-6CF8-744C-72E9-403869FF62FA}"/>
              </a:ext>
            </a:extLst>
          </p:cNvPr>
          <p:cNvSpPr>
            <a:spLocks noGrp="1"/>
          </p:cNvSpPr>
          <p:nvPr>
            <p:ph type="body" sz="quarter" idx="52" hasCustomPrompt="1"/>
          </p:nvPr>
        </p:nvSpPr>
        <p:spPr>
          <a:xfrm>
            <a:off x="3225800" y="5359989"/>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215" name="Text Placeholder 5">
            <a:extLst>
              <a:ext uri="{FF2B5EF4-FFF2-40B4-BE49-F238E27FC236}">
                <a16:creationId xmlns:a16="http://schemas.microsoft.com/office/drawing/2014/main" id="{D7694E3D-9EAE-7860-514C-D3E6A6066D79}"/>
              </a:ext>
            </a:extLst>
          </p:cNvPr>
          <p:cNvSpPr>
            <a:spLocks noGrp="1"/>
          </p:cNvSpPr>
          <p:nvPr>
            <p:ph type="body" sz="quarter" idx="53"/>
          </p:nvPr>
        </p:nvSpPr>
        <p:spPr>
          <a:xfrm>
            <a:off x="4644000" y="5359989"/>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zh-CN" altLang="en-US"/>
              <a:t>单击此处编辑母版文本样式</a:t>
            </a:r>
          </a:p>
        </p:txBody>
      </p:sp>
      <p:sp>
        <p:nvSpPr>
          <p:cNvPr id="216" name="Text Placeholder 5">
            <a:extLst>
              <a:ext uri="{FF2B5EF4-FFF2-40B4-BE49-F238E27FC236}">
                <a16:creationId xmlns:a16="http://schemas.microsoft.com/office/drawing/2014/main" id="{673631ED-FCF1-AA91-EA4E-8BD53A7ED357}"/>
              </a:ext>
            </a:extLst>
          </p:cNvPr>
          <p:cNvSpPr>
            <a:spLocks noGrp="1"/>
          </p:cNvSpPr>
          <p:nvPr>
            <p:ph type="body" sz="quarter" idx="54" hasCustomPrompt="1"/>
          </p:nvPr>
        </p:nvSpPr>
        <p:spPr>
          <a:xfrm>
            <a:off x="9106462" y="5359989"/>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Footer Placeholder 4">
            <a:extLst>
              <a:ext uri="{FF2B5EF4-FFF2-40B4-BE49-F238E27FC236}">
                <a16:creationId xmlns:a16="http://schemas.microsoft.com/office/drawing/2014/main" id="{3BF28211-1086-A258-4B97-2558FD5CBF7B}"/>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194787687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C789E9C-6550-50F6-2FFD-F534146F3D6F}"/>
              </a:ext>
            </a:extLst>
          </p:cNvPr>
          <p:cNvSpPr>
            <a:spLocks noGrp="1"/>
          </p:cNvSpPr>
          <p:nvPr>
            <p:ph type="body" sz="quarter" idx="12"/>
          </p:nvPr>
        </p:nvSpPr>
        <p:spPr>
          <a:xfrm>
            <a:off x="287337" y="269882"/>
            <a:ext cx="11615278" cy="5495918"/>
          </a:xfrm>
        </p:spPr>
        <p:txBody>
          <a:bodyPr/>
          <a:lstStyle>
            <a:lvl1pPr>
              <a:lnSpc>
                <a:spcPct val="80000"/>
              </a:lnSpc>
              <a:defRPr sz="7400" b="0" i="0">
                <a:solidFill>
                  <a:schemeClr val="accent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4" name="Slide Number Placeholder 3">
            <a:extLst>
              <a:ext uri="{FF2B5EF4-FFF2-40B4-BE49-F238E27FC236}">
                <a16:creationId xmlns:a16="http://schemas.microsoft.com/office/drawing/2014/main" id="{A7336B88-A821-CF31-A937-209EE62E0A19}"/>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5" name="Footer Placeholder 4">
            <a:extLst>
              <a:ext uri="{FF2B5EF4-FFF2-40B4-BE49-F238E27FC236}">
                <a16:creationId xmlns:a16="http://schemas.microsoft.com/office/drawing/2014/main" id="{09807596-CD4E-AD17-0A30-209981645369}"/>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28994604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p:cSld name="Key Numbers">
    <p:bg>
      <p:bgPr>
        <a:solidFill>
          <a:schemeClr val="accent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429BCB1-0FF2-B8E0-831A-4C2A0BEF189C}"/>
              </a:ext>
            </a:extLst>
          </p:cNvPr>
          <p:cNvSpPr>
            <a:spLocks noGrp="1"/>
          </p:cNvSpPr>
          <p:nvPr>
            <p:ph type="title"/>
          </p:nvPr>
        </p:nvSpPr>
        <p:spPr>
          <a:xfrm>
            <a:off x="288303" y="273600"/>
            <a:ext cx="1811959" cy="392415"/>
          </a:xfrm>
        </p:spPr>
        <p:txBody>
          <a:bodyPr/>
          <a:lstStyle>
            <a:lvl1pPr>
              <a:lnSpc>
                <a:spcPct val="85000"/>
              </a:lnSpc>
              <a:defRPr sz="1500" b="1" i="0">
                <a:solidFill>
                  <a:schemeClr val="bg1"/>
                </a:solidFill>
                <a:latin typeface="+mn-lt"/>
              </a:defRPr>
            </a:lvl1pPr>
          </a:lstStyle>
          <a:p>
            <a:r>
              <a:rPr lang="zh-CN" altLang="en-US"/>
              <a:t>单击此处编辑母版标题样式</a:t>
            </a:r>
            <a:endParaRPr lang="en-GB"/>
          </a:p>
        </p:txBody>
      </p:sp>
      <p:sp>
        <p:nvSpPr>
          <p:cNvPr id="8" name="Picture Placeholder 91">
            <a:extLst>
              <a:ext uri="{FF2B5EF4-FFF2-40B4-BE49-F238E27FC236}">
                <a16:creationId xmlns:a16="http://schemas.microsoft.com/office/drawing/2014/main" id="{1B8E6F68-BB92-3741-A271-A507454209A8}"/>
              </a:ext>
            </a:extLst>
          </p:cNvPr>
          <p:cNvSpPr>
            <a:spLocks noGrp="1"/>
          </p:cNvSpPr>
          <p:nvPr>
            <p:ph type="pic" sz="quarter" idx="55" hasCustomPrompt="1"/>
          </p:nvPr>
        </p:nvSpPr>
        <p:spPr>
          <a:xfrm>
            <a:off x="3225799" y="291037"/>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00"/>
            </a:lvl1pPr>
          </a:lstStyle>
          <a:p>
            <a:pPr lvl="8"/>
            <a:r>
              <a:rPr lang="en-GB"/>
              <a:t> </a:t>
            </a:r>
          </a:p>
        </p:txBody>
      </p:sp>
      <p:sp>
        <p:nvSpPr>
          <p:cNvPr id="15" name="Text Placeholder 14">
            <a:extLst>
              <a:ext uri="{FF2B5EF4-FFF2-40B4-BE49-F238E27FC236}">
                <a16:creationId xmlns:a16="http://schemas.microsoft.com/office/drawing/2014/main" id="{63F40DC3-5F4F-C397-5C6A-8A62BC1F78B1}"/>
              </a:ext>
            </a:extLst>
          </p:cNvPr>
          <p:cNvSpPr>
            <a:spLocks noGrp="1"/>
          </p:cNvSpPr>
          <p:nvPr>
            <p:ph type="body" sz="quarter" idx="60"/>
          </p:nvPr>
        </p:nvSpPr>
        <p:spPr>
          <a:xfrm>
            <a:off x="8124824" y="527050"/>
            <a:ext cx="3775075" cy="14986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a:t>单击此处编辑母版文本样式</a:t>
            </a:r>
          </a:p>
          <a:p>
            <a:pPr lvl="1"/>
            <a:r>
              <a:rPr lang="zh-CN" altLang="en-US"/>
              <a:t>二级</a:t>
            </a:r>
          </a:p>
          <a:p>
            <a:pPr lvl="2"/>
            <a:r>
              <a:rPr lang="zh-CN" altLang="en-US"/>
              <a:t>三级</a:t>
            </a:r>
          </a:p>
        </p:txBody>
      </p:sp>
      <p:sp>
        <p:nvSpPr>
          <p:cNvPr id="14" name="Picture Placeholder 91">
            <a:extLst>
              <a:ext uri="{FF2B5EF4-FFF2-40B4-BE49-F238E27FC236}">
                <a16:creationId xmlns:a16="http://schemas.microsoft.com/office/drawing/2014/main" id="{A11547F3-AA53-B6CF-CC36-9B7EBC562F8C}"/>
              </a:ext>
            </a:extLst>
          </p:cNvPr>
          <p:cNvSpPr>
            <a:spLocks noGrp="1"/>
          </p:cNvSpPr>
          <p:nvPr>
            <p:ph type="pic" sz="quarter" idx="67" hasCustomPrompt="1"/>
          </p:nvPr>
        </p:nvSpPr>
        <p:spPr>
          <a:xfrm>
            <a:off x="3225799" y="2282397"/>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00"/>
            </a:lvl1pPr>
          </a:lstStyle>
          <a:p>
            <a:pPr lvl="8"/>
            <a:r>
              <a:rPr lang="en-GB"/>
              <a:t> </a:t>
            </a:r>
          </a:p>
        </p:txBody>
      </p:sp>
      <p:sp>
        <p:nvSpPr>
          <p:cNvPr id="17" name="Text Placeholder 14">
            <a:extLst>
              <a:ext uri="{FF2B5EF4-FFF2-40B4-BE49-F238E27FC236}">
                <a16:creationId xmlns:a16="http://schemas.microsoft.com/office/drawing/2014/main" id="{BBE84450-4088-E9E0-0359-34BD23A3925E}"/>
              </a:ext>
            </a:extLst>
          </p:cNvPr>
          <p:cNvSpPr>
            <a:spLocks noGrp="1"/>
          </p:cNvSpPr>
          <p:nvPr>
            <p:ph type="body" sz="quarter" idx="69"/>
          </p:nvPr>
        </p:nvSpPr>
        <p:spPr>
          <a:xfrm>
            <a:off x="8124824" y="2518410"/>
            <a:ext cx="3775075" cy="14986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a:t>单击此处编辑母版文本样式</a:t>
            </a:r>
          </a:p>
          <a:p>
            <a:pPr lvl="1"/>
            <a:r>
              <a:rPr lang="zh-CN" altLang="en-US"/>
              <a:t>二级</a:t>
            </a:r>
          </a:p>
          <a:p>
            <a:pPr lvl="2"/>
            <a:r>
              <a:rPr lang="zh-CN" altLang="en-US"/>
              <a:t>三级</a:t>
            </a:r>
          </a:p>
        </p:txBody>
      </p:sp>
      <p:sp>
        <p:nvSpPr>
          <p:cNvPr id="18" name="Picture Placeholder 91">
            <a:extLst>
              <a:ext uri="{FF2B5EF4-FFF2-40B4-BE49-F238E27FC236}">
                <a16:creationId xmlns:a16="http://schemas.microsoft.com/office/drawing/2014/main" id="{62C4BF17-AF9C-A4E5-F1BF-718B90E42E20}"/>
              </a:ext>
            </a:extLst>
          </p:cNvPr>
          <p:cNvSpPr>
            <a:spLocks noGrp="1"/>
          </p:cNvSpPr>
          <p:nvPr>
            <p:ph type="pic" sz="quarter" idx="70" hasCustomPrompt="1"/>
          </p:nvPr>
        </p:nvSpPr>
        <p:spPr>
          <a:xfrm>
            <a:off x="3225799" y="428646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00"/>
            </a:lvl1pPr>
          </a:lstStyle>
          <a:p>
            <a:pPr lvl="8"/>
            <a:r>
              <a:rPr lang="en-GB"/>
              <a:t> </a:t>
            </a:r>
          </a:p>
        </p:txBody>
      </p:sp>
      <p:sp>
        <p:nvSpPr>
          <p:cNvPr id="22" name="Text Placeholder 14">
            <a:extLst>
              <a:ext uri="{FF2B5EF4-FFF2-40B4-BE49-F238E27FC236}">
                <a16:creationId xmlns:a16="http://schemas.microsoft.com/office/drawing/2014/main" id="{F33A7DDF-B16D-DE86-59A6-3E4EE10AF950}"/>
              </a:ext>
            </a:extLst>
          </p:cNvPr>
          <p:cNvSpPr>
            <a:spLocks noGrp="1"/>
          </p:cNvSpPr>
          <p:nvPr>
            <p:ph type="body" sz="quarter" idx="72"/>
          </p:nvPr>
        </p:nvSpPr>
        <p:spPr>
          <a:xfrm>
            <a:off x="8124824" y="4522482"/>
            <a:ext cx="3775075" cy="14986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a:t>单击此处编辑母版文本样式</a:t>
            </a:r>
          </a:p>
          <a:p>
            <a:pPr lvl="1"/>
            <a:r>
              <a:rPr lang="zh-CN" altLang="en-US"/>
              <a:t>二级</a:t>
            </a:r>
          </a:p>
          <a:p>
            <a:pPr lvl="2"/>
            <a:r>
              <a:rPr lang="zh-CN" altLang="en-US"/>
              <a:t>三级</a:t>
            </a:r>
          </a:p>
        </p:txBody>
      </p:sp>
      <p:sp>
        <p:nvSpPr>
          <p:cNvPr id="23" name="Picture Placeholder 91">
            <a:extLst>
              <a:ext uri="{FF2B5EF4-FFF2-40B4-BE49-F238E27FC236}">
                <a16:creationId xmlns:a16="http://schemas.microsoft.com/office/drawing/2014/main" id="{485FA38D-16CA-1001-19BE-594DCF6B57AA}"/>
              </a:ext>
            </a:extLst>
          </p:cNvPr>
          <p:cNvSpPr>
            <a:spLocks noGrp="1"/>
          </p:cNvSpPr>
          <p:nvPr>
            <p:ph type="pic" sz="quarter" idx="73" hasCustomPrompt="1"/>
          </p:nvPr>
        </p:nvSpPr>
        <p:spPr>
          <a:xfrm>
            <a:off x="3225799" y="628798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00"/>
            </a:lvl1pPr>
          </a:lstStyle>
          <a:p>
            <a:pPr lvl="8"/>
            <a:r>
              <a:rPr lang="en-GB"/>
              <a:t> </a:t>
            </a:r>
          </a:p>
        </p:txBody>
      </p:sp>
      <p:sp>
        <p:nvSpPr>
          <p:cNvPr id="27" name="Text Placeholder 26">
            <a:extLst>
              <a:ext uri="{FF2B5EF4-FFF2-40B4-BE49-F238E27FC236}">
                <a16:creationId xmlns:a16="http://schemas.microsoft.com/office/drawing/2014/main" id="{8A5E5282-C048-99E1-5F1B-6B9961066184}"/>
              </a:ext>
            </a:extLst>
          </p:cNvPr>
          <p:cNvSpPr>
            <a:spLocks noGrp="1"/>
          </p:cNvSpPr>
          <p:nvPr>
            <p:ph type="body" sz="quarter" idx="74" hasCustomPrompt="1"/>
          </p:nvPr>
        </p:nvSpPr>
        <p:spPr>
          <a:xfrm>
            <a:off x="3225800" y="111125"/>
            <a:ext cx="3776663" cy="1789113"/>
          </a:xfrm>
        </p:spPr>
        <p:txBody>
          <a:bodyPr/>
          <a:lstStyle>
            <a:lvl1pPr>
              <a:defRPr sz="11000">
                <a:solidFill>
                  <a:schemeClr val="bg1"/>
                </a:solidFill>
                <a:latin typeface="+mj-lt"/>
              </a:defRPr>
            </a:lvl1pPr>
          </a:lstStyle>
          <a:p>
            <a:pPr lvl="0"/>
            <a:r>
              <a:rPr lang="en-GB"/>
              <a:t>00</a:t>
            </a:r>
          </a:p>
        </p:txBody>
      </p:sp>
      <p:sp>
        <p:nvSpPr>
          <p:cNvPr id="28" name="Text Placeholder 26">
            <a:extLst>
              <a:ext uri="{FF2B5EF4-FFF2-40B4-BE49-F238E27FC236}">
                <a16:creationId xmlns:a16="http://schemas.microsoft.com/office/drawing/2014/main" id="{CBBE869E-D65F-3F80-8F9D-6DF327B97D4B}"/>
              </a:ext>
            </a:extLst>
          </p:cNvPr>
          <p:cNvSpPr>
            <a:spLocks noGrp="1"/>
          </p:cNvSpPr>
          <p:nvPr>
            <p:ph type="body" sz="quarter" idx="75" hasCustomPrompt="1"/>
          </p:nvPr>
        </p:nvSpPr>
        <p:spPr>
          <a:xfrm>
            <a:off x="3225800" y="2102616"/>
            <a:ext cx="3776663" cy="1789113"/>
          </a:xfrm>
        </p:spPr>
        <p:txBody>
          <a:bodyPr/>
          <a:lstStyle>
            <a:lvl1pPr>
              <a:defRPr sz="11000">
                <a:solidFill>
                  <a:schemeClr val="bg1"/>
                </a:solidFill>
                <a:latin typeface="+mj-lt"/>
              </a:defRPr>
            </a:lvl1pPr>
          </a:lstStyle>
          <a:p>
            <a:pPr lvl="0"/>
            <a:r>
              <a:rPr lang="en-GB"/>
              <a:t>00</a:t>
            </a:r>
          </a:p>
        </p:txBody>
      </p:sp>
      <p:sp>
        <p:nvSpPr>
          <p:cNvPr id="29" name="Text Placeholder 26">
            <a:extLst>
              <a:ext uri="{FF2B5EF4-FFF2-40B4-BE49-F238E27FC236}">
                <a16:creationId xmlns:a16="http://schemas.microsoft.com/office/drawing/2014/main" id="{BAA28741-F83E-3E15-A9FB-99668766D898}"/>
              </a:ext>
            </a:extLst>
          </p:cNvPr>
          <p:cNvSpPr>
            <a:spLocks noGrp="1"/>
          </p:cNvSpPr>
          <p:nvPr>
            <p:ph type="body" sz="quarter" idx="76" hasCustomPrompt="1"/>
          </p:nvPr>
        </p:nvSpPr>
        <p:spPr>
          <a:xfrm>
            <a:off x="3225800" y="4106128"/>
            <a:ext cx="3776663" cy="1789113"/>
          </a:xfrm>
        </p:spPr>
        <p:txBody>
          <a:bodyPr/>
          <a:lstStyle>
            <a:lvl1pPr>
              <a:defRPr sz="11000">
                <a:solidFill>
                  <a:schemeClr val="bg1"/>
                </a:solidFill>
                <a:latin typeface="+mj-lt"/>
              </a:defRPr>
            </a:lvl1pPr>
          </a:lstStyle>
          <a:p>
            <a:pPr lvl="0"/>
            <a:r>
              <a:rPr lang="en-GB"/>
              <a:t>00</a:t>
            </a:r>
          </a:p>
        </p:txBody>
      </p:sp>
      <p:sp>
        <p:nvSpPr>
          <p:cNvPr id="6" name="Footer Placeholder 4">
            <a:extLst>
              <a:ext uri="{FF2B5EF4-FFF2-40B4-BE49-F238E27FC236}">
                <a16:creationId xmlns:a16="http://schemas.microsoft.com/office/drawing/2014/main" id="{043DFA16-4809-A367-8DA1-8599EDC67F50}"/>
              </a:ext>
            </a:extLst>
          </p:cNvPr>
          <p:cNvSpPr>
            <a:spLocks noGrp="1"/>
          </p:cNvSpPr>
          <p:nvPr>
            <p:ph type="ftr" sz="quarter" idx="3"/>
          </p:nvPr>
        </p:nvSpPr>
        <p:spPr>
          <a:xfrm>
            <a:off x="288259" y="5966467"/>
            <a:ext cx="279466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bg1"/>
                </a:solidFill>
                <a:latin typeface="+mn-lt"/>
              </a:defRPr>
            </a:lvl1pPr>
          </a:lstStyle>
          <a:p>
            <a:pPr>
              <a:spcBef>
                <a:spcPts val="0"/>
              </a:spcBef>
              <a:spcAft>
                <a:spcPts val="300"/>
              </a:spcAft>
            </a:pPr>
            <a:r>
              <a:rPr lang="en-US"/>
              <a:t>Job Aid and Guidance Document still under review.</a:t>
            </a:r>
          </a:p>
        </p:txBody>
      </p:sp>
      <p:sp>
        <p:nvSpPr>
          <p:cNvPr id="4" name="Slide Number Placeholder 5">
            <a:extLst>
              <a:ext uri="{FF2B5EF4-FFF2-40B4-BE49-F238E27FC236}">
                <a16:creationId xmlns:a16="http://schemas.microsoft.com/office/drawing/2014/main" id="{2B1A9DEC-1972-000C-297E-FD62059EE11F}"/>
              </a:ext>
            </a:extLst>
          </p:cNvPr>
          <p:cNvSpPr>
            <a:spLocks noGrp="1"/>
          </p:cNvSpPr>
          <p:nvPr>
            <p:ph type="sldNum" sz="quarter" idx="12"/>
          </p:nvPr>
        </p:nvSpPr>
        <p:spPr>
          <a:xfrm>
            <a:off x="11581942" y="6433878"/>
            <a:ext cx="320674" cy="153463"/>
          </a:xfrm>
        </p:spPr>
        <p:txBody>
          <a:bodyPr/>
          <a:lstStyle>
            <a:lvl1pPr>
              <a:defRPr>
                <a:solidFill>
                  <a:schemeClr val="bg1"/>
                </a:solidFill>
              </a:defRPr>
            </a:lvl1pPr>
          </a:lstStyle>
          <a:p>
            <a:fld id="{AEC8D767-5246-2244-A4A3-B8AFB218393C}" type="slidenum">
              <a:rPr lang="en-GB" smtClean="0"/>
              <a:pPr/>
              <a:t>‹#›</a:t>
            </a:fld>
            <a:endParaRPr lang="en-GB"/>
          </a:p>
        </p:txBody>
      </p:sp>
      <p:sp>
        <p:nvSpPr>
          <p:cNvPr id="5" name="Graphic 8">
            <a:extLst>
              <a:ext uri="{FF2B5EF4-FFF2-40B4-BE49-F238E27FC236}">
                <a16:creationId xmlns:a16="http://schemas.microsoft.com/office/drawing/2014/main" id="{584D2C57-3904-61FA-F2B5-C74EFBC4BE0A}"/>
              </a:ext>
            </a:extLst>
          </p:cNvPr>
          <p:cNvSpPr>
            <a:spLocks noChangeAspect="1"/>
          </p:cNvSpPr>
          <p:nvPr/>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a:p>
        </p:txBody>
      </p:sp>
    </p:spTree>
    <p:extLst>
      <p:ext uri="{BB962C8B-B14F-4D97-AF65-F5344CB8AC3E}">
        <p14:creationId xmlns:p14="http://schemas.microsoft.com/office/powerpoint/2010/main" val="9248652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4D7FB2-B0CA-4C96-0E9E-CB4BA9057AF8}"/>
              </a:ext>
            </a:extLst>
          </p:cNvPr>
          <p:cNvSpPr>
            <a:spLocks noGrp="1"/>
          </p:cNvSpPr>
          <p:nvPr>
            <p:ph type="title"/>
          </p:nvPr>
        </p:nvSpPr>
        <p:spPr>
          <a:xfrm>
            <a:off x="288303" y="262267"/>
            <a:ext cx="6713538" cy="457818"/>
          </a:xfrm>
        </p:spPr>
        <p:txBody>
          <a:bodyPr/>
          <a:lstStyle/>
          <a:p>
            <a:r>
              <a:rPr lang="en-US"/>
              <a:t>Click to edit Master title style</a:t>
            </a:r>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822449"/>
            <a:ext cx="5732003" cy="4448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6165851" y="1822450"/>
            <a:ext cx="5734049" cy="44481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7">
            <a:extLst>
              <a:ext uri="{FF2B5EF4-FFF2-40B4-BE49-F238E27FC236}">
                <a16:creationId xmlns:a16="http://schemas.microsoft.com/office/drawing/2014/main" id="{F80BC13B-177D-A0D3-7A97-8F3C3A8E7391}"/>
              </a:ext>
            </a:extLst>
          </p:cNvPr>
          <p:cNvSpPr>
            <a:spLocks noGrp="1"/>
          </p:cNvSpPr>
          <p:nvPr>
            <p:ph type="body" sz="quarter" idx="14"/>
          </p:nvPr>
        </p:nvSpPr>
        <p:spPr>
          <a:xfrm>
            <a:off x="8124825" y="295200"/>
            <a:ext cx="3778250" cy="876375"/>
          </a:xfrm>
        </p:spPr>
        <p:txBody>
          <a:bodyPr/>
          <a:lstStyle>
            <a:lvl1pPr>
              <a:defRPr sz="1400"/>
            </a:lvl1pPr>
            <a:lvl2pPr>
              <a:defRPr sz="1400"/>
            </a:lvl2pPr>
            <a:lvl3pPr>
              <a:defRPr sz="1200"/>
            </a:lvl3pPr>
          </a:lstStyle>
          <a:p>
            <a:pPr lvl="0"/>
            <a:r>
              <a:rPr lang="en-US"/>
              <a:t>Click to edit Master text styles</a:t>
            </a:r>
          </a:p>
          <a:p>
            <a:pPr lvl="1"/>
            <a:r>
              <a:rPr lang="en-US"/>
              <a:t>Second level</a:t>
            </a:r>
          </a:p>
          <a:p>
            <a:pPr lvl="2"/>
            <a:r>
              <a:rPr lang="en-US"/>
              <a:t>Third level</a:t>
            </a:r>
          </a:p>
        </p:txBody>
      </p:sp>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r>
              <a:rPr lang="en-US"/>
              <a:t>Job Aid and Guidance Document still under review.</a:t>
            </a:r>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2" name="Subtitle 2">
            <a:extLst>
              <a:ext uri="{FF2B5EF4-FFF2-40B4-BE49-F238E27FC236}">
                <a16:creationId xmlns:a16="http://schemas.microsoft.com/office/drawing/2014/main" id="{56361D27-85D4-45EB-31D3-6D805D2E106E}"/>
              </a:ext>
            </a:extLst>
          </p:cNvPr>
          <p:cNvSpPr>
            <a:spLocks noGrp="1"/>
          </p:cNvSpPr>
          <p:nvPr>
            <p:ph type="subTitle" idx="15" hasCustomPrompt="1"/>
          </p:nvPr>
        </p:nvSpPr>
        <p:spPr>
          <a:xfrm>
            <a:off x="288302" y="713620"/>
            <a:ext cx="6713538"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341131655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Key Numbers [Accessible Version]">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429BCB1-0FF2-B8E0-831A-4C2A0BEF189C}"/>
              </a:ext>
            </a:extLst>
          </p:cNvPr>
          <p:cNvSpPr>
            <a:spLocks noGrp="1"/>
          </p:cNvSpPr>
          <p:nvPr>
            <p:ph type="title"/>
          </p:nvPr>
        </p:nvSpPr>
        <p:spPr>
          <a:xfrm>
            <a:off x="288303" y="273600"/>
            <a:ext cx="1811959" cy="397032"/>
          </a:xfrm>
        </p:spPr>
        <p:txBody>
          <a:bodyPr/>
          <a:lstStyle>
            <a:lvl1pPr>
              <a:lnSpc>
                <a:spcPct val="85000"/>
              </a:lnSpc>
              <a:defRPr sz="1500" b="1" i="0">
                <a:solidFill>
                  <a:schemeClr val="tx1"/>
                </a:solidFill>
                <a:latin typeface="Johnson Text" pitchFamily="2" charset="77"/>
              </a:defRPr>
            </a:lvl1pPr>
          </a:lstStyle>
          <a:p>
            <a:r>
              <a:rPr lang="zh-CN" altLang="en-US"/>
              <a:t>单击此处编辑母版标题样式</a:t>
            </a:r>
            <a:endParaRPr lang="en-GB"/>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lvl1pPr>
              <a:defRPr>
                <a:solidFill>
                  <a:schemeClr val="tx1"/>
                </a:solidFill>
              </a:defRPr>
            </a:lvl1pPr>
          </a:lstStyle>
          <a:p>
            <a:fld id="{AEC8D767-5246-2244-A4A3-B8AFB218393C}" type="slidenum">
              <a:rPr lang="en-GB" smtClean="0"/>
              <a:pPr/>
              <a:t>‹#›</a:t>
            </a:fld>
            <a:endParaRPr lang="en-GB"/>
          </a:p>
        </p:txBody>
      </p:sp>
      <p:sp>
        <p:nvSpPr>
          <p:cNvPr id="2" name="Picture Placeholder 91">
            <a:extLst>
              <a:ext uri="{FF2B5EF4-FFF2-40B4-BE49-F238E27FC236}">
                <a16:creationId xmlns:a16="http://schemas.microsoft.com/office/drawing/2014/main" id="{26B4C449-2487-DF2A-7645-8218B023E592}"/>
              </a:ext>
            </a:extLst>
          </p:cNvPr>
          <p:cNvSpPr>
            <a:spLocks noGrp="1"/>
          </p:cNvSpPr>
          <p:nvPr>
            <p:ph type="pic" sz="quarter" idx="55" hasCustomPrompt="1"/>
          </p:nvPr>
        </p:nvSpPr>
        <p:spPr>
          <a:xfrm>
            <a:off x="3225799" y="291037"/>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vl9pPr>
              <a:defRPr>
                <a:solidFill>
                  <a:schemeClr val="tx1"/>
                </a:solidFill>
              </a:defRPr>
            </a:lvl9pPr>
          </a:lstStyle>
          <a:p>
            <a:pPr lvl="8"/>
            <a:r>
              <a:rPr lang="en-GB"/>
              <a:t> </a:t>
            </a:r>
          </a:p>
        </p:txBody>
      </p:sp>
      <p:sp>
        <p:nvSpPr>
          <p:cNvPr id="6" name="Text Placeholder 14">
            <a:extLst>
              <a:ext uri="{FF2B5EF4-FFF2-40B4-BE49-F238E27FC236}">
                <a16:creationId xmlns:a16="http://schemas.microsoft.com/office/drawing/2014/main" id="{D7090765-328D-D615-6AFB-B0F523075373}"/>
              </a:ext>
            </a:extLst>
          </p:cNvPr>
          <p:cNvSpPr>
            <a:spLocks noGrp="1"/>
          </p:cNvSpPr>
          <p:nvPr>
            <p:ph type="body" sz="quarter" idx="60"/>
          </p:nvPr>
        </p:nvSpPr>
        <p:spPr>
          <a:xfrm>
            <a:off x="8124824" y="527050"/>
            <a:ext cx="3775075" cy="1498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zh-CN" altLang="en-US"/>
              <a:t>单击此处编辑母版文本样式</a:t>
            </a:r>
          </a:p>
          <a:p>
            <a:pPr lvl="1"/>
            <a:r>
              <a:rPr lang="zh-CN" altLang="en-US"/>
              <a:t>二级</a:t>
            </a:r>
          </a:p>
          <a:p>
            <a:pPr lvl="2"/>
            <a:r>
              <a:rPr lang="zh-CN" altLang="en-US"/>
              <a:t>三级</a:t>
            </a:r>
          </a:p>
        </p:txBody>
      </p:sp>
      <p:sp>
        <p:nvSpPr>
          <p:cNvPr id="12" name="Picture Placeholder 91">
            <a:extLst>
              <a:ext uri="{FF2B5EF4-FFF2-40B4-BE49-F238E27FC236}">
                <a16:creationId xmlns:a16="http://schemas.microsoft.com/office/drawing/2014/main" id="{04E11CE5-CC63-4DF3-91BC-7D123FA2380B}"/>
              </a:ext>
            </a:extLst>
          </p:cNvPr>
          <p:cNvSpPr>
            <a:spLocks noGrp="1"/>
          </p:cNvSpPr>
          <p:nvPr>
            <p:ph type="pic" sz="quarter" idx="67" hasCustomPrompt="1"/>
          </p:nvPr>
        </p:nvSpPr>
        <p:spPr>
          <a:xfrm>
            <a:off x="3225799" y="2282397"/>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vl9pPr>
              <a:defRPr>
                <a:solidFill>
                  <a:schemeClr val="tx1"/>
                </a:solidFill>
              </a:defRPr>
            </a:lvl9pPr>
          </a:lstStyle>
          <a:p>
            <a:pPr lvl="8"/>
            <a:r>
              <a:rPr lang="en-GB"/>
              <a:t> </a:t>
            </a:r>
          </a:p>
        </p:txBody>
      </p:sp>
      <p:sp>
        <p:nvSpPr>
          <p:cNvPr id="16" name="Text Placeholder 14">
            <a:extLst>
              <a:ext uri="{FF2B5EF4-FFF2-40B4-BE49-F238E27FC236}">
                <a16:creationId xmlns:a16="http://schemas.microsoft.com/office/drawing/2014/main" id="{89F6050B-0591-0406-0A2B-C58DB12244B1}"/>
              </a:ext>
            </a:extLst>
          </p:cNvPr>
          <p:cNvSpPr>
            <a:spLocks noGrp="1"/>
          </p:cNvSpPr>
          <p:nvPr>
            <p:ph type="body" sz="quarter" idx="69"/>
          </p:nvPr>
        </p:nvSpPr>
        <p:spPr>
          <a:xfrm>
            <a:off x="8124824" y="2518410"/>
            <a:ext cx="3775075" cy="1498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zh-CN" altLang="en-US"/>
              <a:t>单击此处编辑母版文本样式</a:t>
            </a:r>
          </a:p>
          <a:p>
            <a:pPr lvl="1"/>
            <a:r>
              <a:rPr lang="zh-CN" altLang="en-US"/>
              <a:t>二级</a:t>
            </a:r>
          </a:p>
          <a:p>
            <a:pPr lvl="2"/>
            <a:r>
              <a:rPr lang="zh-CN" altLang="en-US"/>
              <a:t>三级</a:t>
            </a:r>
          </a:p>
        </p:txBody>
      </p:sp>
      <p:sp>
        <p:nvSpPr>
          <p:cNvPr id="17" name="Picture Placeholder 91">
            <a:extLst>
              <a:ext uri="{FF2B5EF4-FFF2-40B4-BE49-F238E27FC236}">
                <a16:creationId xmlns:a16="http://schemas.microsoft.com/office/drawing/2014/main" id="{95D4FFE4-0D64-5F30-AD0F-100BD6D65389}"/>
              </a:ext>
            </a:extLst>
          </p:cNvPr>
          <p:cNvSpPr>
            <a:spLocks noGrp="1"/>
          </p:cNvSpPr>
          <p:nvPr>
            <p:ph type="pic" sz="quarter" idx="70" hasCustomPrompt="1"/>
          </p:nvPr>
        </p:nvSpPr>
        <p:spPr>
          <a:xfrm>
            <a:off x="3225799" y="428646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vl9pPr>
              <a:defRPr>
                <a:solidFill>
                  <a:schemeClr val="tx1"/>
                </a:solidFill>
              </a:defRPr>
            </a:lvl9pPr>
          </a:lstStyle>
          <a:p>
            <a:pPr lvl="8"/>
            <a:r>
              <a:rPr lang="en-GB"/>
              <a:t> </a:t>
            </a:r>
          </a:p>
        </p:txBody>
      </p:sp>
      <p:sp>
        <p:nvSpPr>
          <p:cNvPr id="21" name="Text Placeholder 14">
            <a:extLst>
              <a:ext uri="{FF2B5EF4-FFF2-40B4-BE49-F238E27FC236}">
                <a16:creationId xmlns:a16="http://schemas.microsoft.com/office/drawing/2014/main" id="{C4F52E6D-F9EF-905D-6975-963F7D958ED5}"/>
              </a:ext>
            </a:extLst>
          </p:cNvPr>
          <p:cNvSpPr>
            <a:spLocks noGrp="1"/>
          </p:cNvSpPr>
          <p:nvPr>
            <p:ph type="body" sz="quarter" idx="72"/>
          </p:nvPr>
        </p:nvSpPr>
        <p:spPr>
          <a:xfrm>
            <a:off x="8124824" y="4522482"/>
            <a:ext cx="3775075" cy="1498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zh-CN" altLang="en-US"/>
              <a:t>单击此处编辑母版文本样式</a:t>
            </a:r>
          </a:p>
          <a:p>
            <a:pPr lvl="1"/>
            <a:r>
              <a:rPr lang="zh-CN" altLang="en-US"/>
              <a:t>二级</a:t>
            </a:r>
          </a:p>
          <a:p>
            <a:pPr lvl="2"/>
            <a:r>
              <a:rPr lang="zh-CN" altLang="en-US"/>
              <a:t>三级</a:t>
            </a:r>
          </a:p>
        </p:txBody>
      </p:sp>
      <p:sp>
        <p:nvSpPr>
          <p:cNvPr id="22" name="Picture Placeholder 91">
            <a:extLst>
              <a:ext uri="{FF2B5EF4-FFF2-40B4-BE49-F238E27FC236}">
                <a16:creationId xmlns:a16="http://schemas.microsoft.com/office/drawing/2014/main" id="{02D2CE40-9732-D3AB-4F10-762299122CE1}"/>
              </a:ext>
            </a:extLst>
          </p:cNvPr>
          <p:cNvSpPr>
            <a:spLocks noGrp="1"/>
          </p:cNvSpPr>
          <p:nvPr>
            <p:ph type="pic" sz="quarter" idx="73" hasCustomPrompt="1"/>
          </p:nvPr>
        </p:nvSpPr>
        <p:spPr>
          <a:xfrm>
            <a:off x="3225799" y="628798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vl9pPr>
              <a:defRPr>
                <a:solidFill>
                  <a:schemeClr val="tx1"/>
                </a:solidFill>
              </a:defRPr>
            </a:lvl9pPr>
          </a:lstStyle>
          <a:p>
            <a:pPr lvl="8"/>
            <a:r>
              <a:rPr lang="en-GB"/>
              <a:t> </a:t>
            </a:r>
          </a:p>
        </p:txBody>
      </p:sp>
      <p:sp>
        <p:nvSpPr>
          <p:cNvPr id="23" name="Text Placeholder 26">
            <a:extLst>
              <a:ext uri="{FF2B5EF4-FFF2-40B4-BE49-F238E27FC236}">
                <a16:creationId xmlns:a16="http://schemas.microsoft.com/office/drawing/2014/main" id="{C4A7D748-90AF-308A-44E9-BE56492932EB}"/>
              </a:ext>
            </a:extLst>
          </p:cNvPr>
          <p:cNvSpPr>
            <a:spLocks noGrp="1"/>
          </p:cNvSpPr>
          <p:nvPr>
            <p:ph type="body" sz="quarter" idx="74" hasCustomPrompt="1"/>
          </p:nvPr>
        </p:nvSpPr>
        <p:spPr>
          <a:xfrm>
            <a:off x="3225800" y="111125"/>
            <a:ext cx="3776663" cy="1789113"/>
          </a:xfrm>
        </p:spPr>
        <p:txBody>
          <a:bodyPr/>
          <a:lstStyle>
            <a:lvl1pPr>
              <a:defRPr sz="11000">
                <a:solidFill>
                  <a:schemeClr val="accent1"/>
                </a:solidFill>
                <a:latin typeface="+mj-lt"/>
              </a:defRPr>
            </a:lvl1pPr>
          </a:lstStyle>
          <a:p>
            <a:pPr lvl="0"/>
            <a:r>
              <a:rPr lang="en-GB"/>
              <a:t>00</a:t>
            </a:r>
          </a:p>
        </p:txBody>
      </p:sp>
      <p:sp>
        <p:nvSpPr>
          <p:cNvPr id="26" name="Text Placeholder 26">
            <a:extLst>
              <a:ext uri="{FF2B5EF4-FFF2-40B4-BE49-F238E27FC236}">
                <a16:creationId xmlns:a16="http://schemas.microsoft.com/office/drawing/2014/main" id="{ED360C76-27A8-44D1-6730-F7FA8D1EC543}"/>
              </a:ext>
            </a:extLst>
          </p:cNvPr>
          <p:cNvSpPr>
            <a:spLocks noGrp="1"/>
          </p:cNvSpPr>
          <p:nvPr>
            <p:ph type="body" sz="quarter" idx="75" hasCustomPrompt="1"/>
          </p:nvPr>
        </p:nvSpPr>
        <p:spPr>
          <a:xfrm>
            <a:off x="3225800" y="2102616"/>
            <a:ext cx="3776663" cy="1789113"/>
          </a:xfrm>
        </p:spPr>
        <p:txBody>
          <a:bodyPr/>
          <a:lstStyle>
            <a:lvl1pPr>
              <a:defRPr sz="11000">
                <a:solidFill>
                  <a:schemeClr val="accent1"/>
                </a:solidFill>
                <a:latin typeface="+mj-lt"/>
              </a:defRPr>
            </a:lvl1pPr>
          </a:lstStyle>
          <a:p>
            <a:pPr lvl="0"/>
            <a:r>
              <a:rPr lang="en-GB"/>
              <a:t>00</a:t>
            </a:r>
          </a:p>
        </p:txBody>
      </p:sp>
      <p:sp>
        <p:nvSpPr>
          <p:cNvPr id="27" name="Text Placeholder 26">
            <a:extLst>
              <a:ext uri="{FF2B5EF4-FFF2-40B4-BE49-F238E27FC236}">
                <a16:creationId xmlns:a16="http://schemas.microsoft.com/office/drawing/2014/main" id="{28863499-99BA-9382-A790-8823B96ABCDE}"/>
              </a:ext>
            </a:extLst>
          </p:cNvPr>
          <p:cNvSpPr>
            <a:spLocks noGrp="1"/>
          </p:cNvSpPr>
          <p:nvPr>
            <p:ph type="body" sz="quarter" idx="76" hasCustomPrompt="1"/>
          </p:nvPr>
        </p:nvSpPr>
        <p:spPr>
          <a:xfrm>
            <a:off x="3225800" y="4106128"/>
            <a:ext cx="3776663" cy="1789113"/>
          </a:xfrm>
        </p:spPr>
        <p:txBody>
          <a:bodyPr/>
          <a:lstStyle>
            <a:lvl1pPr>
              <a:defRPr sz="11000">
                <a:solidFill>
                  <a:schemeClr val="accent1"/>
                </a:solidFill>
                <a:latin typeface="+mj-lt"/>
              </a:defRPr>
            </a:lvl1pPr>
          </a:lstStyle>
          <a:p>
            <a:pPr lvl="0"/>
            <a:r>
              <a:rPr lang="en-GB"/>
              <a:t>00</a:t>
            </a:r>
          </a:p>
        </p:txBody>
      </p:sp>
      <p:sp>
        <p:nvSpPr>
          <p:cNvPr id="8" name="Footer Placeholder 4">
            <a:extLst>
              <a:ext uri="{FF2B5EF4-FFF2-40B4-BE49-F238E27FC236}">
                <a16:creationId xmlns:a16="http://schemas.microsoft.com/office/drawing/2014/main" id="{9FE0DB2D-5681-9C6E-43DA-7FD40833A146}"/>
              </a:ext>
            </a:extLst>
          </p:cNvPr>
          <p:cNvSpPr>
            <a:spLocks noGrp="1"/>
          </p:cNvSpPr>
          <p:nvPr>
            <p:ph type="ftr" sz="quarter" idx="3"/>
          </p:nvPr>
        </p:nvSpPr>
        <p:spPr>
          <a:xfrm>
            <a:off x="288259" y="5966467"/>
            <a:ext cx="279466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a:t>Job Aid and Guidance Document still under review.</a:t>
            </a:r>
          </a:p>
        </p:txBody>
      </p:sp>
    </p:spTree>
    <p:extLst>
      <p:ext uri="{BB962C8B-B14F-4D97-AF65-F5344CB8AC3E}">
        <p14:creationId xmlns:p14="http://schemas.microsoft.com/office/powerpoint/2010/main" val="304763581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E88F223-1D7A-707E-10AB-5C41663BE54B}"/>
              </a:ext>
            </a:extLst>
          </p:cNvPr>
          <p:cNvSpPr/>
          <p:nvPr/>
        </p:nvSpPr>
        <p:spPr>
          <a:xfrm>
            <a:off x="6583680" y="0"/>
            <a:ext cx="560832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7"/>
            <a:ext cx="5733085" cy="3427413"/>
          </a:xfrm>
        </p:spPr>
        <p:txBody>
          <a:body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8" name="Title 7">
            <a:extLst>
              <a:ext uri="{FF2B5EF4-FFF2-40B4-BE49-F238E27FC236}">
                <a16:creationId xmlns:a16="http://schemas.microsoft.com/office/drawing/2014/main" id="{A4141273-8612-0373-5CE1-A74C8304F40A}"/>
              </a:ext>
            </a:extLst>
          </p:cNvPr>
          <p:cNvSpPr>
            <a:spLocks noGrp="1"/>
          </p:cNvSpPr>
          <p:nvPr>
            <p:ph type="title" hasCustomPrompt="1"/>
          </p:nvPr>
        </p:nvSpPr>
        <p:spPr>
          <a:xfrm>
            <a:off x="288303" y="262800"/>
            <a:ext cx="5733084" cy="454529"/>
          </a:xfrm>
        </p:spPr>
        <p:txBody>
          <a:bodyPr/>
          <a:lstStyle/>
          <a:p>
            <a:r>
              <a:rPr lang="en-US"/>
              <a:t>Master title style</a:t>
            </a:r>
            <a:endParaRPr lang="en-GB"/>
          </a:p>
        </p:txBody>
      </p:sp>
      <p:sp>
        <p:nvSpPr>
          <p:cNvPr id="7" name="Subtitle 2">
            <a:extLst>
              <a:ext uri="{FF2B5EF4-FFF2-40B4-BE49-F238E27FC236}">
                <a16:creationId xmlns:a16="http://schemas.microsoft.com/office/drawing/2014/main" id="{460EC19D-5C44-4557-54CE-FA6CE565E479}"/>
              </a:ext>
            </a:extLst>
          </p:cNvPr>
          <p:cNvSpPr>
            <a:spLocks noGrp="1"/>
          </p:cNvSpPr>
          <p:nvPr>
            <p:ph type="subTitle" idx="19" hasCustomPrompt="1"/>
          </p:nvPr>
        </p:nvSpPr>
        <p:spPr>
          <a:xfrm>
            <a:off x="288302" y="713620"/>
            <a:ext cx="5733084"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13" name="Text Placeholder 12">
            <a:extLst>
              <a:ext uri="{FF2B5EF4-FFF2-40B4-BE49-F238E27FC236}">
                <a16:creationId xmlns:a16="http://schemas.microsoft.com/office/drawing/2014/main" id="{2D949BE1-5181-CCD9-89D9-3FDED96843C5}"/>
              </a:ext>
            </a:extLst>
          </p:cNvPr>
          <p:cNvSpPr>
            <a:spLocks noGrp="1"/>
          </p:cNvSpPr>
          <p:nvPr>
            <p:ph type="body" sz="quarter" idx="20" hasCustomPrompt="1"/>
          </p:nvPr>
        </p:nvSpPr>
        <p:spPr>
          <a:xfrm>
            <a:off x="7145337" y="2338388"/>
            <a:ext cx="4757737" cy="3427412"/>
          </a:xfrm>
        </p:spPr>
        <p:txBody>
          <a:bodyPr/>
          <a:lstStyle>
            <a:lvl1pPr>
              <a:lnSpc>
                <a:spcPct val="80000"/>
              </a:lnSpc>
              <a:defRPr sz="5400">
                <a:solidFill>
                  <a:schemeClr val="bg1"/>
                </a:solidFill>
                <a:latin typeface="+mj-lt"/>
              </a:defRPr>
            </a:lvl1pPr>
            <a:lvl2pPr>
              <a:defRPr lang="en-GB" dirty="0" smtClean="0">
                <a:solidFill>
                  <a:schemeClr val="bg1"/>
                </a:solidFill>
              </a:defRPr>
            </a:lvl2pPr>
            <a:lvl3pPr>
              <a:defRPr lang="en-GB" dirty="0" smtClean="0">
                <a:solidFill>
                  <a:schemeClr val="bg1"/>
                </a:solidFill>
              </a:defRPr>
            </a:lvl3pPr>
            <a:lvl4pPr>
              <a:defRPr lang="en-GB" dirty="0" smtClean="0">
                <a:solidFill>
                  <a:schemeClr val="bg1"/>
                </a:solidFill>
              </a:defRPr>
            </a:lvl4pPr>
            <a:lvl5pPr>
              <a:defRPr lang="en-US" dirty="0">
                <a:solidFill>
                  <a:schemeClr val="bg1"/>
                </a:solidFill>
              </a:defRPr>
            </a:lvl5pPr>
          </a:lstStyle>
          <a:p>
            <a:pPr lvl="0"/>
            <a:r>
              <a:rPr lang="en-GB"/>
              <a:t>“Quote goes here. Delete speech marks if not required.”</a:t>
            </a:r>
          </a:p>
          <a:p>
            <a:pPr lvl="1"/>
            <a:r>
              <a:rPr lang="en-US"/>
              <a:t>Second level</a:t>
            </a:r>
          </a:p>
          <a:p>
            <a:pPr lvl="2"/>
            <a:r>
              <a:rPr lang="en-US"/>
              <a:t>Third level</a:t>
            </a:r>
          </a:p>
          <a:p>
            <a:pPr lvl="3"/>
            <a:r>
              <a:rPr lang="en-US"/>
              <a:t>Fourth level</a:t>
            </a:r>
          </a:p>
          <a:p>
            <a:pPr lvl="4"/>
            <a:r>
              <a:rPr lang="en-US"/>
              <a:t>Fifth level</a:t>
            </a:r>
          </a:p>
        </p:txBody>
      </p:sp>
      <p:sp>
        <p:nvSpPr>
          <p:cNvPr id="14" name="Text Placeholder 7">
            <a:extLst>
              <a:ext uri="{FF2B5EF4-FFF2-40B4-BE49-F238E27FC236}">
                <a16:creationId xmlns:a16="http://schemas.microsoft.com/office/drawing/2014/main" id="{9616647F-6551-5C71-EECF-7BC298E933EF}"/>
              </a:ext>
            </a:extLst>
          </p:cNvPr>
          <p:cNvSpPr>
            <a:spLocks noGrp="1"/>
          </p:cNvSpPr>
          <p:nvPr>
            <p:ph type="body" sz="quarter" idx="14" hasCustomPrompt="1"/>
          </p:nvPr>
        </p:nvSpPr>
        <p:spPr>
          <a:xfrm>
            <a:off x="8124825" y="295200"/>
            <a:ext cx="3778250" cy="876375"/>
          </a:xfrm>
        </p:spPr>
        <p:txBody>
          <a:bodyPr/>
          <a:lstStyle>
            <a:lvl1pPr>
              <a:defRPr sz="1400">
                <a:solidFill>
                  <a:schemeClr val="bg1"/>
                </a:solidFill>
              </a:defRPr>
            </a:lvl1pPr>
            <a:lvl2pPr>
              <a:defRPr sz="1400">
                <a:solidFill>
                  <a:schemeClr val="bg1"/>
                </a:solidFill>
              </a:defRPr>
            </a:lvl2pPr>
            <a:lvl3pPr>
              <a:defRPr sz="1200">
                <a:solidFill>
                  <a:schemeClr val="bg1"/>
                </a:solidFill>
              </a:defRPr>
            </a:lvl3pPr>
          </a:lstStyle>
          <a:p>
            <a:pPr lvl="0"/>
            <a:r>
              <a:rPr lang="en-GB"/>
              <a:t>Click to add text. Delete if not required. </a:t>
            </a:r>
          </a:p>
          <a:p>
            <a:pPr lvl="1"/>
            <a:r>
              <a:rPr lang="en-GB"/>
              <a:t>Second level</a:t>
            </a:r>
          </a:p>
          <a:p>
            <a:pPr lvl="2"/>
            <a:r>
              <a:rPr lang="en-GB"/>
              <a:t>Third level</a:t>
            </a:r>
          </a:p>
        </p:txBody>
      </p:sp>
      <p:sp>
        <p:nvSpPr>
          <p:cNvPr id="6" name="Footer Placeholder 4">
            <a:extLst>
              <a:ext uri="{FF2B5EF4-FFF2-40B4-BE49-F238E27FC236}">
                <a16:creationId xmlns:a16="http://schemas.microsoft.com/office/drawing/2014/main" id="{6BEC8F6E-46BB-F39D-C0DC-751CB89132B6}"/>
              </a:ext>
            </a:extLst>
          </p:cNvPr>
          <p:cNvSpPr>
            <a:spLocks noGrp="1"/>
          </p:cNvSpPr>
          <p:nvPr>
            <p:ph type="ftr" sz="quarter" idx="3"/>
          </p:nvPr>
        </p:nvSpPr>
        <p:spPr>
          <a:xfrm>
            <a:off x="288259" y="5966467"/>
            <a:ext cx="5733129"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48235294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Quote [Accessible Version]">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lvl1pPr>
              <a:defRPr>
                <a:solidFill>
                  <a:schemeClr val="tx1"/>
                </a:solidFill>
              </a:defRPr>
            </a:lvl1pPr>
          </a:lstStyle>
          <a:p>
            <a:fld id="{AEC8D767-5246-2244-A4A3-B8AFB218393C}" type="slidenum">
              <a:rPr lang="en-GB" smtClean="0"/>
              <a:pPr/>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8"/>
            <a:ext cx="5733085" cy="3427412"/>
          </a:xfrm>
        </p:spPr>
        <p:txBody>
          <a:body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8" name="Title 7">
            <a:extLst>
              <a:ext uri="{FF2B5EF4-FFF2-40B4-BE49-F238E27FC236}">
                <a16:creationId xmlns:a16="http://schemas.microsoft.com/office/drawing/2014/main" id="{A4141273-8612-0373-5CE1-A74C8304F40A}"/>
              </a:ext>
            </a:extLst>
          </p:cNvPr>
          <p:cNvSpPr>
            <a:spLocks noGrp="1"/>
          </p:cNvSpPr>
          <p:nvPr>
            <p:ph type="title" hasCustomPrompt="1"/>
          </p:nvPr>
        </p:nvSpPr>
        <p:spPr>
          <a:xfrm>
            <a:off x="288303" y="262800"/>
            <a:ext cx="5733084" cy="454529"/>
          </a:xfrm>
        </p:spPr>
        <p:txBody>
          <a:bodyPr/>
          <a:lstStyle/>
          <a:p>
            <a:r>
              <a:rPr lang="en-US"/>
              <a:t>Master title style</a:t>
            </a:r>
            <a:endParaRPr lang="en-GB"/>
          </a:p>
        </p:txBody>
      </p:sp>
      <p:sp>
        <p:nvSpPr>
          <p:cNvPr id="7" name="Subtitle 2">
            <a:extLst>
              <a:ext uri="{FF2B5EF4-FFF2-40B4-BE49-F238E27FC236}">
                <a16:creationId xmlns:a16="http://schemas.microsoft.com/office/drawing/2014/main" id="{460EC19D-5C44-4557-54CE-FA6CE565E479}"/>
              </a:ext>
            </a:extLst>
          </p:cNvPr>
          <p:cNvSpPr>
            <a:spLocks noGrp="1"/>
          </p:cNvSpPr>
          <p:nvPr>
            <p:ph type="subTitle" idx="19" hasCustomPrompt="1"/>
          </p:nvPr>
        </p:nvSpPr>
        <p:spPr>
          <a:xfrm>
            <a:off x="288302" y="713620"/>
            <a:ext cx="5733084"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13" name="Text Placeholder 12">
            <a:extLst>
              <a:ext uri="{FF2B5EF4-FFF2-40B4-BE49-F238E27FC236}">
                <a16:creationId xmlns:a16="http://schemas.microsoft.com/office/drawing/2014/main" id="{2D949BE1-5181-CCD9-89D9-3FDED96843C5}"/>
              </a:ext>
            </a:extLst>
          </p:cNvPr>
          <p:cNvSpPr>
            <a:spLocks noGrp="1"/>
          </p:cNvSpPr>
          <p:nvPr>
            <p:ph type="body" sz="quarter" idx="20" hasCustomPrompt="1"/>
          </p:nvPr>
        </p:nvSpPr>
        <p:spPr>
          <a:xfrm>
            <a:off x="7145337" y="2338388"/>
            <a:ext cx="4757737" cy="3427412"/>
          </a:xfrm>
        </p:spPr>
        <p:txBody>
          <a:bodyPr/>
          <a:lstStyle>
            <a:lvl1pPr>
              <a:lnSpc>
                <a:spcPct val="80000"/>
              </a:lnSpc>
              <a:defRPr sz="5400" i="0">
                <a:solidFill>
                  <a:schemeClr val="accent1"/>
                </a:solidFill>
                <a:latin typeface="+mj-lt"/>
              </a:defRPr>
            </a:lvl1pPr>
            <a:lvl2pPr>
              <a:defRPr lang="en-GB" dirty="0" smtClean="0">
                <a:solidFill>
                  <a:schemeClr val="tx1"/>
                </a:solidFill>
              </a:defRPr>
            </a:lvl2pPr>
            <a:lvl3pPr>
              <a:defRPr lang="en-GB" dirty="0" smtClean="0">
                <a:solidFill>
                  <a:schemeClr val="tx1"/>
                </a:solidFill>
              </a:defRPr>
            </a:lvl3pPr>
            <a:lvl4pPr>
              <a:defRPr lang="en-GB" dirty="0" smtClean="0">
                <a:solidFill>
                  <a:schemeClr val="tx1"/>
                </a:solidFill>
              </a:defRPr>
            </a:lvl4pPr>
            <a:lvl5pPr>
              <a:defRPr lang="en-US" dirty="0">
                <a:solidFill>
                  <a:schemeClr val="tx1"/>
                </a:solidFill>
              </a:defRPr>
            </a:lvl5pPr>
          </a:lstStyle>
          <a:p>
            <a:pPr lvl="0"/>
            <a:r>
              <a:rPr lang="en-GB"/>
              <a:t>“Quote goes here. Delete speech marks if not required.”</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ext Placeholder 7">
            <a:extLst>
              <a:ext uri="{FF2B5EF4-FFF2-40B4-BE49-F238E27FC236}">
                <a16:creationId xmlns:a16="http://schemas.microsoft.com/office/drawing/2014/main" id="{262EBE26-5504-780B-C8F1-AFCE93039485}"/>
              </a:ext>
            </a:extLst>
          </p:cNvPr>
          <p:cNvSpPr>
            <a:spLocks noGrp="1"/>
          </p:cNvSpPr>
          <p:nvPr>
            <p:ph type="body" sz="quarter" idx="14" hasCustomPrompt="1"/>
          </p:nvPr>
        </p:nvSpPr>
        <p:spPr>
          <a:xfrm>
            <a:off x="8124825" y="295200"/>
            <a:ext cx="3778250" cy="876375"/>
          </a:xfrm>
        </p:spPr>
        <p:txBody>
          <a:bodyPr/>
          <a:lstStyle>
            <a:lvl1pPr>
              <a:defRPr sz="1400"/>
            </a:lvl1pPr>
            <a:lvl2pPr>
              <a:defRPr sz="1400"/>
            </a:lvl2pPr>
            <a:lvl3pPr>
              <a:defRPr sz="1200"/>
            </a:lvl3pPr>
          </a:lstStyle>
          <a:p>
            <a:pPr lvl="0"/>
            <a:r>
              <a:rPr lang="en-GB"/>
              <a:t>Click to add text. Delete if not required.</a:t>
            </a:r>
          </a:p>
          <a:p>
            <a:pPr lvl="1"/>
            <a:r>
              <a:rPr lang="en-GB"/>
              <a:t>Second level</a:t>
            </a:r>
          </a:p>
          <a:p>
            <a:pPr lvl="2"/>
            <a:r>
              <a:rPr lang="en-GB"/>
              <a:t>Third level</a:t>
            </a:r>
          </a:p>
        </p:txBody>
      </p:sp>
      <p:sp>
        <p:nvSpPr>
          <p:cNvPr id="6" name="Footer Placeholder 4">
            <a:extLst>
              <a:ext uri="{FF2B5EF4-FFF2-40B4-BE49-F238E27FC236}">
                <a16:creationId xmlns:a16="http://schemas.microsoft.com/office/drawing/2014/main" id="{FF5227C2-8D93-ABD3-A0D2-E4BD40BC778D}"/>
              </a:ext>
            </a:extLst>
          </p:cNvPr>
          <p:cNvSpPr>
            <a:spLocks noGrp="1"/>
          </p:cNvSpPr>
          <p:nvPr>
            <p:ph type="ftr" sz="quarter" idx="3"/>
          </p:nvPr>
        </p:nvSpPr>
        <p:spPr>
          <a:xfrm>
            <a:off x="288259" y="5966467"/>
            <a:ext cx="5733084"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33361302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nd Right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6F6140-34D9-F6B3-6BCD-3A50DD37FE45}"/>
              </a:ext>
            </a:extLst>
          </p:cNvPr>
          <p:cNvSpPr>
            <a:spLocks noGrp="1"/>
          </p:cNvSpPr>
          <p:nvPr>
            <p:ph type="title" hasCustomPrompt="1"/>
          </p:nvPr>
        </p:nvSpPr>
        <p:spPr>
          <a:xfrm>
            <a:off x="288303" y="262267"/>
            <a:ext cx="5733084" cy="468590"/>
          </a:xfrm>
        </p:spPr>
        <p:txBody>
          <a:bodyPr/>
          <a:lstStyle/>
          <a:p>
            <a:r>
              <a:rPr lang="en-GB"/>
              <a:t>Master title style</a:t>
            </a:r>
          </a:p>
        </p:txBody>
      </p:sp>
      <p:sp>
        <p:nvSpPr>
          <p:cNvPr id="7" name="Content Placeholder 6">
            <a:extLst>
              <a:ext uri="{FF2B5EF4-FFF2-40B4-BE49-F238E27FC236}">
                <a16:creationId xmlns:a16="http://schemas.microsoft.com/office/drawing/2014/main" id="{BA7EE611-EA9F-2CB5-2ACF-EF4D756FF28C}"/>
              </a:ext>
            </a:extLst>
          </p:cNvPr>
          <p:cNvSpPr>
            <a:spLocks noGrp="1"/>
          </p:cNvSpPr>
          <p:nvPr>
            <p:ph sz="quarter" idx="14"/>
          </p:nvPr>
        </p:nvSpPr>
        <p:spPr>
          <a:xfrm>
            <a:off x="6166800" y="270000"/>
            <a:ext cx="5737225" cy="5495800"/>
          </a:xfrm>
        </p:spPr>
        <p:txBody>
          <a:bodyPr/>
          <a:lstStyle>
            <a:lvl1pPr>
              <a:defRPr sz="1800"/>
            </a:lvl1pPr>
            <a:lvl2pPr>
              <a:defRPr sz="1800"/>
            </a:lvl2pPr>
            <a:lvl3pPr>
              <a:defRPr sz="1600"/>
            </a:lvl3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9" name="Text Placeholder 7">
            <a:extLst>
              <a:ext uri="{FF2B5EF4-FFF2-40B4-BE49-F238E27FC236}">
                <a16:creationId xmlns:a16="http://schemas.microsoft.com/office/drawing/2014/main" id="{9781BB63-AF6A-9F70-47D8-BF333C16188A}"/>
              </a:ext>
            </a:extLst>
          </p:cNvPr>
          <p:cNvSpPr>
            <a:spLocks noGrp="1"/>
          </p:cNvSpPr>
          <p:nvPr>
            <p:ph type="body" sz="quarter" idx="15" hasCustomPrompt="1"/>
          </p:nvPr>
        </p:nvSpPr>
        <p:spPr>
          <a:xfrm>
            <a:off x="288925" y="3867150"/>
            <a:ext cx="3778250" cy="1816002"/>
          </a:xfrm>
        </p:spPr>
        <p:txBody>
          <a:bodyPr/>
          <a:lstStyle/>
          <a:p>
            <a:pPr lvl="0"/>
            <a:r>
              <a:rPr lang="en-GB"/>
              <a:t>Click to add text. Delete if not required.</a:t>
            </a:r>
          </a:p>
          <a:p>
            <a:pPr lvl="1"/>
            <a:r>
              <a:rPr lang="en-GB"/>
              <a:t>Second level</a:t>
            </a:r>
          </a:p>
          <a:p>
            <a:pPr lvl="2"/>
            <a:r>
              <a:rPr lang="en-GB"/>
              <a:t>Third level</a:t>
            </a:r>
          </a:p>
        </p:txBody>
      </p:sp>
      <p:sp>
        <p:nvSpPr>
          <p:cNvPr id="6" name="Slide Number Placeholder 5">
            <a:extLst>
              <a:ext uri="{FF2B5EF4-FFF2-40B4-BE49-F238E27FC236}">
                <a16:creationId xmlns:a16="http://schemas.microsoft.com/office/drawing/2014/main" id="{3FB68AB9-3222-3CF5-BF4D-DB291E974D21}"/>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8" name="Subtitle 2">
            <a:extLst>
              <a:ext uri="{FF2B5EF4-FFF2-40B4-BE49-F238E27FC236}">
                <a16:creationId xmlns:a16="http://schemas.microsoft.com/office/drawing/2014/main" id="{7093E36D-AA36-08D5-DD80-6469123BEA1A}"/>
              </a:ext>
            </a:extLst>
          </p:cNvPr>
          <p:cNvSpPr>
            <a:spLocks noGrp="1"/>
          </p:cNvSpPr>
          <p:nvPr>
            <p:ph type="subTitle" idx="1" hasCustomPrompt="1"/>
          </p:nvPr>
        </p:nvSpPr>
        <p:spPr>
          <a:xfrm>
            <a:off x="288302" y="713620"/>
            <a:ext cx="5733083" cy="292965"/>
          </a:xfrm>
        </p:spPr>
        <p:txBody>
          <a:bodyPr wrap="square" anchor="t">
            <a:spAutoFit/>
          </a:bodyPr>
          <a:lstStyle>
            <a:lvl1pPr marL="0" indent="0" algn="l">
              <a:lnSpc>
                <a:spcPct val="110000"/>
              </a:lnSpc>
              <a:spcBef>
                <a:spcPts val="0"/>
              </a:spcBef>
              <a:spcAft>
                <a:spcPts val="0"/>
              </a:spcAft>
              <a:buNone/>
              <a:tabLst/>
              <a:defRPr lang="en-GB" sz="18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Subtitle. Delete if not required.</a:t>
            </a:r>
          </a:p>
        </p:txBody>
      </p:sp>
      <p:sp>
        <p:nvSpPr>
          <p:cNvPr id="4" name="Footer Placeholder 4">
            <a:extLst>
              <a:ext uri="{FF2B5EF4-FFF2-40B4-BE49-F238E27FC236}">
                <a16:creationId xmlns:a16="http://schemas.microsoft.com/office/drawing/2014/main" id="{09011399-EA78-1501-D5C3-39F7E534C30C}"/>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327082192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标题和内容">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AC08568-CB34-FA3A-354B-5E34EE1B1FD2}"/>
              </a:ext>
            </a:extLst>
          </p:cNvPr>
          <p:cNvSpPr>
            <a:spLocks noGrp="1"/>
          </p:cNvSpPr>
          <p:nvPr>
            <p:ph type="title"/>
          </p:nvPr>
        </p:nvSpPr>
        <p:spPr>
          <a:xfrm>
            <a:off x="288303" y="262267"/>
            <a:ext cx="6713538" cy="457818"/>
          </a:xfrm>
        </p:spPr>
        <p:txBody>
          <a:bodyPr/>
          <a:lstStyle/>
          <a:p>
            <a:r>
              <a:rPr lang="zh-CN" altLang="en-US"/>
              <a:t>单击此处编辑母版标题样式</a:t>
            </a:r>
            <a:endParaRPr lang="en-GB"/>
          </a:p>
        </p:txBody>
      </p:sp>
      <p:sp>
        <p:nvSpPr>
          <p:cNvPr id="3" name="Content Placeholder 2">
            <a:extLst>
              <a:ext uri="{FF2B5EF4-FFF2-40B4-BE49-F238E27FC236}">
                <a16:creationId xmlns:a16="http://schemas.microsoft.com/office/drawing/2014/main" id="{980450DE-2BB5-2901-3769-3BBFA07946C8}"/>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7" name="Text Placeholder 7">
            <a:extLst>
              <a:ext uri="{FF2B5EF4-FFF2-40B4-BE49-F238E27FC236}">
                <a16:creationId xmlns:a16="http://schemas.microsoft.com/office/drawing/2014/main" id="{65B587F7-0E47-48EC-A5BC-5623F62D615C}"/>
              </a:ext>
            </a:extLst>
          </p:cNvPr>
          <p:cNvSpPr>
            <a:spLocks noGrp="1"/>
          </p:cNvSpPr>
          <p:nvPr>
            <p:ph type="body" sz="quarter" idx="14" hasCustomPrompt="1"/>
          </p:nvPr>
        </p:nvSpPr>
        <p:spPr>
          <a:xfrm>
            <a:off x="8124825" y="295200"/>
            <a:ext cx="3778250" cy="876375"/>
          </a:xfrm>
        </p:spPr>
        <p:txBody>
          <a:bodyPr/>
          <a:lstStyle>
            <a:lvl1pPr>
              <a:defRPr sz="1400"/>
            </a:lvl1pPr>
            <a:lvl2pPr>
              <a:defRPr sz="1400"/>
            </a:lvl2pPr>
            <a:lvl3pPr>
              <a:defRPr sz="1200"/>
            </a:lvl3pPr>
          </a:lstStyle>
          <a:p>
            <a:pPr lvl="0"/>
            <a:r>
              <a:rPr lang="en-GB"/>
              <a:t>Click to add text. Delete if not required.</a:t>
            </a:r>
          </a:p>
          <a:p>
            <a:pPr lvl="1"/>
            <a:r>
              <a:rPr lang="en-GB"/>
              <a:t>Second level</a:t>
            </a:r>
          </a:p>
          <a:p>
            <a:pPr lvl="2"/>
            <a:r>
              <a:rPr lang="en-GB"/>
              <a:t>Third level</a:t>
            </a:r>
          </a:p>
        </p:txBody>
      </p:sp>
      <p:sp>
        <p:nvSpPr>
          <p:cNvPr id="6" name="Slide Number Placeholder 5">
            <a:extLst>
              <a:ext uri="{FF2B5EF4-FFF2-40B4-BE49-F238E27FC236}">
                <a16:creationId xmlns:a16="http://schemas.microsoft.com/office/drawing/2014/main" id="{3FB68AB9-3222-3CF5-BF4D-DB291E974D21}"/>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4" name="Subtitle 2">
            <a:extLst>
              <a:ext uri="{FF2B5EF4-FFF2-40B4-BE49-F238E27FC236}">
                <a16:creationId xmlns:a16="http://schemas.microsoft.com/office/drawing/2014/main" id="{443DEE11-107C-6B66-46B9-BE5E88B65B71}"/>
              </a:ext>
            </a:extLst>
          </p:cNvPr>
          <p:cNvSpPr>
            <a:spLocks noGrp="1"/>
          </p:cNvSpPr>
          <p:nvPr>
            <p:ph type="subTitle" idx="15" hasCustomPrompt="1"/>
          </p:nvPr>
        </p:nvSpPr>
        <p:spPr>
          <a:xfrm>
            <a:off x="288302" y="713620"/>
            <a:ext cx="5733083" cy="292965"/>
          </a:xfrm>
        </p:spPr>
        <p:txBody>
          <a:bodyPr wrap="square" anchor="t">
            <a:spAutoFit/>
          </a:bodyPr>
          <a:lstStyle>
            <a:lvl1pPr marL="0" indent="0" algn="l">
              <a:lnSpc>
                <a:spcPct val="110000"/>
              </a:lnSpc>
              <a:spcBef>
                <a:spcPts val="0"/>
              </a:spcBef>
              <a:spcAft>
                <a:spcPts val="0"/>
              </a:spcAft>
              <a:buNone/>
              <a:tabLst/>
              <a:defRPr lang="en-GB" sz="18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Subtitle. Delete if not required.</a:t>
            </a:r>
          </a:p>
        </p:txBody>
      </p:sp>
      <p:sp>
        <p:nvSpPr>
          <p:cNvPr id="8" name="Footer Placeholder 4">
            <a:extLst>
              <a:ext uri="{FF2B5EF4-FFF2-40B4-BE49-F238E27FC236}">
                <a16:creationId xmlns:a16="http://schemas.microsoft.com/office/drawing/2014/main" id="{7234E43D-E2A8-6090-A515-BA67D1DC031F}"/>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352941610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两栏内容">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4D7FB2-B0CA-4C96-0E9E-CB4BA9057AF8}"/>
              </a:ext>
            </a:extLst>
          </p:cNvPr>
          <p:cNvSpPr>
            <a:spLocks noGrp="1"/>
          </p:cNvSpPr>
          <p:nvPr>
            <p:ph type="title"/>
          </p:nvPr>
        </p:nvSpPr>
        <p:spPr>
          <a:xfrm>
            <a:off x="288303" y="262267"/>
            <a:ext cx="6713538" cy="457818"/>
          </a:xfrm>
        </p:spPr>
        <p:txBody>
          <a:bodyPr/>
          <a:lstStyle/>
          <a:p>
            <a:r>
              <a:rPr lang="zh-CN" altLang="en-US"/>
              <a:t>单击此处编辑母版标题样式</a:t>
            </a:r>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822449"/>
            <a:ext cx="5732003" cy="3943351"/>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6165851" y="1822450"/>
            <a:ext cx="5734049" cy="3943350"/>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10" name="Text Placeholder 7">
            <a:extLst>
              <a:ext uri="{FF2B5EF4-FFF2-40B4-BE49-F238E27FC236}">
                <a16:creationId xmlns:a16="http://schemas.microsoft.com/office/drawing/2014/main" id="{F80BC13B-177D-A0D3-7A97-8F3C3A8E7391}"/>
              </a:ext>
            </a:extLst>
          </p:cNvPr>
          <p:cNvSpPr>
            <a:spLocks noGrp="1"/>
          </p:cNvSpPr>
          <p:nvPr>
            <p:ph type="body" sz="quarter" idx="14" hasCustomPrompt="1"/>
          </p:nvPr>
        </p:nvSpPr>
        <p:spPr>
          <a:xfrm>
            <a:off x="8124825" y="295200"/>
            <a:ext cx="3778250" cy="876375"/>
          </a:xfrm>
        </p:spPr>
        <p:txBody>
          <a:bodyPr/>
          <a:lstStyle>
            <a:lvl1pPr>
              <a:defRPr sz="1400"/>
            </a:lvl1pPr>
            <a:lvl2pPr>
              <a:defRPr sz="1400"/>
            </a:lvl2pPr>
            <a:lvl3pPr>
              <a:defRPr sz="1200"/>
            </a:lvl3pPr>
          </a:lstStyle>
          <a:p>
            <a:pPr lvl="0"/>
            <a:r>
              <a:rPr lang="en-GB"/>
              <a:t>Click to add text. Delete if not required.</a:t>
            </a:r>
          </a:p>
          <a:p>
            <a:pPr lvl="1"/>
            <a:r>
              <a:rPr lang="en-GB"/>
              <a:t>Second level</a:t>
            </a:r>
          </a:p>
          <a:p>
            <a:pPr lvl="2"/>
            <a:r>
              <a:rPr lang="en-GB"/>
              <a:t>Third level</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2" name="Subtitle 2">
            <a:extLst>
              <a:ext uri="{FF2B5EF4-FFF2-40B4-BE49-F238E27FC236}">
                <a16:creationId xmlns:a16="http://schemas.microsoft.com/office/drawing/2014/main" id="{56361D27-85D4-45EB-31D3-6D805D2E106E}"/>
              </a:ext>
            </a:extLst>
          </p:cNvPr>
          <p:cNvSpPr>
            <a:spLocks noGrp="1"/>
          </p:cNvSpPr>
          <p:nvPr>
            <p:ph type="subTitle" idx="15"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5" name="Footer Placeholder 4">
            <a:extLst>
              <a:ext uri="{FF2B5EF4-FFF2-40B4-BE49-F238E27FC236}">
                <a16:creationId xmlns:a16="http://schemas.microsoft.com/office/drawing/2014/main" id="{22BA91C6-E980-9240-DC55-BBA4867CB9FE}"/>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184490697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BC8828CA-7D5C-3E61-D35B-06A376A834B0}"/>
              </a:ext>
            </a:extLst>
          </p:cNvPr>
          <p:cNvSpPr>
            <a:spLocks noGrp="1"/>
          </p:cNvSpPr>
          <p:nvPr>
            <p:ph type="title"/>
          </p:nvPr>
        </p:nvSpPr>
        <p:spPr>
          <a:xfrm>
            <a:off x="288303" y="262267"/>
            <a:ext cx="6713538" cy="457818"/>
          </a:xfrm>
        </p:spPr>
        <p:txBody>
          <a:bodyPr/>
          <a:lstStyle/>
          <a:p>
            <a:r>
              <a:rPr lang="zh-CN" altLang="en-US"/>
              <a:t>单击此处编辑母版标题样式</a:t>
            </a:r>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822451"/>
            <a:ext cx="3773029" cy="3943349"/>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4208923" y="1822451"/>
            <a:ext cx="3773028" cy="3943349"/>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3" name="Content Placeholder 2">
            <a:extLst>
              <a:ext uri="{FF2B5EF4-FFF2-40B4-BE49-F238E27FC236}">
                <a16:creationId xmlns:a16="http://schemas.microsoft.com/office/drawing/2014/main" id="{2D07DFA4-9148-416B-352F-29E5676A6A00}"/>
              </a:ext>
            </a:extLst>
          </p:cNvPr>
          <p:cNvSpPr>
            <a:spLocks noGrp="1"/>
          </p:cNvSpPr>
          <p:nvPr>
            <p:ph idx="14"/>
          </p:nvPr>
        </p:nvSpPr>
        <p:spPr>
          <a:xfrm>
            <a:off x="8129587" y="1822451"/>
            <a:ext cx="3773028" cy="3943349"/>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4" name="Text Placeholder 7">
            <a:extLst>
              <a:ext uri="{FF2B5EF4-FFF2-40B4-BE49-F238E27FC236}">
                <a16:creationId xmlns:a16="http://schemas.microsoft.com/office/drawing/2014/main" id="{66A26018-CD47-11D0-838D-A1A2D71C4DE9}"/>
              </a:ext>
            </a:extLst>
          </p:cNvPr>
          <p:cNvSpPr>
            <a:spLocks noGrp="1"/>
          </p:cNvSpPr>
          <p:nvPr>
            <p:ph type="body" sz="quarter" idx="15" hasCustomPrompt="1"/>
          </p:nvPr>
        </p:nvSpPr>
        <p:spPr>
          <a:xfrm>
            <a:off x="8125200" y="295200"/>
            <a:ext cx="3773488" cy="876375"/>
          </a:xfrm>
        </p:spPr>
        <p:txBody>
          <a:bodyPr/>
          <a:lstStyle>
            <a:lvl1pPr>
              <a:defRPr sz="1400"/>
            </a:lvl1pPr>
            <a:lvl2pPr>
              <a:defRPr sz="1400"/>
            </a:lvl2pPr>
            <a:lvl3pPr>
              <a:defRPr sz="1200"/>
            </a:lvl3pPr>
          </a:lstStyle>
          <a:p>
            <a:pPr lvl="0"/>
            <a:r>
              <a:rPr lang="en-GB"/>
              <a:t>Click to add text. Delete if not required.</a:t>
            </a:r>
          </a:p>
          <a:p>
            <a:pPr lvl="1"/>
            <a:r>
              <a:rPr lang="en-GB"/>
              <a:t>Second level</a:t>
            </a:r>
          </a:p>
          <a:p>
            <a:pPr lvl="2"/>
            <a:r>
              <a:rPr lang="en-GB"/>
              <a:t>Third level</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5" name="Subtitle 2">
            <a:extLst>
              <a:ext uri="{FF2B5EF4-FFF2-40B4-BE49-F238E27FC236}">
                <a16:creationId xmlns:a16="http://schemas.microsoft.com/office/drawing/2014/main" id="{D960C6BF-F9C7-01C8-7601-5B209FAE017D}"/>
              </a:ext>
            </a:extLst>
          </p:cNvPr>
          <p:cNvSpPr>
            <a:spLocks noGrp="1"/>
          </p:cNvSpPr>
          <p:nvPr>
            <p:ph type="subTitle" idx="16"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2" name="Footer Placeholder 4">
            <a:extLst>
              <a:ext uri="{FF2B5EF4-FFF2-40B4-BE49-F238E27FC236}">
                <a16:creationId xmlns:a16="http://schemas.microsoft.com/office/drawing/2014/main" id="{67699C8C-E675-503A-24B2-BFCC24CE49A7}"/>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367420728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hree Images and Text">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FD914B4A-06B9-EB7A-743E-14A6560485EF}"/>
              </a:ext>
            </a:extLst>
          </p:cNvPr>
          <p:cNvSpPr>
            <a:spLocks noGrp="1"/>
          </p:cNvSpPr>
          <p:nvPr>
            <p:ph type="title"/>
          </p:nvPr>
        </p:nvSpPr>
        <p:spPr>
          <a:xfrm>
            <a:off x="288303" y="262267"/>
            <a:ext cx="6713538" cy="457818"/>
          </a:xfrm>
        </p:spPr>
        <p:txBody>
          <a:bodyPr/>
          <a:lstStyle/>
          <a:p>
            <a:r>
              <a:rPr lang="zh-CN" altLang="en-US"/>
              <a:t>单击此处编辑母版标题样式</a:t>
            </a:r>
            <a:endParaRPr lang="en-GB"/>
          </a:p>
        </p:txBody>
      </p:sp>
      <p:sp>
        <p:nvSpPr>
          <p:cNvPr id="4" name="Picture Placeholder 3">
            <a:extLst>
              <a:ext uri="{FF2B5EF4-FFF2-40B4-BE49-F238E27FC236}">
                <a16:creationId xmlns:a16="http://schemas.microsoft.com/office/drawing/2014/main" id="{A2903A13-6903-3CAB-953B-86997724B440}"/>
              </a:ext>
            </a:extLst>
          </p:cNvPr>
          <p:cNvSpPr>
            <a:spLocks noGrp="1"/>
          </p:cNvSpPr>
          <p:nvPr>
            <p:ph type="pic" sz="quarter" idx="15" hasCustomPrompt="1"/>
          </p:nvPr>
        </p:nvSpPr>
        <p:spPr>
          <a:xfrm>
            <a:off x="292099" y="1306514"/>
            <a:ext cx="3770314" cy="1908174"/>
          </a:xfrm>
          <a:solidFill>
            <a:schemeClr val="tx2"/>
          </a:solidFill>
        </p:spPr>
        <p:txBody>
          <a:bodyPr vert="horz" lIns="0" tIns="0" rIns="0" bIns="0" rtlCol="0">
            <a:noAutofit/>
          </a:bodyPr>
          <a:lstStyle>
            <a:lvl1pPr>
              <a:defRPr lang="en-GB" dirty="0">
                <a:solidFill>
                  <a:schemeClr val="tx1"/>
                </a:solidFill>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0" name="Picture Placeholder 3">
            <a:extLst>
              <a:ext uri="{FF2B5EF4-FFF2-40B4-BE49-F238E27FC236}">
                <a16:creationId xmlns:a16="http://schemas.microsoft.com/office/drawing/2014/main" id="{1B5E5492-00A8-B509-4464-956D8959E92C}"/>
              </a:ext>
            </a:extLst>
          </p:cNvPr>
          <p:cNvSpPr>
            <a:spLocks noGrp="1"/>
          </p:cNvSpPr>
          <p:nvPr>
            <p:ph type="pic" sz="quarter" idx="16" hasCustomPrompt="1"/>
          </p:nvPr>
        </p:nvSpPr>
        <p:spPr>
          <a:xfrm>
            <a:off x="4206876" y="1306514"/>
            <a:ext cx="3775076" cy="1908174"/>
          </a:xfrm>
          <a:solidFill>
            <a:schemeClr val="tx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1" name="Picture Placeholder 3">
            <a:extLst>
              <a:ext uri="{FF2B5EF4-FFF2-40B4-BE49-F238E27FC236}">
                <a16:creationId xmlns:a16="http://schemas.microsoft.com/office/drawing/2014/main" id="{5230A832-8B14-0097-7902-DB48A4A889E3}"/>
              </a:ext>
            </a:extLst>
          </p:cNvPr>
          <p:cNvSpPr>
            <a:spLocks noGrp="1"/>
          </p:cNvSpPr>
          <p:nvPr>
            <p:ph type="pic" sz="quarter" idx="17" hasCustomPrompt="1"/>
          </p:nvPr>
        </p:nvSpPr>
        <p:spPr>
          <a:xfrm>
            <a:off x="8124824" y="1306514"/>
            <a:ext cx="3775075" cy="1908174"/>
          </a:xfrm>
          <a:solidFill>
            <a:schemeClr val="tx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3" name="Text Placeholder 7">
            <a:extLst>
              <a:ext uri="{FF2B5EF4-FFF2-40B4-BE49-F238E27FC236}">
                <a16:creationId xmlns:a16="http://schemas.microsoft.com/office/drawing/2014/main" id="{8C00D127-E34B-E7AD-7F27-D3CB55135083}"/>
              </a:ext>
            </a:extLst>
          </p:cNvPr>
          <p:cNvSpPr>
            <a:spLocks noGrp="1"/>
          </p:cNvSpPr>
          <p:nvPr>
            <p:ph type="body" sz="quarter" idx="18" hasCustomPrompt="1"/>
          </p:nvPr>
        </p:nvSpPr>
        <p:spPr>
          <a:xfrm>
            <a:off x="8124205" y="295200"/>
            <a:ext cx="3778870" cy="876375"/>
          </a:xfrm>
        </p:spPr>
        <p:txBody>
          <a:bodyPr/>
          <a:lstStyle>
            <a:lvl1pPr>
              <a:defRPr sz="1400"/>
            </a:lvl1pPr>
            <a:lvl2pPr>
              <a:defRPr sz="1400"/>
            </a:lvl2pPr>
            <a:lvl3pPr>
              <a:defRPr sz="1200"/>
            </a:lvl3pPr>
          </a:lstStyle>
          <a:p>
            <a:pPr lvl="0"/>
            <a:r>
              <a:rPr lang="en-GB"/>
              <a:t>Click to add text. Delete if not required.</a:t>
            </a:r>
          </a:p>
          <a:p>
            <a:pPr lvl="1"/>
            <a:r>
              <a:rPr lang="en-GB"/>
              <a:t>Second level</a:t>
            </a:r>
          </a:p>
          <a:p>
            <a:pPr lvl="2"/>
            <a:r>
              <a:rPr lang="en-GB"/>
              <a:t>Third level</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2" name="Subtitle 2">
            <a:extLst>
              <a:ext uri="{FF2B5EF4-FFF2-40B4-BE49-F238E27FC236}">
                <a16:creationId xmlns:a16="http://schemas.microsoft.com/office/drawing/2014/main" id="{A957F58C-3461-45A3-5C7B-FEC0AE9787AA}"/>
              </a:ext>
            </a:extLst>
          </p:cNvPr>
          <p:cNvSpPr>
            <a:spLocks noGrp="1"/>
          </p:cNvSpPr>
          <p:nvPr>
            <p:ph type="subTitle" idx="19"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12" name="Text Placeholder 11">
            <a:extLst>
              <a:ext uri="{FF2B5EF4-FFF2-40B4-BE49-F238E27FC236}">
                <a16:creationId xmlns:a16="http://schemas.microsoft.com/office/drawing/2014/main" id="{C0E54879-16D3-D32C-7096-C2022A52D2DF}"/>
              </a:ext>
            </a:extLst>
          </p:cNvPr>
          <p:cNvSpPr>
            <a:spLocks noGrp="1"/>
          </p:cNvSpPr>
          <p:nvPr>
            <p:ph type="body" sz="quarter" idx="20"/>
          </p:nvPr>
        </p:nvSpPr>
        <p:spPr>
          <a:xfrm>
            <a:off x="288925" y="3357563"/>
            <a:ext cx="3769200" cy="2408237"/>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15" name="Text Placeholder 11">
            <a:extLst>
              <a:ext uri="{FF2B5EF4-FFF2-40B4-BE49-F238E27FC236}">
                <a16:creationId xmlns:a16="http://schemas.microsoft.com/office/drawing/2014/main" id="{111B2AEB-EC1B-D6B6-2A0C-C42A73F419DD}"/>
              </a:ext>
            </a:extLst>
          </p:cNvPr>
          <p:cNvSpPr>
            <a:spLocks noGrp="1"/>
          </p:cNvSpPr>
          <p:nvPr>
            <p:ph type="body" sz="quarter" idx="21"/>
          </p:nvPr>
        </p:nvSpPr>
        <p:spPr>
          <a:xfrm>
            <a:off x="4206876" y="3357563"/>
            <a:ext cx="3776400" cy="2408237"/>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16" name="Text Placeholder 11">
            <a:extLst>
              <a:ext uri="{FF2B5EF4-FFF2-40B4-BE49-F238E27FC236}">
                <a16:creationId xmlns:a16="http://schemas.microsoft.com/office/drawing/2014/main" id="{604DF7D6-F323-CF70-9E5E-634416CD4FA3}"/>
              </a:ext>
            </a:extLst>
          </p:cNvPr>
          <p:cNvSpPr>
            <a:spLocks noGrp="1"/>
          </p:cNvSpPr>
          <p:nvPr>
            <p:ph type="body" sz="quarter" idx="22"/>
          </p:nvPr>
        </p:nvSpPr>
        <p:spPr>
          <a:xfrm>
            <a:off x="8124824" y="3357563"/>
            <a:ext cx="3776400" cy="2408237"/>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3" name="Footer Placeholder 4">
            <a:extLst>
              <a:ext uri="{FF2B5EF4-FFF2-40B4-BE49-F238E27FC236}">
                <a16:creationId xmlns:a16="http://schemas.microsoft.com/office/drawing/2014/main" id="{A50A90C1-8224-5C16-1EC9-D3E24C8CF223}"/>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361983046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F7510D54-8AF6-FB56-756F-08A956F574D9}"/>
              </a:ext>
            </a:extLst>
          </p:cNvPr>
          <p:cNvSpPr>
            <a:spLocks noGrp="1"/>
          </p:cNvSpPr>
          <p:nvPr>
            <p:ph type="title"/>
          </p:nvPr>
        </p:nvSpPr>
        <p:spPr>
          <a:xfrm>
            <a:off x="288303" y="262267"/>
            <a:ext cx="6713538" cy="457818"/>
          </a:xfrm>
        </p:spPr>
        <p:txBody>
          <a:bodyPr/>
          <a:lstStyle/>
          <a:p>
            <a:r>
              <a:rPr lang="zh-CN" altLang="en-US"/>
              <a:t>单击此处编辑母版标题样式</a:t>
            </a:r>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822449"/>
            <a:ext cx="2793541" cy="3943351"/>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6165853" y="1822450"/>
            <a:ext cx="2795586" cy="3943350"/>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3" name="Content Placeholder 2">
            <a:extLst>
              <a:ext uri="{FF2B5EF4-FFF2-40B4-BE49-F238E27FC236}">
                <a16:creationId xmlns:a16="http://schemas.microsoft.com/office/drawing/2014/main" id="{73E966BC-48D6-0237-3D83-9F8CB77DC975}"/>
              </a:ext>
            </a:extLst>
          </p:cNvPr>
          <p:cNvSpPr>
            <a:spLocks noGrp="1"/>
          </p:cNvSpPr>
          <p:nvPr>
            <p:ph idx="14"/>
          </p:nvPr>
        </p:nvSpPr>
        <p:spPr>
          <a:xfrm>
            <a:off x="3225801" y="1822450"/>
            <a:ext cx="2793542" cy="3943350"/>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4" name="Content Placeholder 2">
            <a:extLst>
              <a:ext uri="{FF2B5EF4-FFF2-40B4-BE49-F238E27FC236}">
                <a16:creationId xmlns:a16="http://schemas.microsoft.com/office/drawing/2014/main" id="{48B10B95-D320-4FA6-98CE-883417C5DC22}"/>
              </a:ext>
            </a:extLst>
          </p:cNvPr>
          <p:cNvSpPr>
            <a:spLocks noGrp="1"/>
          </p:cNvSpPr>
          <p:nvPr>
            <p:ph idx="15"/>
          </p:nvPr>
        </p:nvSpPr>
        <p:spPr>
          <a:xfrm>
            <a:off x="9104313" y="1822450"/>
            <a:ext cx="2795587" cy="3943350"/>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5" name="Text Placeholder 7">
            <a:extLst>
              <a:ext uri="{FF2B5EF4-FFF2-40B4-BE49-F238E27FC236}">
                <a16:creationId xmlns:a16="http://schemas.microsoft.com/office/drawing/2014/main" id="{E3C7D5F1-8B5D-5312-7A0B-9754F64800D3}"/>
              </a:ext>
            </a:extLst>
          </p:cNvPr>
          <p:cNvSpPr>
            <a:spLocks noGrp="1"/>
          </p:cNvSpPr>
          <p:nvPr>
            <p:ph type="body" sz="quarter" idx="16" hasCustomPrompt="1"/>
          </p:nvPr>
        </p:nvSpPr>
        <p:spPr>
          <a:xfrm>
            <a:off x="8124205" y="295200"/>
            <a:ext cx="3778870" cy="876375"/>
          </a:xfrm>
        </p:spPr>
        <p:txBody>
          <a:bodyPr/>
          <a:lstStyle>
            <a:lvl1pPr>
              <a:defRPr sz="1400"/>
            </a:lvl1pPr>
            <a:lvl2pPr>
              <a:defRPr sz="1400"/>
            </a:lvl2pPr>
            <a:lvl3pPr>
              <a:defRPr sz="1200"/>
            </a:lvl3pPr>
          </a:lstStyle>
          <a:p>
            <a:pPr lvl="0"/>
            <a:r>
              <a:rPr lang="en-GB"/>
              <a:t>Click to add text. Delete if not required.</a:t>
            </a:r>
          </a:p>
          <a:p>
            <a:pPr lvl="1"/>
            <a:r>
              <a:rPr lang="en-GB"/>
              <a:t>Second level</a:t>
            </a:r>
          </a:p>
          <a:p>
            <a:pPr lvl="2"/>
            <a:r>
              <a:rPr lang="en-GB"/>
              <a:t>Third level</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2" name="Subtitle 2">
            <a:extLst>
              <a:ext uri="{FF2B5EF4-FFF2-40B4-BE49-F238E27FC236}">
                <a16:creationId xmlns:a16="http://schemas.microsoft.com/office/drawing/2014/main" id="{722B44CB-D9B7-ACB7-EC09-74A55C85B1AA}"/>
              </a:ext>
            </a:extLst>
          </p:cNvPr>
          <p:cNvSpPr>
            <a:spLocks noGrp="1"/>
          </p:cNvSpPr>
          <p:nvPr>
            <p:ph type="subTitle" idx="17"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10" name="Footer Placeholder 4">
            <a:extLst>
              <a:ext uri="{FF2B5EF4-FFF2-40B4-BE49-F238E27FC236}">
                <a16:creationId xmlns:a16="http://schemas.microsoft.com/office/drawing/2014/main" id="{2FD518FF-79D2-C6D5-01D5-64DFE231209A}"/>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392149592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Four Content with Image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5EFD4EAF-3D60-DC5D-9020-CF7FB8FB51D2}"/>
              </a:ext>
            </a:extLst>
          </p:cNvPr>
          <p:cNvSpPr>
            <a:spLocks noGrp="1"/>
          </p:cNvSpPr>
          <p:nvPr>
            <p:ph type="title"/>
          </p:nvPr>
        </p:nvSpPr>
        <p:spPr>
          <a:xfrm>
            <a:off x="288303" y="262267"/>
            <a:ext cx="6713538" cy="457818"/>
          </a:xfrm>
        </p:spPr>
        <p:txBody>
          <a:bodyPr/>
          <a:lstStyle/>
          <a:p>
            <a:r>
              <a:rPr lang="zh-CN" altLang="en-US"/>
              <a:t>单击此处编辑母版标题样式</a:t>
            </a:r>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10" name="Picture Placeholder 3">
            <a:extLst>
              <a:ext uri="{FF2B5EF4-FFF2-40B4-BE49-F238E27FC236}">
                <a16:creationId xmlns:a16="http://schemas.microsoft.com/office/drawing/2014/main" id="{4E9C5E07-6992-3F19-1B3D-971FA4CAA6E9}"/>
              </a:ext>
            </a:extLst>
          </p:cNvPr>
          <p:cNvSpPr>
            <a:spLocks noGrp="1"/>
          </p:cNvSpPr>
          <p:nvPr>
            <p:ph type="pic" sz="quarter" idx="16" hasCustomPrompt="1"/>
          </p:nvPr>
        </p:nvSpPr>
        <p:spPr>
          <a:xfrm>
            <a:off x="292100" y="1306514"/>
            <a:ext cx="2790825" cy="1908174"/>
          </a:xfrm>
          <a:solidFill>
            <a:schemeClr val="tx2"/>
          </a:solidFill>
        </p:spPr>
        <p:txBody>
          <a:bodyPr vert="horz" lIns="0" tIns="0" rIns="0" bIns="0" rtlCol="0">
            <a:noAutofit/>
          </a:bodyPr>
          <a:lstStyle>
            <a:lvl1pPr>
              <a:defRPr lang="en-GB">
                <a:solidFill>
                  <a:schemeClr val="tx1"/>
                </a:solidFill>
                <a:latin typeface="+mn-lt"/>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r>
              <a:rPr lang="en-GB"/>
              <a:t> Delete if not required.</a:t>
            </a:r>
            <a:endParaRPr lang="en-US"/>
          </a:p>
        </p:txBody>
      </p:sp>
      <p:sp>
        <p:nvSpPr>
          <p:cNvPr id="11" name="Picture Placeholder 3">
            <a:extLst>
              <a:ext uri="{FF2B5EF4-FFF2-40B4-BE49-F238E27FC236}">
                <a16:creationId xmlns:a16="http://schemas.microsoft.com/office/drawing/2014/main" id="{1DFC9CD2-F9F0-5542-03DE-0F1FE57839DE}"/>
              </a:ext>
            </a:extLst>
          </p:cNvPr>
          <p:cNvSpPr>
            <a:spLocks noGrp="1"/>
          </p:cNvSpPr>
          <p:nvPr>
            <p:ph type="pic" sz="quarter" idx="17" hasCustomPrompt="1"/>
          </p:nvPr>
        </p:nvSpPr>
        <p:spPr>
          <a:xfrm>
            <a:off x="3225800" y="1306515"/>
            <a:ext cx="2795588" cy="1906586"/>
          </a:xfrm>
          <a:solidFill>
            <a:schemeClr val="tx2"/>
          </a:solidFill>
        </p:spPr>
        <p:txBody>
          <a:bodyPr vert="horz" lIns="0" tIns="0" rIns="0" bIns="0" rtlCol="0">
            <a:noAutofit/>
          </a:bodyPr>
          <a:lstStyle>
            <a:lvl1pPr>
              <a:defRPr lang="en-GB" dirty="0">
                <a:solidFill>
                  <a:schemeClr val="tx1"/>
                </a:solidFill>
                <a:latin typeface="+mn-lt"/>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r>
              <a:rPr lang="en-GB"/>
              <a:t> Delete if not required.</a:t>
            </a:r>
            <a:endParaRPr lang="en-US"/>
          </a:p>
        </p:txBody>
      </p:sp>
      <p:sp>
        <p:nvSpPr>
          <p:cNvPr id="12" name="Picture Placeholder 3">
            <a:extLst>
              <a:ext uri="{FF2B5EF4-FFF2-40B4-BE49-F238E27FC236}">
                <a16:creationId xmlns:a16="http://schemas.microsoft.com/office/drawing/2014/main" id="{D5E872F4-C139-6D56-50F9-7D21C3B1C8C0}"/>
              </a:ext>
            </a:extLst>
          </p:cNvPr>
          <p:cNvSpPr>
            <a:spLocks noGrp="1"/>
          </p:cNvSpPr>
          <p:nvPr>
            <p:ph type="pic" sz="quarter" idx="18" hasCustomPrompt="1"/>
          </p:nvPr>
        </p:nvSpPr>
        <p:spPr>
          <a:xfrm>
            <a:off x="6165850" y="1306513"/>
            <a:ext cx="2795588" cy="1908175"/>
          </a:xfrm>
          <a:solidFill>
            <a:schemeClr val="tx2"/>
          </a:solidFill>
        </p:spPr>
        <p:txBody>
          <a:bodyPr vert="horz" lIns="0" tIns="0" rIns="0" bIns="0" rtlCol="0">
            <a:noAutofit/>
          </a:bodyPr>
          <a:lstStyle>
            <a:lvl1pPr>
              <a:defRPr lang="en-GB">
                <a:solidFill>
                  <a:schemeClr val="tx1"/>
                </a:solidFill>
                <a:latin typeface="+mn-lt"/>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r>
              <a:rPr lang="en-GB"/>
              <a:t> Delete if not required.</a:t>
            </a:r>
            <a:endParaRPr lang="en-US"/>
          </a:p>
        </p:txBody>
      </p:sp>
      <p:sp>
        <p:nvSpPr>
          <p:cNvPr id="13" name="Picture Placeholder 3">
            <a:extLst>
              <a:ext uri="{FF2B5EF4-FFF2-40B4-BE49-F238E27FC236}">
                <a16:creationId xmlns:a16="http://schemas.microsoft.com/office/drawing/2014/main" id="{84712E5D-D603-F9AE-3C3A-D37795F75238}"/>
              </a:ext>
            </a:extLst>
          </p:cNvPr>
          <p:cNvSpPr>
            <a:spLocks noGrp="1"/>
          </p:cNvSpPr>
          <p:nvPr>
            <p:ph type="pic" sz="quarter" idx="19" hasCustomPrompt="1"/>
          </p:nvPr>
        </p:nvSpPr>
        <p:spPr>
          <a:xfrm>
            <a:off x="9104313" y="1306513"/>
            <a:ext cx="2799890" cy="1906588"/>
          </a:xfrm>
          <a:solidFill>
            <a:schemeClr val="tx2"/>
          </a:solidFill>
        </p:spPr>
        <p:txBody>
          <a:bodyPr vert="horz" lIns="0" tIns="0" rIns="0" bIns="0" rtlCol="0">
            <a:noAutofit/>
          </a:bodyPr>
          <a:lstStyle>
            <a:lvl1pPr>
              <a:defRPr lang="en-GB" dirty="0">
                <a:solidFill>
                  <a:schemeClr val="tx1"/>
                </a:solidFill>
                <a:latin typeface="+mn-lt"/>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r>
              <a:rPr lang="en-GB"/>
              <a:t> Delete if not required.</a:t>
            </a:r>
            <a:endParaRPr lang="en-US"/>
          </a:p>
        </p:txBody>
      </p:sp>
      <p:sp>
        <p:nvSpPr>
          <p:cNvPr id="5" name="Text Placeholder 7">
            <a:extLst>
              <a:ext uri="{FF2B5EF4-FFF2-40B4-BE49-F238E27FC236}">
                <a16:creationId xmlns:a16="http://schemas.microsoft.com/office/drawing/2014/main" id="{19D9921F-F7C4-B7B7-7BFB-FFFA54F89ACB}"/>
              </a:ext>
            </a:extLst>
          </p:cNvPr>
          <p:cNvSpPr>
            <a:spLocks noGrp="1"/>
          </p:cNvSpPr>
          <p:nvPr>
            <p:ph type="body" sz="quarter" idx="20" hasCustomPrompt="1"/>
          </p:nvPr>
        </p:nvSpPr>
        <p:spPr>
          <a:xfrm>
            <a:off x="8124205" y="295200"/>
            <a:ext cx="3778870" cy="876375"/>
          </a:xfrm>
        </p:spPr>
        <p:txBody>
          <a:bodyPr/>
          <a:lstStyle>
            <a:lvl1pPr>
              <a:defRPr sz="1400"/>
            </a:lvl1pPr>
            <a:lvl2pPr>
              <a:defRPr sz="1400"/>
            </a:lvl2pPr>
            <a:lvl3pPr>
              <a:defRPr sz="1200"/>
            </a:lvl3pPr>
          </a:lstStyle>
          <a:p>
            <a:pPr lvl="0"/>
            <a:r>
              <a:rPr lang="en-GB"/>
              <a:t>Click to add text. Delete if not required.</a:t>
            </a:r>
          </a:p>
          <a:p>
            <a:pPr lvl="1"/>
            <a:r>
              <a:rPr lang="en-GB"/>
              <a:t>Second level</a:t>
            </a:r>
          </a:p>
          <a:p>
            <a:pPr lvl="2"/>
            <a:r>
              <a:rPr lang="en-GB"/>
              <a:t>Third level</a:t>
            </a:r>
          </a:p>
        </p:txBody>
      </p:sp>
      <p:sp>
        <p:nvSpPr>
          <p:cNvPr id="2" name="Subtitle 2">
            <a:extLst>
              <a:ext uri="{FF2B5EF4-FFF2-40B4-BE49-F238E27FC236}">
                <a16:creationId xmlns:a16="http://schemas.microsoft.com/office/drawing/2014/main" id="{A6811233-C261-B7A8-9BF5-E6DBD474B2D8}"/>
              </a:ext>
            </a:extLst>
          </p:cNvPr>
          <p:cNvSpPr>
            <a:spLocks noGrp="1"/>
          </p:cNvSpPr>
          <p:nvPr>
            <p:ph type="subTitle" idx="21"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14" name="Text Placeholder 11">
            <a:extLst>
              <a:ext uri="{FF2B5EF4-FFF2-40B4-BE49-F238E27FC236}">
                <a16:creationId xmlns:a16="http://schemas.microsoft.com/office/drawing/2014/main" id="{AB473CBC-7605-D3E8-783C-F925B286C464}"/>
              </a:ext>
            </a:extLst>
          </p:cNvPr>
          <p:cNvSpPr>
            <a:spLocks noGrp="1"/>
          </p:cNvSpPr>
          <p:nvPr>
            <p:ph type="body" sz="quarter" idx="22"/>
          </p:nvPr>
        </p:nvSpPr>
        <p:spPr>
          <a:xfrm>
            <a:off x="288925" y="3357563"/>
            <a:ext cx="2790825" cy="2408237"/>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16" name="Text Placeholder 11">
            <a:extLst>
              <a:ext uri="{FF2B5EF4-FFF2-40B4-BE49-F238E27FC236}">
                <a16:creationId xmlns:a16="http://schemas.microsoft.com/office/drawing/2014/main" id="{D5F5363E-BC98-62D0-50C8-BB47491FC9D2}"/>
              </a:ext>
            </a:extLst>
          </p:cNvPr>
          <p:cNvSpPr>
            <a:spLocks noGrp="1"/>
          </p:cNvSpPr>
          <p:nvPr>
            <p:ph type="body" sz="quarter" idx="23"/>
          </p:nvPr>
        </p:nvSpPr>
        <p:spPr>
          <a:xfrm>
            <a:off x="3233115" y="3357563"/>
            <a:ext cx="2796156" cy="2408237"/>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17" name="Text Placeholder 11">
            <a:extLst>
              <a:ext uri="{FF2B5EF4-FFF2-40B4-BE49-F238E27FC236}">
                <a16:creationId xmlns:a16="http://schemas.microsoft.com/office/drawing/2014/main" id="{2CFDC76E-CB6A-2A48-41EF-35223633C7FE}"/>
              </a:ext>
            </a:extLst>
          </p:cNvPr>
          <p:cNvSpPr>
            <a:spLocks noGrp="1"/>
          </p:cNvSpPr>
          <p:nvPr>
            <p:ph type="body" sz="quarter" idx="24"/>
          </p:nvPr>
        </p:nvSpPr>
        <p:spPr>
          <a:xfrm>
            <a:off x="6175321" y="3357563"/>
            <a:ext cx="2796156" cy="2408237"/>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18" name="Text Placeholder 11">
            <a:extLst>
              <a:ext uri="{FF2B5EF4-FFF2-40B4-BE49-F238E27FC236}">
                <a16:creationId xmlns:a16="http://schemas.microsoft.com/office/drawing/2014/main" id="{12E56C66-93E1-5486-DC8D-DDF4C1E184CC}"/>
              </a:ext>
            </a:extLst>
          </p:cNvPr>
          <p:cNvSpPr>
            <a:spLocks noGrp="1"/>
          </p:cNvSpPr>
          <p:nvPr>
            <p:ph type="body" sz="quarter" idx="25"/>
          </p:nvPr>
        </p:nvSpPr>
        <p:spPr>
          <a:xfrm>
            <a:off x="9104313" y="3357563"/>
            <a:ext cx="2800800" cy="2408237"/>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3" name="Footer Placeholder 4">
            <a:extLst>
              <a:ext uri="{FF2B5EF4-FFF2-40B4-BE49-F238E27FC236}">
                <a16:creationId xmlns:a16="http://schemas.microsoft.com/office/drawing/2014/main" id="{9DCAB8AB-4C0B-7253-B5CE-B910AD2A2752}"/>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1135071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BC8828CA-7D5C-3E61-D35B-06A376A834B0}"/>
              </a:ext>
            </a:extLst>
          </p:cNvPr>
          <p:cNvSpPr>
            <a:spLocks noGrp="1"/>
          </p:cNvSpPr>
          <p:nvPr>
            <p:ph type="title"/>
          </p:nvPr>
        </p:nvSpPr>
        <p:spPr>
          <a:xfrm>
            <a:off x="288303" y="262267"/>
            <a:ext cx="6713538" cy="457818"/>
          </a:xfrm>
        </p:spPr>
        <p:txBody>
          <a:bodyPr/>
          <a:lstStyle/>
          <a:p>
            <a:r>
              <a:rPr lang="en-US"/>
              <a:t>Click to edit Master title style</a:t>
            </a:r>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822451"/>
            <a:ext cx="3773029" cy="44481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4208923" y="1822451"/>
            <a:ext cx="3773028" cy="44481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2D07DFA4-9148-416B-352F-29E5676A6A00}"/>
              </a:ext>
            </a:extLst>
          </p:cNvPr>
          <p:cNvSpPr>
            <a:spLocks noGrp="1"/>
          </p:cNvSpPr>
          <p:nvPr>
            <p:ph idx="14"/>
          </p:nvPr>
        </p:nvSpPr>
        <p:spPr>
          <a:xfrm>
            <a:off x="8129587" y="1822451"/>
            <a:ext cx="3773028" cy="44481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r>
              <a:rPr lang="en-US"/>
              <a:t>Job Aid and Guidance Document still under review.</a:t>
            </a:r>
            <a:endParaRPr lang="en-GB"/>
          </a:p>
        </p:txBody>
      </p:sp>
      <p:sp>
        <p:nvSpPr>
          <p:cNvPr id="4" name="Text Placeholder 7">
            <a:extLst>
              <a:ext uri="{FF2B5EF4-FFF2-40B4-BE49-F238E27FC236}">
                <a16:creationId xmlns:a16="http://schemas.microsoft.com/office/drawing/2014/main" id="{66A26018-CD47-11D0-838D-A1A2D71C4DE9}"/>
              </a:ext>
            </a:extLst>
          </p:cNvPr>
          <p:cNvSpPr>
            <a:spLocks noGrp="1"/>
          </p:cNvSpPr>
          <p:nvPr>
            <p:ph type="body" sz="quarter" idx="15"/>
          </p:nvPr>
        </p:nvSpPr>
        <p:spPr>
          <a:xfrm>
            <a:off x="8125200" y="295200"/>
            <a:ext cx="3773488" cy="876375"/>
          </a:xfrm>
        </p:spPr>
        <p:txBody>
          <a:bodyPr/>
          <a:lstStyle>
            <a:lvl1pPr>
              <a:defRPr sz="1400"/>
            </a:lvl1pPr>
            <a:lvl2pPr>
              <a:defRPr sz="1400"/>
            </a:lvl2pPr>
            <a:lvl3pPr>
              <a:defRPr sz="1200"/>
            </a:lvl3pPr>
          </a:lstStyle>
          <a:p>
            <a:pPr lvl="0"/>
            <a:r>
              <a:rPr lang="en-US"/>
              <a:t>Click to edit Master text styles</a:t>
            </a:r>
          </a:p>
          <a:p>
            <a:pPr lvl="1"/>
            <a:r>
              <a:rPr lang="en-US"/>
              <a:t>Second level</a:t>
            </a:r>
          </a:p>
          <a:p>
            <a:pPr lvl="2"/>
            <a:r>
              <a:rPr lang="en-US"/>
              <a:t>Third level</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5" name="Subtitle 2">
            <a:extLst>
              <a:ext uri="{FF2B5EF4-FFF2-40B4-BE49-F238E27FC236}">
                <a16:creationId xmlns:a16="http://schemas.microsoft.com/office/drawing/2014/main" id="{D960C6BF-F9C7-01C8-7601-5B209FAE017D}"/>
              </a:ext>
            </a:extLst>
          </p:cNvPr>
          <p:cNvSpPr>
            <a:spLocks noGrp="1"/>
          </p:cNvSpPr>
          <p:nvPr>
            <p:ph type="subTitle" idx="16" hasCustomPrompt="1"/>
          </p:nvPr>
        </p:nvSpPr>
        <p:spPr>
          <a:xfrm>
            <a:off x="288302" y="713620"/>
            <a:ext cx="6713538"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378086717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Eight Content">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821599"/>
            <a:ext cx="2793541" cy="1902675"/>
          </a:xfrm>
        </p:spPr>
        <p:txBody>
          <a:bodyPr/>
          <a:lstStyle>
            <a:lvl1pPr>
              <a:defRPr lang="en-GB" sz="1400" dirty="0" smtClean="0"/>
            </a:lvl1pPr>
            <a:lvl2pPr>
              <a:defRPr lang="en-GB" sz="1400" dirty="0" smtClean="0"/>
            </a:lvl2pPr>
            <a:lvl3pPr>
              <a:defRPr lang="en-GB" sz="1200" dirty="0" smtClean="0"/>
            </a:lvl3pPr>
            <a:lvl4pPr>
              <a:defRPr lang="en-GB" sz="1200" dirty="0" smtClean="0"/>
            </a:lvl4pPr>
            <a:lvl5pPr>
              <a:defRPr lang="en-GB" sz="800" dirty="0"/>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6165852" y="1821599"/>
            <a:ext cx="2793542" cy="1902675"/>
          </a:xfrm>
        </p:spPr>
        <p:txBody>
          <a:bodyPr/>
          <a:lstStyle>
            <a:lvl1pPr>
              <a:defRPr lang="en-GB" sz="1400" smtClean="0"/>
            </a:lvl1pPr>
            <a:lvl2pPr>
              <a:defRPr lang="en-GB" sz="1400"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3" name="Content Placeholder 2">
            <a:extLst>
              <a:ext uri="{FF2B5EF4-FFF2-40B4-BE49-F238E27FC236}">
                <a16:creationId xmlns:a16="http://schemas.microsoft.com/office/drawing/2014/main" id="{73E966BC-48D6-0237-3D83-9F8CB77DC975}"/>
              </a:ext>
            </a:extLst>
          </p:cNvPr>
          <p:cNvSpPr>
            <a:spLocks noGrp="1"/>
          </p:cNvSpPr>
          <p:nvPr>
            <p:ph idx="14"/>
          </p:nvPr>
        </p:nvSpPr>
        <p:spPr>
          <a:xfrm>
            <a:off x="3225800" y="1821599"/>
            <a:ext cx="2803525" cy="1902675"/>
          </a:xfrm>
        </p:spPr>
        <p:txBody>
          <a:bodyPr/>
          <a:lstStyle>
            <a:lvl1pPr>
              <a:defRPr lang="en-GB" sz="1400" smtClean="0"/>
            </a:lvl1pPr>
            <a:lvl2pPr>
              <a:defRPr lang="en-GB" sz="1400"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4" name="Content Placeholder 2">
            <a:extLst>
              <a:ext uri="{FF2B5EF4-FFF2-40B4-BE49-F238E27FC236}">
                <a16:creationId xmlns:a16="http://schemas.microsoft.com/office/drawing/2014/main" id="{48B10B95-D320-4FA6-98CE-883417C5DC22}"/>
              </a:ext>
            </a:extLst>
          </p:cNvPr>
          <p:cNvSpPr>
            <a:spLocks noGrp="1"/>
          </p:cNvSpPr>
          <p:nvPr>
            <p:ph idx="15"/>
          </p:nvPr>
        </p:nvSpPr>
        <p:spPr>
          <a:xfrm>
            <a:off x="9105903" y="1821599"/>
            <a:ext cx="2793997" cy="1902675"/>
          </a:xfrm>
        </p:spPr>
        <p:txBody>
          <a:bodyPr/>
          <a:lstStyle>
            <a:lvl1pPr>
              <a:defRPr lang="en-GB" sz="1400" smtClean="0"/>
            </a:lvl1pPr>
            <a:lvl2pPr>
              <a:defRPr lang="en-GB" sz="1400"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10" name="Content Placeholder 2">
            <a:extLst>
              <a:ext uri="{FF2B5EF4-FFF2-40B4-BE49-F238E27FC236}">
                <a16:creationId xmlns:a16="http://schemas.microsoft.com/office/drawing/2014/main" id="{F837F62A-0DBC-5C4E-10B1-0A4CD4ADF81F}"/>
              </a:ext>
            </a:extLst>
          </p:cNvPr>
          <p:cNvSpPr>
            <a:spLocks noGrp="1"/>
          </p:cNvSpPr>
          <p:nvPr>
            <p:ph idx="16"/>
          </p:nvPr>
        </p:nvSpPr>
        <p:spPr>
          <a:xfrm>
            <a:off x="289384" y="3871912"/>
            <a:ext cx="2793541" cy="1902673"/>
          </a:xfrm>
        </p:spPr>
        <p:txBody>
          <a:bodyPr/>
          <a:lstStyle>
            <a:lvl1pPr>
              <a:defRPr lang="en-GB" sz="1400" smtClean="0"/>
            </a:lvl1pPr>
            <a:lvl2pPr>
              <a:defRPr lang="en-GB" sz="1400"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11" name="Content Placeholder 2">
            <a:extLst>
              <a:ext uri="{FF2B5EF4-FFF2-40B4-BE49-F238E27FC236}">
                <a16:creationId xmlns:a16="http://schemas.microsoft.com/office/drawing/2014/main" id="{D19C36C2-D521-FEE7-A6AC-5710B0CDB350}"/>
              </a:ext>
            </a:extLst>
          </p:cNvPr>
          <p:cNvSpPr>
            <a:spLocks noGrp="1"/>
          </p:cNvSpPr>
          <p:nvPr>
            <p:ph idx="17"/>
          </p:nvPr>
        </p:nvSpPr>
        <p:spPr>
          <a:xfrm>
            <a:off x="6165851" y="3871912"/>
            <a:ext cx="2795588" cy="1902674"/>
          </a:xfrm>
        </p:spPr>
        <p:txBody>
          <a:bodyPr/>
          <a:lstStyle>
            <a:lvl1pPr>
              <a:defRPr lang="en-GB" sz="1400" smtClean="0"/>
            </a:lvl1pPr>
            <a:lvl2pPr>
              <a:defRPr lang="en-GB" sz="1400"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12" name="Content Placeholder 2">
            <a:extLst>
              <a:ext uri="{FF2B5EF4-FFF2-40B4-BE49-F238E27FC236}">
                <a16:creationId xmlns:a16="http://schemas.microsoft.com/office/drawing/2014/main" id="{FB6994DE-2295-D9C1-5B16-D2099A816416}"/>
              </a:ext>
            </a:extLst>
          </p:cNvPr>
          <p:cNvSpPr>
            <a:spLocks noGrp="1"/>
          </p:cNvSpPr>
          <p:nvPr>
            <p:ph idx="18"/>
          </p:nvPr>
        </p:nvSpPr>
        <p:spPr>
          <a:xfrm>
            <a:off x="3225801" y="3871912"/>
            <a:ext cx="2795588" cy="1902673"/>
          </a:xfrm>
        </p:spPr>
        <p:txBody>
          <a:bodyPr/>
          <a:lstStyle>
            <a:lvl1pPr>
              <a:defRPr lang="en-GB" sz="1400" smtClean="0"/>
            </a:lvl1pPr>
            <a:lvl2pPr>
              <a:defRPr lang="en-GB" sz="1400"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13" name="Content Placeholder 2">
            <a:extLst>
              <a:ext uri="{FF2B5EF4-FFF2-40B4-BE49-F238E27FC236}">
                <a16:creationId xmlns:a16="http://schemas.microsoft.com/office/drawing/2014/main" id="{35D14BC0-5573-6189-1430-BDA9443B2652}"/>
              </a:ext>
            </a:extLst>
          </p:cNvPr>
          <p:cNvSpPr>
            <a:spLocks noGrp="1"/>
          </p:cNvSpPr>
          <p:nvPr>
            <p:ph idx="19"/>
          </p:nvPr>
        </p:nvSpPr>
        <p:spPr>
          <a:xfrm>
            <a:off x="9104313" y="3871912"/>
            <a:ext cx="2795587" cy="1902674"/>
          </a:xfrm>
        </p:spPr>
        <p:txBody>
          <a:bodyPr/>
          <a:lstStyle>
            <a:lvl1pPr>
              <a:defRPr lang="en-GB" sz="1400" smtClean="0"/>
            </a:lvl1pPr>
            <a:lvl2pPr>
              <a:defRPr lang="en-GB" sz="1400"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5" name="Text Placeholder 7">
            <a:extLst>
              <a:ext uri="{FF2B5EF4-FFF2-40B4-BE49-F238E27FC236}">
                <a16:creationId xmlns:a16="http://schemas.microsoft.com/office/drawing/2014/main" id="{18166EB3-B625-A7A5-5E35-6D81B2C4EAAA}"/>
              </a:ext>
            </a:extLst>
          </p:cNvPr>
          <p:cNvSpPr>
            <a:spLocks noGrp="1"/>
          </p:cNvSpPr>
          <p:nvPr>
            <p:ph type="body" sz="quarter" idx="20" hasCustomPrompt="1"/>
          </p:nvPr>
        </p:nvSpPr>
        <p:spPr>
          <a:xfrm>
            <a:off x="8124205" y="295200"/>
            <a:ext cx="3778870" cy="876375"/>
          </a:xfrm>
        </p:spPr>
        <p:txBody>
          <a:bodyPr/>
          <a:lstStyle>
            <a:lvl1pPr>
              <a:defRPr sz="1400"/>
            </a:lvl1pPr>
            <a:lvl2pPr>
              <a:defRPr sz="1400"/>
            </a:lvl2pPr>
            <a:lvl3pPr>
              <a:defRPr sz="1200"/>
            </a:lvl3pPr>
          </a:lstStyle>
          <a:p>
            <a:pPr lvl="0"/>
            <a:r>
              <a:rPr lang="en-GB"/>
              <a:t>Click to add text. Delete if not required.</a:t>
            </a:r>
          </a:p>
          <a:p>
            <a:pPr lvl="1"/>
            <a:r>
              <a:rPr lang="en-GB"/>
              <a:t>Second level</a:t>
            </a:r>
          </a:p>
          <a:p>
            <a:pPr lvl="2"/>
            <a:r>
              <a:rPr lang="en-GB"/>
              <a:t>Third level</a:t>
            </a:r>
          </a:p>
        </p:txBody>
      </p:sp>
      <p:sp>
        <p:nvSpPr>
          <p:cNvPr id="15" name="Title 14">
            <a:extLst>
              <a:ext uri="{FF2B5EF4-FFF2-40B4-BE49-F238E27FC236}">
                <a16:creationId xmlns:a16="http://schemas.microsoft.com/office/drawing/2014/main" id="{EC560DE3-3204-EFCC-1AF1-2D91CA826E4F}"/>
              </a:ext>
            </a:extLst>
          </p:cNvPr>
          <p:cNvSpPr>
            <a:spLocks noGrp="1"/>
          </p:cNvSpPr>
          <p:nvPr>
            <p:ph type="title"/>
          </p:nvPr>
        </p:nvSpPr>
        <p:spPr>
          <a:xfrm>
            <a:off x="288303" y="262267"/>
            <a:ext cx="6713538" cy="457818"/>
          </a:xfrm>
        </p:spPr>
        <p:txBody>
          <a:bodyPr/>
          <a:lstStyle/>
          <a:p>
            <a:r>
              <a:rPr lang="zh-CN" altLang="en-US"/>
              <a:t>单击此处编辑母版标题样式</a:t>
            </a:r>
            <a:endParaRPr lang="en-GB"/>
          </a:p>
        </p:txBody>
      </p:sp>
      <p:sp>
        <p:nvSpPr>
          <p:cNvPr id="2" name="Subtitle 2">
            <a:extLst>
              <a:ext uri="{FF2B5EF4-FFF2-40B4-BE49-F238E27FC236}">
                <a16:creationId xmlns:a16="http://schemas.microsoft.com/office/drawing/2014/main" id="{09115CA6-F35D-BB63-6BE4-D7293F65797E}"/>
              </a:ext>
            </a:extLst>
          </p:cNvPr>
          <p:cNvSpPr>
            <a:spLocks noGrp="1"/>
          </p:cNvSpPr>
          <p:nvPr>
            <p:ph type="subTitle" idx="21"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14" name="Footer Placeholder 4">
            <a:extLst>
              <a:ext uri="{FF2B5EF4-FFF2-40B4-BE49-F238E27FC236}">
                <a16:creationId xmlns:a16="http://schemas.microsoft.com/office/drawing/2014/main" id="{E13B6904-8EEB-8C52-41B0-27C88B555178}"/>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352641242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ext and Chart">
    <p:bg>
      <p:bgPr>
        <a:solidFill>
          <a:schemeClr val="tx2"/>
        </a:solidFill>
        <a:effectLst/>
      </p:bgPr>
    </p:bg>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306513"/>
            <a:ext cx="5732003" cy="4459287"/>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4" name="Chart Placeholder 3">
            <a:extLst>
              <a:ext uri="{FF2B5EF4-FFF2-40B4-BE49-F238E27FC236}">
                <a16:creationId xmlns:a16="http://schemas.microsoft.com/office/drawing/2014/main" id="{538B81BC-7790-A8A7-F32D-C3F126E7C5D3}"/>
              </a:ext>
            </a:extLst>
          </p:cNvPr>
          <p:cNvSpPr>
            <a:spLocks noGrp="1"/>
          </p:cNvSpPr>
          <p:nvPr>
            <p:ph type="chart" sz="quarter" idx="15"/>
          </p:nvPr>
        </p:nvSpPr>
        <p:spPr>
          <a:xfrm>
            <a:off x="6165850" y="1306513"/>
            <a:ext cx="5737225" cy="4964112"/>
          </a:xfrm>
          <a:solidFill>
            <a:schemeClr val="bg1"/>
          </a:solidFill>
        </p:spPr>
        <p:txBody>
          <a:bodyPr/>
          <a:lstStyle/>
          <a:p>
            <a:r>
              <a:rPr lang="zh-CN" altLang="en-US"/>
              <a:t>单击图标添加图表</a:t>
            </a:r>
            <a:endParaRPr lang="en-US"/>
          </a:p>
        </p:txBody>
      </p:sp>
      <p:sp>
        <p:nvSpPr>
          <p:cNvPr id="11" name="Text Placeholder 3">
            <a:extLst>
              <a:ext uri="{FF2B5EF4-FFF2-40B4-BE49-F238E27FC236}">
                <a16:creationId xmlns:a16="http://schemas.microsoft.com/office/drawing/2014/main" id="{58257768-4CDB-6207-FCBD-946306C93DAD}"/>
              </a:ext>
            </a:extLst>
          </p:cNvPr>
          <p:cNvSpPr>
            <a:spLocks noGrp="1"/>
          </p:cNvSpPr>
          <p:nvPr>
            <p:ph type="body" sz="quarter" idx="14" hasCustomPrompt="1"/>
          </p:nvPr>
        </p:nvSpPr>
        <p:spPr>
          <a:xfrm>
            <a:off x="10083801" y="330199"/>
            <a:ext cx="1816100" cy="841376"/>
          </a:xfrm>
        </p:spPr>
        <p:txBody>
          <a:bodyPr/>
          <a:lstStyle>
            <a:lvl1pPr>
              <a:spcBef>
                <a:spcPts val="0"/>
              </a:spcBef>
              <a:spcAft>
                <a:spcPts val="300"/>
              </a:spcAft>
              <a:defRPr sz="800" b="0" i="0">
                <a:latin typeface="+mn-lt"/>
              </a:defRPr>
            </a:lvl1pPr>
            <a:lvl2pPr marL="93663" indent="-93663">
              <a:spcBef>
                <a:spcPts val="0"/>
              </a:spcBef>
              <a:spcAft>
                <a:spcPts val="300"/>
              </a:spcAft>
              <a:tabLst/>
              <a:defRPr sz="800" b="0" i="0">
                <a:latin typeface="+mn-lt"/>
              </a:defRPr>
            </a:lvl2pPr>
            <a:lvl3pPr marL="179388" indent="-85725">
              <a:spcBef>
                <a:spcPts val="0"/>
              </a:spcBef>
              <a:spcAft>
                <a:spcPts val="300"/>
              </a:spcAft>
              <a:tabLst/>
              <a:defRPr sz="800" b="0" i="0">
                <a:latin typeface="+mn-lt"/>
              </a:defRPr>
            </a:lvl3pPr>
            <a:lvl4pPr>
              <a:defRPr sz="1000"/>
            </a:lvl4pPr>
            <a:lvl5pPr>
              <a:defRPr sz="1000"/>
            </a:lvl5pPr>
          </a:lstStyle>
          <a:p>
            <a:pPr lvl="0"/>
            <a:r>
              <a:rPr lang="en-GB"/>
              <a:t>Click to add text. Delete if not required.</a:t>
            </a:r>
          </a:p>
          <a:p>
            <a:pPr lvl="1"/>
            <a:r>
              <a:rPr lang="en-GB"/>
              <a:t>Second level</a:t>
            </a:r>
          </a:p>
          <a:p>
            <a:pPr lvl="2"/>
            <a:r>
              <a:rPr lang="en-GB"/>
              <a:t>Third level</a:t>
            </a:r>
          </a:p>
        </p:txBody>
      </p:sp>
      <p:sp>
        <p:nvSpPr>
          <p:cNvPr id="9" name="Title 8">
            <a:extLst>
              <a:ext uri="{FF2B5EF4-FFF2-40B4-BE49-F238E27FC236}">
                <a16:creationId xmlns:a16="http://schemas.microsoft.com/office/drawing/2014/main" id="{6E77B21E-A040-7CC6-4F9B-B89C94289E89}"/>
              </a:ext>
            </a:extLst>
          </p:cNvPr>
          <p:cNvSpPr>
            <a:spLocks noGrp="1"/>
          </p:cNvSpPr>
          <p:nvPr>
            <p:ph type="title"/>
          </p:nvPr>
        </p:nvSpPr>
        <p:spPr>
          <a:xfrm>
            <a:off x="288303" y="262267"/>
            <a:ext cx="6713538" cy="457818"/>
          </a:xfrm>
        </p:spPr>
        <p:txBody>
          <a:bodyPr/>
          <a:lstStyle/>
          <a:p>
            <a:r>
              <a:rPr lang="zh-CN" altLang="en-US"/>
              <a:t>单击此处编辑母版标题样式</a:t>
            </a:r>
            <a:endParaRPr lang="en-GB"/>
          </a:p>
        </p:txBody>
      </p:sp>
      <p:sp>
        <p:nvSpPr>
          <p:cNvPr id="3" name="Subtitle 2">
            <a:extLst>
              <a:ext uri="{FF2B5EF4-FFF2-40B4-BE49-F238E27FC236}">
                <a16:creationId xmlns:a16="http://schemas.microsoft.com/office/drawing/2014/main" id="{F725C5CD-1985-D608-1D27-9FBC395FE641}"/>
              </a:ext>
            </a:extLst>
          </p:cNvPr>
          <p:cNvSpPr>
            <a:spLocks noGrp="1"/>
          </p:cNvSpPr>
          <p:nvPr>
            <p:ph type="subTitle" idx="16"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2" name="Footer Placeholder 4">
            <a:extLst>
              <a:ext uri="{FF2B5EF4-FFF2-40B4-BE49-F238E27FC236}">
                <a16:creationId xmlns:a16="http://schemas.microsoft.com/office/drawing/2014/main" id="{14E01DA7-F0B0-D0D7-0F82-2CEA274588EC}"/>
              </a:ext>
            </a:extLst>
          </p:cNvPr>
          <p:cNvSpPr>
            <a:spLocks noGrp="1"/>
          </p:cNvSpPr>
          <p:nvPr>
            <p:ph type="ftr" sz="quarter" idx="3"/>
          </p:nvPr>
        </p:nvSpPr>
        <p:spPr>
          <a:xfrm>
            <a:off x="288259" y="5966467"/>
            <a:ext cx="5733129"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409298322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hree Chart">
    <p:bg>
      <p:bgPr>
        <a:solidFill>
          <a:schemeClr val="tx2"/>
        </a:solidFill>
        <a:effectLst/>
      </p:bgPr>
    </p:bg>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4" name="Text Placeholder 7">
            <a:extLst>
              <a:ext uri="{FF2B5EF4-FFF2-40B4-BE49-F238E27FC236}">
                <a16:creationId xmlns:a16="http://schemas.microsoft.com/office/drawing/2014/main" id="{66A26018-CD47-11D0-838D-A1A2D71C4DE9}"/>
              </a:ext>
            </a:extLst>
          </p:cNvPr>
          <p:cNvSpPr>
            <a:spLocks noGrp="1"/>
          </p:cNvSpPr>
          <p:nvPr>
            <p:ph type="body" sz="quarter" idx="15" hasCustomPrompt="1"/>
          </p:nvPr>
        </p:nvSpPr>
        <p:spPr>
          <a:xfrm>
            <a:off x="8124205" y="293525"/>
            <a:ext cx="3778870" cy="878050"/>
          </a:xfrm>
        </p:spPr>
        <p:txBody>
          <a:bodyPr/>
          <a:lstStyle>
            <a:lvl1pPr>
              <a:defRPr sz="1400"/>
            </a:lvl1pPr>
            <a:lvl2pPr>
              <a:defRPr sz="1400"/>
            </a:lvl2pPr>
            <a:lvl3pPr>
              <a:defRPr sz="1200"/>
            </a:lvl3pPr>
          </a:lstStyle>
          <a:p>
            <a:pPr lvl="0"/>
            <a:r>
              <a:rPr lang="en-GB"/>
              <a:t>Click to add text. Delete if not required.</a:t>
            </a:r>
          </a:p>
          <a:p>
            <a:pPr lvl="1"/>
            <a:r>
              <a:rPr lang="en-GB"/>
              <a:t>Second level</a:t>
            </a:r>
          </a:p>
          <a:p>
            <a:pPr lvl="2"/>
            <a:r>
              <a:rPr lang="en-GB"/>
              <a:t>Third level</a:t>
            </a:r>
          </a:p>
        </p:txBody>
      </p:sp>
      <p:sp>
        <p:nvSpPr>
          <p:cNvPr id="11" name="Chart Placeholder 10">
            <a:extLst>
              <a:ext uri="{FF2B5EF4-FFF2-40B4-BE49-F238E27FC236}">
                <a16:creationId xmlns:a16="http://schemas.microsoft.com/office/drawing/2014/main" id="{698C230B-5408-E1A5-CFA9-2F383131120D}"/>
              </a:ext>
            </a:extLst>
          </p:cNvPr>
          <p:cNvSpPr>
            <a:spLocks noGrp="1"/>
          </p:cNvSpPr>
          <p:nvPr>
            <p:ph type="chart" sz="quarter" idx="16"/>
          </p:nvPr>
        </p:nvSpPr>
        <p:spPr>
          <a:xfrm>
            <a:off x="292100" y="1306512"/>
            <a:ext cx="3770313" cy="3440113"/>
          </a:xfrm>
          <a:solidFill>
            <a:schemeClr val="bg1"/>
          </a:solidFill>
        </p:spPr>
        <p:txBody>
          <a:bodyPr/>
          <a:lstStyle/>
          <a:p>
            <a:r>
              <a:rPr lang="zh-CN" altLang="en-US"/>
              <a:t>单击图标添加图表</a:t>
            </a:r>
            <a:endParaRPr lang="en-US"/>
          </a:p>
        </p:txBody>
      </p:sp>
      <p:sp>
        <p:nvSpPr>
          <p:cNvPr id="12" name="Text Placeholder 7">
            <a:extLst>
              <a:ext uri="{FF2B5EF4-FFF2-40B4-BE49-F238E27FC236}">
                <a16:creationId xmlns:a16="http://schemas.microsoft.com/office/drawing/2014/main" id="{6BA18FE4-4638-2816-D5EB-4ABC0612973F}"/>
              </a:ext>
            </a:extLst>
          </p:cNvPr>
          <p:cNvSpPr>
            <a:spLocks noGrp="1"/>
          </p:cNvSpPr>
          <p:nvPr>
            <p:ph type="body" sz="quarter" idx="17" hasCustomPrompt="1"/>
          </p:nvPr>
        </p:nvSpPr>
        <p:spPr>
          <a:xfrm>
            <a:off x="291480" y="4894903"/>
            <a:ext cx="3770934" cy="876300"/>
          </a:xfrm>
        </p:spPr>
        <p:txBody>
          <a:bodyPr/>
          <a:lstStyle>
            <a:lvl1pPr>
              <a:defRPr sz="1200"/>
            </a:lvl1pPr>
            <a:lvl2pPr>
              <a:defRPr sz="1200"/>
            </a:lvl2pPr>
            <a:lvl3pPr>
              <a:defRPr sz="1100"/>
            </a:lvl3pPr>
          </a:lstStyle>
          <a:p>
            <a:pPr lvl="0"/>
            <a:r>
              <a:rPr lang="en-GB"/>
              <a:t>Click to add text. Delete if not required.</a:t>
            </a:r>
          </a:p>
          <a:p>
            <a:pPr lvl="1"/>
            <a:r>
              <a:rPr lang="en-GB"/>
              <a:t>Second level</a:t>
            </a:r>
          </a:p>
          <a:p>
            <a:pPr lvl="2"/>
            <a:r>
              <a:rPr lang="en-GB"/>
              <a:t>Third level</a:t>
            </a:r>
          </a:p>
        </p:txBody>
      </p:sp>
      <p:sp>
        <p:nvSpPr>
          <p:cNvPr id="13" name="Chart Placeholder 10">
            <a:extLst>
              <a:ext uri="{FF2B5EF4-FFF2-40B4-BE49-F238E27FC236}">
                <a16:creationId xmlns:a16="http://schemas.microsoft.com/office/drawing/2014/main" id="{446A3E25-507C-4190-4950-DA0C712EB336}"/>
              </a:ext>
            </a:extLst>
          </p:cNvPr>
          <p:cNvSpPr>
            <a:spLocks noGrp="1"/>
          </p:cNvSpPr>
          <p:nvPr>
            <p:ph type="chart" sz="quarter" idx="18"/>
          </p:nvPr>
        </p:nvSpPr>
        <p:spPr>
          <a:xfrm>
            <a:off x="4206875" y="1306513"/>
            <a:ext cx="3775076" cy="3440112"/>
          </a:xfrm>
          <a:solidFill>
            <a:schemeClr val="bg1"/>
          </a:solidFill>
        </p:spPr>
        <p:txBody>
          <a:bodyPr/>
          <a:lstStyle/>
          <a:p>
            <a:r>
              <a:rPr lang="zh-CN" altLang="en-US"/>
              <a:t>单击图标添加图表</a:t>
            </a:r>
            <a:endParaRPr lang="en-US"/>
          </a:p>
        </p:txBody>
      </p:sp>
      <p:sp>
        <p:nvSpPr>
          <p:cNvPr id="14" name="Text Placeholder 7">
            <a:extLst>
              <a:ext uri="{FF2B5EF4-FFF2-40B4-BE49-F238E27FC236}">
                <a16:creationId xmlns:a16="http://schemas.microsoft.com/office/drawing/2014/main" id="{DDD2F21A-FE62-6E81-6F5B-9A76691ED2EE}"/>
              </a:ext>
            </a:extLst>
          </p:cNvPr>
          <p:cNvSpPr>
            <a:spLocks noGrp="1"/>
          </p:cNvSpPr>
          <p:nvPr>
            <p:ph type="body" sz="quarter" idx="19" hasCustomPrompt="1"/>
          </p:nvPr>
        </p:nvSpPr>
        <p:spPr>
          <a:xfrm>
            <a:off x="4206874" y="4894903"/>
            <a:ext cx="3775076" cy="876300"/>
          </a:xfrm>
        </p:spPr>
        <p:txBody>
          <a:bodyPr/>
          <a:lstStyle>
            <a:lvl1pPr>
              <a:defRPr sz="1200"/>
            </a:lvl1pPr>
            <a:lvl2pPr>
              <a:defRPr sz="1200"/>
            </a:lvl2pPr>
            <a:lvl3pPr>
              <a:defRPr sz="1100"/>
            </a:lvl3pPr>
          </a:lstStyle>
          <a:p>
            <a:pPr lvl="0"/>
            <a:r>
              <a:rPr lang="en-GB"/>
              <a:t>Click to add text. Delete if not required.</a:t>
            </a:r>
          </a:p>
          <a:p>
            <a:pPr lvl="1"/>
            <a:r>
              <a:rPr lang="en-GB"/>
              <a:t>Second level</a:t>
            </a:r>
          </a:p>
          <a:p>
            <a:pPr lvl="2"/>
            <a:r>
              <a:rPr lang="en-GB"/>
              <a:t>Third level</a:t>
            </a:r>
          </a:p>
        </p:txBody>
      </p:sp>
      <p:sp>
        <p:nvSpPr>
          <p:cNvPr id="15" name="Chart Placeholder 10">
            <a:extLst>
              <a:ext uri="{FF2B5EF4-FFF2-40B4-BE49-F238E27FC236}">
                <a16:creationId xmlns:a16="http://schemas.microsoft.com/office/drawing/2014/main" id="{94EF43E1-5534-96EF-52FD-3CD0B7B21E71}"/>
              </a:ext>
            </a:extLst>
          </p:cNvPr>
          <p:cNvSpPr>
            <a:spLocks noGrp="1"/>
          </p:cNvSpPr>
          <p:nvPr>
            <p:ph type="chart" sz="quarter" idx="20"/>
          </p:nvPr>
        </p:nvSpPr>
        <p:spPr>
          <a:xfrm>
            <a:off x="8124825" y="1306512"/>
            <a:ext cx="3770313" cy="3440113"/>
          </a:xfrm>
          <a:solidFill>
            <a:schemeClr val="bg1"/>
          </a:solidFill>
        </p:spPr>
        <p:txBody>
          <a:bodyPr/>
          <a:lstStyle/>
          <a:p>
            <a:r>
              <a:rPr lang="zh-CN" altLang="en-US"/>
              <a:t>单击图标添加图表</a:t>
            </a:r>
            <a:endParaRPr lang="en-US"/>
          </a:p>
        </p:txBody>
      </p:sp>
      <p:sp>
        <p:nvSpPr>
          <p:cNvPr id="16" name="Text Placeholder 7">
            <a:extLst>
              <a:ext uri="{FF2B5EF4-FFF2-40B4-BE49-F238E27FC236}">
                <a16:creationId xmlns:a16="http://schemas.microsoft.com/office/drawing/2014/main" id="{074660EF-5B4C-59FD-5DE9-C6AEEC3EA783}"/>
              </a:ext>
            </a:extLst>
          </p:cNvPr>
          <p:cNvSpPr>
            <a:spLocks noGrp="1"/>
          </p:cNvSpPr>
          <p:nvPr>
            <p:ph type="body" sz="quarter" idx="21" hasCustomPrompt="1"/>
          </p:nvPr>
        </p:nvSpPr>
        <p:spPr>
          <a:xfrm>
            <a:off x="8124205" y="4894903"/>
            <a:ext cx="3770934" cy="876300"/>
          </a:xfrm>
        </p:spPr>
        <p:txBody>
          <a:bodyPr/>
          <a:lstStyle>
            <a:lvl1pPr>
              <a:defRPr sz="1200"/>
            </a:lvl1pPr>
            <a:lvl2pPr>
              <a:defRPr sz="1200"/>
            </a:lvl2pPr>
            <a:lvl3pPr>
              <a:defRPr sz="1100"/>
            </a:lvl3pPr>
          </a:lstStyle>
          <a:p>
            <a:pPr lvl="0"/>
            <a:r>
              <a:rPr lang="en-GB"/>
              <a:t>Click to add text. Delete if not required.</a:t>
            </a:r>
          </a:p>
          <a:p>
            <a:pPr lvl="1"/>
            <a:r>
              <a:rPr lang="en-GB"/>
              <a:t>Second level</a:t>
            </a:r>
          </a:p>
          <a:p>
            <a:pPr lvl="2"/>
            <a:r>
              <a:rPr lang="en-GB"/>
              <a:t>Third level</a:t>
            </a:r>
          </a:p>
        </p:txBody>
      </p:sp>
      <p:sp>
        <p:nvSpPr>
          <p:cNvPr id="9" name="Title 8">
            <a:extLst>
              <a:ext uri="{FF2B5EF4-FFF2-40B4-BE49-F238E27FC236}">
                <a16:creationId xmlns:a16="http://schemas.microsoft.com/office/drawing/2014/main" id="{5FD82D33-FC73-4137-A0A9-8EB43DA1A810}"/>
              </a:ext>
            </a:extLst>
          </p:cNvPr>
          <p:cNvSpPr>
            <a:spLocks noGrp="1"/>
          </p:cNvSpPr>
          <p:nvPr>
            <p:ph type="title"/>
          </p:nvPr>
        </p:nvSpPr>
        <p:spPr>
          <a:xfrm>
            <a:off x="288303" y="262267"/>
            <a:ext cx="6713538" cy="457818"/>
          </a:xfrm>
        </p:spPr>
        <p:txBody>
          <a:bodyPr/>
          <a:lstStyle/>
          <a:p>
            <a:r>
              <a:rPr lang="zh-CN" altLang="en-US"/>
              <a:t>单击此处编辑母版标题样式</a:t>
            </a:r>
            <a:endParaRPr lang="en-GB"/>
          </a:p>
        </p:txBody>
      </p:sp>
      <p:sp>
        <p:nvSpPr>
          <p:cNvPr id="3" name="Subtitle 2">
            <a:extLst>
              <a:ext uri="{FF2B5EF4-FFF2-40B4-BE49-F238E27FC236}">
                <a16:creationId xmlns:a16="http://schemas.microsoft.com/office/drawing/2014/main" id="{EA959997-A6D7-96D1-8672-5FCDE45DB7B3}"/>
              </a:ext>
            </a:extLst>
          </p:cNvPr>
          <p:cNvSpPr>
            <a:spLocks noGrp="1"/>
          </p:cNvSpPr>
          <p:nvPr>
            <p:ph type="subTitle" idx="22"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2" name="Footer Placeholder 4">
            <a:extLst>
              <a:ext uri="{FF2B5EF4-FFF2-40B4-BE49-F238E27FC236}">
                <a16:creationId xmlns:a16="http://schemas.microsoft.com/office/drawing/2014/main" id="{FBE4CD19-6DA9-A930-91EE-59CB48D45E41}"/>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340146371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able">
    <p:bg>
      <p:bgPr>
        <a:solidFill>
          <a:schemeClr val="bg1"/>
        </a:solidFill>
        <a:effectLst/>
      </p:bgPr>
    </p:bg>
    <p:spTree>
      <p:nvGrpSpPr>
        <p:cNvPr id="1" name=""/>
        <p:cNvGrpSpPr/>
        <p:nvPr/>
      </p:nvGrpSpPr>
      <p:grpSpPr>
        <a:xfrm>
          <a:off x="0" y="0"/>
          <a:ext cx="0" cy="0"/>
          <a:chOff x="0" y="0"/>
          <a:chExt cx="0" cy="0"/>
        </a:xfrm>
      </p:grpSpPr>
      <p:sp>
        <p:nvSpPr>
          <p:cNvPr id="10" name="Table Placeholder 5">
            <a:extLst>
              <a:ext uri="{FF2B5EF4-FFF2-40B4-BE49-F238E27FC236}">
                <a16:creationId xmlns:a16="http://schemas.microsoft.com/office/drawing/2014/main" id="{AA00D851-11FE-02AE-0FE0-9A7CAC67EF7D}"/>
              </a:ext>
            </a:extLst>
          </p:cNvPr>
          <p:cNvSpPr>
            <a:spLocks noGrp="1"/>
          </p:cNvSpPr>
          <p:nvPr>
            <p:ph type="tbl" sz="quarter" idx="13"/>
          </p:nvPr>
        </p:nvSpPr>
        <p:spPr>
          <a:xfrm>
            <a:off x="292100" y="2847975"/>
            <a:ext cx="11610975" cy="2917825"/>
          </a:xfrm>
        </p:spPr>
        <p:txBody>
          <a:bodyPr/>
          <a:lstStyle/>
          <a:p>
            <a:r>
              <a:rPr lang="zh-CN" altLang="en-US"/>
              <a:t>单击图标添加表格</a:t>
            </a:r>
            <a:endParaRPr lang="en-GB"/>
          </a:p>
        </p:txBody>
      </p:sp>
      <p:sp>
        <p:nvSpPr>
          <p:cNvPr id="3" name="Title 2">
            <a:extLst>
              <a:ext uri="{FF2B5EF4-FFF2-40B4-BE49-F238E27FC236}">
                <a16:creationId xmlns:a16="http://schemas.microsoft.com/office/drawing/2014/main" id="{2CDD0AA4-DA06-999E-8621-24713C5D3AF7}"/>
              </a:ext>
            </a:extLst>
          </p:cNvPr>
          <p:cNvSpPr>
            <a:spLocks noGrp="1"/>
          </p:cNvSpPr>
          <p:nvPr>
            <p:ph type="title"/>
          </p:nvPr>
        </p:nvSpPr>
        <p:spPr>
          <a:xfrm>
            <a:off x="288303" y="262267"/>
            <a:ext cx="6713538" cy="457818"/>
          </a:xfrm>
        </p:spPr>
        <p:txBody>
          <a:bodyPr/>
          <a:lstStyle/>
          <a:p>
            <a:r>
              <a:rPr lang="zh-CN" altLang="en-US"/>
              <a:t>单击此处编辑母版标题样式</a:t>
            </a:r>
            <a:endParaRPr lang="en-GB"/>
          </a:p>
        </p:txBody>
      </p:sp>
      <p:sp>
        <p:nvSpPr>
          <p:cNvPr id="4" name="Text Placeholder 7">
            <a:extLst>
              <a:ext uri="{FF2B5EF4-FFF2-40B4-BE49-F238E27FC236}">
                <a16:creationId xmlns:a16="http://schemas.microsoft.com/office/drawing/2014/main" id="{AF1CADF7-2181-199A-E8E5-8BFDAFCB655B}"/>
              </a:ext>
            </a:extLst>
          </p:cNvPr>
          <p:cNvSpPr>
            <a:spLocks noGrp="1"/>
          </p:cNvSpPr>
          <p:nvPr>
            <p:ph type="body" sz="quarter" idx="15" hasCustomPrompt="1"/>
          </p:nvPr>
        </p:nvSpPr>
        <p:spPr>
          <a:xfrm>
            <a:off x="8124205" y="293525"/>
            <a:ext cx="3778870" cy="878050"/>
          </a:xfrm>
        </p:spPr>
        <p:txBody>
          <a:bodyPr/>
          <a:lstStyle>
            <a:lvl1pPr>
              <a:defRPr sz="1400"/>
            </a:lvl1pPr>
            <a:lvl2pPr>
              <a:defRPr sz="1400"/>
            </a:lvl2pPr>
            <a:lvl3pPr>
              <a:defRPr sz="1200"/>
            </a:lvl3pPr>
          </a:lstStyle>
          <a:p>
            <a:pPr lvl="0"/>
            <a:r>
              <a:rPr lang="en-GB"/>
              <a:t>Click to add text. Delete if not required.</a:t>
            </a:r>
          </a:p>
          <a:p>
            <a:pPr lvl="1"/>
            <a:r>
              <a:rPr lang="en-GB"/>
              <a:t>Second level</a:t>
            </a:r>
          </a:p>
          <a:p>
            <a:pPr lvl="2"/>
            <a:r>
              <a:rPr lang="en-GB"/>
              <a:t>Third level</a:t>
            </a:r>
          </a:p>
        </p:txBody>
      </p:sp>
      <p:sp>
        <p:nvSpPr>
          <p:cNvPr id="5" name="Subtitle 2">
            <a:extLst>
              <a:ext uri="{FF2B5EF4-FFF2-40B4-BE49-F238E27FC236}">
                <a16:creationId xmlns:a16="http://schemas.microsoft.com/office/drawing/2014/main" id="{4BE7CDC5-71B1-1F0B-9FBF-16B0C3648775}"/>
              </a:ext>
            </a:extLst>
          </p:cNvPr>
          <p:cNvSpPr>
            <a:spLocks noGrp="1"/>
          </p:cNvSpPr>
          <p:nvPr>
            <p:ph type="subTitle" idx="16"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6" name="Footer Placeholder 4">
            <a:extLst>
              <a:ext uri="{FF2B5EF4-FFF2-40B4-BE49-F238E27FC236}">
                <a16:creationId xmlns:a16="http://schemas.microsoft.com/office/drawing/2014/main" id="{60F27FF6-CF7D-B29E-40F2-BF449AACF4A2}"/>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
        <p:nvSpPr>
          <p:cNvPr id="7" name="Slide Number Placeholder 5">
            <a:extLst>
              <a:ext uri="{FF2B5EF4-FFF2-40B4-BE49-F238E27FC236}">
                <a16:creationId xmlns:a16="http://schemas.microsoft.com/office/drawing/2014/main" id="{6FCDADD7-2ADE-F7A6-3ACF-DBB0741F7796}"/>
              </a:ext>
            </a:extLst>
          </p:cNvPr>
          <p:cNvSpPr>
            <a:spLocks noGrp="1"/>
          </p:cNvSpPr>
          <p:nvPr>
            <p:ph type="sldNum" sz="quarter" idx="12"/>
          </p:nvPr>
        </p:nvSpPr>
        <p:spPr>
          <a:xfrm>
            <a:off x="11581942" y="6433878"/>
            <a:ext cx="320674" cy="153463"/>
          </a:xfrm>
        </p:spPr>
        <p:txBody>
          <a:bodyPr/>
          <a:lstStyle/>
          <a:p>
            <a:fld id="{AEC8D767-5246-2244-A4A3-B8AFB218393C}" type="slidenum">
              <a:rPr lang="en-GB" smtClean="0"/>
              <a:t>‹#›</a:t>
            </a:fld>
            <a:endParaRPr lang="en-GB"/>
          </a:p>
        </p:txBody>
      </p:sp>
    </p:spTree>
    <p:extLst>
      <p:ext uri="{BB962C8B-B14F-4D97-AF65-F5344CB8AC3E}">
        <p14:creationId xmlns:p14="http://schemas.microsoft.com/office/powerpoint/2010/main" val="288297432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仅标题">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Text Placeholder 7">
            <a:extLst>
              <a:ext uri="{FF2B5EF4-FFF2-40B4-BE49-F238E27FC236}">
                <a16:creationId xmlns:a16="http://schemas.microsoft.com/office/drawing/2014/main" id="{17F42810-DCAF-7A30-3A4F-E23EA682FA39}"/>
              </a:ext>
            </a:extLst>
          </p:cNvPr>
          <p:cNvSpPr>
            <a:spLocks noGrp="1"/>
          </p:cNvSpPr>
          <p:nvPr>
            <p:ph type="body" sz="quarter" idx="14" hasCustomPrompt="1"/>
          </p:nvPr>
        </p:nvSpPr>
        <p:spPr>
          <a:xfrm>
            <a:off x="8124825" y="293525"/>
            <a:ext cx="3778250" cy="878050"/>
          </a:xfrm>
        </p:spPr>
        <p:txBody>
          <a:bodyPr/>
          <a:lstStyle>
            <a:lvl1pPr>
              <a:defRPr sz="1400"/>
            </a:lvl1pPr>
            <a:lvl2pPr>
              <a:defRPr sz="1400"/>
            </a:lvl2pPr>
            <a:lvl3pPr>
              <a:defRPr sz="1200"/>
            </a:lvl3pPr>
          </a:lstStyle>
          <a:p>
            <a:pPr lvl="0"/>
            <a:r>
              <a:rPr lang="en-GB"/>
              <a:t>Click to add text. Delete if not required.</a:t>
            </a:r>
          </a:p>
          <a:p>
            <a:pPr lvl="1"/>
            <a:r>
              <a:rPr lang="en-GB"/>
              <a:t>Second level</a:t>
            </a:r>
          </a:p>
          <a:p>
            <a:pPr lvl="2"/>
            <a:r>
              <a:rPr lang="en-GB"/>
              <a:t>Third level</a:t>
            </a:r>
          </a:p>
        </p:txBody>
      </p:sp>
      <p:sp>
        <p:nvSpPr>
          <p:cNvPr id="7" name="Title 6">
            <a:extLst>
              <a:ext uri="{FF2B5EF4-FFF2-40B4-BE49-F238E27FC236}">
                <a16:creationId xmlns:a16="http://schemas.microsoft.com/office/drawing/2014/main" id="{5373482F-4FA8-181D-CA6D-04D8D98AD13B}"/>
              </a:ext>
            </a:extLst>
          </p:cNvPr>
          <p:cNvSpPr>
            <a:spLocks noGrp="1"/>
          </p:cNvSpPr>
          <p:nvPr>
            <p:ph type="title"/>
          </p:nvPr>
        </p:nvSpPr>
        <p:spPr>
          <a:xfrm>
            <a:off x="288303" y="262267"/>
            <a:ext cx="6713538" cy="457818"/>
          </a:xfrm>
        </p:spPr>
        <p:txBody>
          <a:bodyPr/>
          <a:lstStyle/>
          <a:p>
            <a:r>
              <a:rPr lang="zh-CN" altLang="en-US"/>
              <a:t>单击此处编辑母版标题样式</a:t>
            </a:r>
            <a:endParaRPr lang="en-GB"/>
          </a:p>
        </p:txBody>
      </p:sp>
      <p:sp>
        <p:nvSpPr>
          <p:cNvPr id="6" name="Subtitle 2">
            <a:extLst>
              <a:ext uri="{FF2B5EF4-FFF2-40B4-BE49-F238E27FC236}">
                <a16:creationId xmlns:a16="http://schemas.microsoft.com/office/drawing/2014/main" id="{64BCB963-058E-5C5B-947F-AC1D9DD6C9FB}"/>
              </a:ext>
            </a:extLst>
          </p:cNvPr>
          <p:cNvSpPr>
            <a:spLocks noGrp="1"/>
          </p:cNvSpPr>
          <p:nvPr>
            <p:ph type="subTitle" idx="16"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2" name="Footer Placeholder 4">
            <a:extLst>
              <a:ext uri="{FF2B5EF4-FFF2-40B4-BE49-F238E27FC236}">
                <a16:creationId xmlns:a16="http://schemas.microsoft.com/office/drawing/2014/main" id="{B4313EC1-0D30-C944-21E6-B89F8290D2D3}"/>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22503951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BF06E5F-8043-3DC0-2D79-119BF990830B}"/>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2" name="Footer Placeholder 4">
            <a:extLst>
              <a:ext uri="{FF2B5EF4-FFF2-40B4-BE49-F238E27FC236}">
                <a16:creationId xmlns:a16="http://schemas.microsoft.com/office/drawing/2014/main" id="{876A8E91-3BCB-12F2-1699-CC1C3768018F}"/>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230253839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Full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0" y="0"/>
            <a:ext cx="12192000" cy="6858000"/>
          </a:xfrm>
          <a:solidFill>
            <a:schemeClr val="tx2"/>
          </a:solidFill>
        </p:spPr>
        <p:txBody>
          <a:bodyPr vert="horz" lIns="0" tIns="0" rIns="0" bIns="0" rtlCol="0" anchor="ctr">
            <a:noAutofit/>
          </a:bodyPr>
          <a:lstStyle>
            <a:lvl1pPr algn="ct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 If using a title or subtitle over the image, ensure the text is legible.</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Title 2">
            <a:extLst>
              <a:ext uri="{FF2B5EF4-FFF2-40B4-BE49-F238E27FC236}">
                <a16:creationId xmlns:a16="http://schemas.microsoft.com/office/drawing/2014/main" id="{10079C00-CC52-F9ED-ED36-A8FC0573506A}"/>
              </a:ext>
            </a:extLst>
          </p:cNvPr>
          <p:cNvSpPr>
            <a:spLocks noGrp="1"/>
          </p:cNvSpPr>
          <p:nvPr>
            <p:ph type="title" hasCustomPrompt="1"/>
          </p:nvPr>
        </p:nvSpPr>
        <p:spPr>
          <a:xfrm>
            <a:off x="288303" y="262267"/>
            <a:ext cx="10632110" cy="468590"/>
          </a:xfrm>
        </p:spPr>
        <p:txBody>
          <a:bodyPr/>
          <a:lstStyle>
            <a:lvl1pPr>
              <a:defRPr>
                <a:solidFill>
                  <a:schemeClr val="tx1"/>
                </a:solidFill>
              </a:defRPr>
            </a:lvl1pPr>
          </a:lstStyle>
          <a:p>
            <a:r>
              <a:rPr lang="en-GB"/>
              <a:t>Click to add title. Black or white text only.</a:t>
            </a:r>
            <a:endParaRPr lang="en-US"/>
          </a:p>
        </p:txBody>
      </p:sp>
      <p:sp>
        <p:nvSpPr>
          <p:cNvPr id="7" name="Subtitle 2">
            <a:extLst>
              <a:ext uri="{FF2B5EF4-FFF2-40B4-BE49-F238E27FC236}">
                <a16:creationId xmlns:a16="http://schemas.microsoft.com/office/drawing/2014/main" id="{295A4114-449A-5D28-03F8-03221E42A657}"/>
              </a:ext>
            </a:extLst>
          </p:cNvPr>
          <p:cNvSpPr>
            <a:spLocks noGrp="1"/>
          </p:cNvSpPr>
          <p:nvPr>
            <p:ph type="subTitle" idx="16" hasCustomPrompt="1"/>
          </p:nvPr>
        </p:nvSpPr>
        <p:spPr>
          <a:xfrm>
            <a:off x="288301" y="713620"/>
            <a:ext cx="10632109" cy="292965"/>
          </a:xfrm>
        </p:spPr>
        <p:txBody>
          <a:bodyPr vert="horz" wrap="square" lIns="0" tIns="0" rIns="0" bIns="0" rtlCol="0" anchor="t">
            <a:spAutoFit/>
          </a:bodyPr>
          <a:lstStyle>
            <a:lvl1pPr>
              <a:defRPr lang="en-GB" b="1" dirty="0"/>
            </a:lvl1pPr>
          </a:lstStyle>
          <a:p>
            <a:pPr lvl="0"/>
            <a:r>
              <a:rPr lang="en-GB"/>
              <a:t>Subtitle. Delete if not required.</a:t>
            </a:r>
          </a:p>
        </p:txBody>
      </p:sp>
    </p:spTree>
    <p:extLst>
      <p:ext uri="{BB962C8B-B14F-4D97-AF65-F5344CB8AC3E}">
        <p14:creationId xmlns:p14="http://schemas.microsoft.com/office/powerpoint/2010/main" val="64183015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Image and Captio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3225800" y="0"/>
            <a:ext cx="8966200" cy="6858000"/>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7"/>
            <a:ext cx="2793541" cy="3932237"/>
          </a:xfrm>
        </p:spPr>
        <p:txBody>
          <a:bodyPr/>
          <a:lstStyle/>
          <a:p>
            <a:pPr lvl="0"/>
            <a:r>
              <a:rPr lang="en-GB"/>
              <a:t>Click to add text – delete if not required</a:t>
            </a:r>
          </a:p>
          <a:p>
            <a:pPr lvl="1"/>
            <a:r>
              <a:rPr lang="en-GB"/>
              <a:t>Second level</a:t>
            </a:r>
          </a:p>
          <a:p>
            <a:pPr lvl="2"/>
            <a:r>
              <a:rPr lang="en-GB"/>
              <a:t>Third level</a:t>
            </a:r>
          </a:p>
          <a:p>
            <a:pPr lvl="3"/>
            <a:r>
              <a:rPr lang="en-GB"/>
              <a:t>Fourth level</a:t>
            </a:r>
          </a:p>
          <a:p>
            <a:pPr lvl="4"/>
            <a:r>
              <a:rPr lang="en-GB"/>
              <a:t>Fifth level</a:t>
            </a:r>
          </a:p>
        </p:txBody>
      </p:sp>
      <p:sp>
        <p:nvSpPr>
          <p:cNvPr id="2" name="Title 1">
            <a:extLst>
              <a:ext uri="{FF2B5EF4-FFF2-40B4-BE49-F238E27FC236}">
                <a16:creationId xmlns:a16="http://schemas.microsoft.com/office/drawing/2014/main" id="{52A37889-B558-B868-1094-BA62A7B3E70A}"/>
              </a:ext>
            </a:extLst>
          </p:cNvPr>
          <p:cNvSpPr>
            <a:spLocks noGrp="1"/>
          </p:cNvSpPr>
          <p:nvPr>
            <p:ph type="title"/>
          </p:nvPr>
        </p:nvSpPr>
        <p:spPr>
          <a:xfrm>
            <a:off x="288303" y="262800"/>
            <a:ext cx="2793541" cy="1934833"/>
          </a:xfrm>
        </p:spPr>
        <p:txBody>
          <a:bodyPr/>
          <a:lstStyle/>
          <a:p>
            <a:r>
              <a:rPr lang="zh-CN" altLang="en-US"/>
              <a:t>单击此处编辑母版标题样式</a:t>
            </a:r>
            <a:endParaRPr lang="en-GB"/>
          </a:p>
        </p:txBody>
      </p:sp>
    </p:spTree>
    <p:extLst>
      <p:ext uri="{BB962C8B-B14F-4D97-AF65-F5344CB8AC3E}">
        <p14:creationId xmlns:p14="http://schemas.microsoft.com/office/powerpoint/2010/main" val="258390509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Image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6170614" y="0"/>
            <a:ext cx="6021385" cy="6858000"/>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7"/>
            <a:ext cx="5732003" cy="3932237"/>
          </a:xfrm>
        </p:spPr>
        <p:txBody>
          <a:body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7" name="Subtitle 2">
            <a:extLst>
              <a:ext uri="{FF2B5EF4-FFF2-40B4-BE49-F238E27FC236}">
                <a16:creationId xmlns:a16="http://schemas.microsoft.com/office/drawing/2014/main" id="{42BB7518-D6BA-C538-D249-365B42C98C35}"/>
              </a:ext>
            </a:extLst>
          </p:cNvPr>
          <p:cNvSpPr>
            <a:spLocks noGrp="1"/>
          </p:cNvSpPr>
          <p:nvPr>
            <p:ph type="subTitle" idx="16" hasCustomPrompt="1"/>
          </p:nvPr>
        </p:nvSpPr>
        <p:spPr>
          <a:xfrm>
            <a:off x="288302" y="713620"/>
            <a:ext cx="5732003"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9" name="Title 8">
            <a:extLst>
              <a:ext uri="{FF2B5EF4-FFF2-40B4-BE49-F238E27FC236}">
                <a16:creationId xmlns:a16="http://schemas.microsoft.com/office/drawing/2014/main" id="{80AE2DF2-849C-72E8-013B-74CCFF6C4882}"/>
              </a:ext>
            </a:extLst>
          </p:cNvPr>
          <p:cNvSpPr>
            <a:spLocks noGrp="1"/>
          </p:cNvSpPr>
          <p:nvPr>
            <p:ph type="title" hasCustomPrompt="1"/>
          </p:nvPr>
        </p:nvSpPr>
        <p:spPr>
          <a:xfrm>
            <a:off x="288303" y="262267"/>
            <a:ext cx="5732002" cy="468590"/>
          </a:xfrm>
        </p:spPr>
        <p:txBody>
          <a:bodyPr/>
          <a:lstStyle/>
          <a:p>
            <a:r>
              <a:rPr lang="en-GB"/>
              <a:t>Master title style</a:t>
            </a:r>
          </a:p>
        </p:txBody>
      </p:sp>
    </p:spTree>
    <p:extLst>
      <p:ext uri="{BB962C8B-B14F-4D97-AF65-F5344CB8AC3E}">
        <p14:creationId xmlns:p14="http://schemas.microsoft.com/office/powerpoint/2010/main" val="417854663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p:cSld name="Image and Content Right S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0" y="0"/>
            <a:ext cx="6021385" cy="6858000"/>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6321758" y="4376738"/>
            <a:ext cx="5580856" cy="1893886"/>
          </a:xfrm>
        </p:spPr>
        <p:txBody>
          <a:bodyPr/>
          <a:lstStyle>
            <a:lvl1pPr>
              <a:defRPr lang="en-GB" dirty="0" smtClean="0"/>
            </a:lvl1pPr>
            <a:lvl2pPr>
              <a:defRPr lang="en-GB" dirty="0" smtClean="0"/>
            </a:lvl2pPr>
            <a:lvl3pPr>
              <a:defRPr lang="en-GB" dirty="0" smtClean="0"/>
            </a:lvl3pPr>
            <a:lvl4pPr>
              <a:defRPr lang="en-GB" dirty="0" smtClean="0"/>
            </a:lvl4pPr>
            <a:lvl5pPr>
              <a:defRPr lang="en-GB" dirty="0"/>
            </a:lvl5p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7" name="Title 6">
            <a:extLst>
              <a:ext uri="{FF2B5EF4-FFF2-40B4-BE49-F238E27FC236}">
                <a16:creationId xmlns:a16="http://schemas.microsoft.com/office/drawing/2014/main" id="{57139A87-57BC-3EA5-1A50-C7A9DA1DB2C1}"/>
              </a:ext>
            </a:extLst>
          </p:cNvPr>
          <p:cNvSpPr>
            <a:spLocks noGrp="1"/>
          </p:cNvSpPr>
          <p:nvPr>
            <p:ph type="title"/>
          </p:nvPr>
        </p:nvSpPr>
        <p:spPr>
          <a:xfrm>
            <a:off x="6323798" y="279525"/>
            <a:ext cx="5578817" cy="2733056"/>
          </a:xfrm>
        </p:spPr>
        <p:txBody>
          <a:bodyPr/>
          <a:lstStyle>
            <a:lvl1pPr>
              <a:lnSpc>
                <a:spcPct val="80000"/>
              </a:lnSpc>
              <a:defRPr sz="7400"/>
            </a:lvl1pPr>
          </a:lstStyle>
          <a:p>
            <a:r>
              <a:rPr lang="zh-CN" altLang="en-US"/>
              <a:t>单击此处编辑母版标题样式</a:t>
            </a:r>
            <a:endParaRPr lang="en-US"/>
          </a:p>
        </p:txBody>
      </p:sp>
    </p:spTree>
    <p:extLst>
      <p:ext uri="{BB962C8B-B14F-4D97-AF65-F5344CB8AC3E}">
        <p14:creationId xmlns:p14="http://schemas.microsoft.com/office/powerpoint/2010/main" val="41249625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Accessible Version]">
    <p:bg>
      <p:bgPr>
        <a:solidFill>
          <a:srgbClr val="F6F3F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97A17AB-0114-CDE0-D80E-3AAA53BE4837}"/>
              </a:ext>
            </a:extLst>
          </p:cNvPr>
          <p:cNvSpPr>
            <a:spLocks noGrp="1"/>
          </p:cNvSpPr>
          <p:nvPr>
            <p:ph type="ctrTitle"/>
          </p:nvPr>
        </p:nvSpPr>
        <p:spPr>
          <a:xfrm>
            <a:off x="284805" y="261082"/>
            <a:ext cx="9656119" cy="2617640"/>
          </a:xfrm>
        </p:spPr>
        <p:txBody>
          <a:bodyPr anchor="t"/>
          <a:lstStyle>
            <a:lvl1pPr algn="l">
              <a:lnSpc>
                <a:spcPct val="80000"/>
              </a:lnSpc>
              <a:defRPr sz="10500" b="0" i="0" spc="0" baseline="0">
                <a:solidFill>
                  <a:schemeClr val="tx2"/>
                </a:solidFill>
                <a:latin typeface="+mj-lt"/>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565D7B25-1665-DB97-EC26-F653F638EABF}"/>
              </a:ext>
            </a:extLst>
          </p:cNvPr>
          <p:cNvSpPr>
            <a:spLocks noGrp="1"/>
          </p:cNvSpPr>
          <p:nvPr>
            <p:ph type="subTitle" idx="1" hasCustomPrompt="1"/>
          </p:nvPr>
        </p:nvSpPr>
        <p:spPr>
          <a:xfrm>
            <a:off x="6165850" y="5892920"/>
            <a:ext cx="2795587" cy="717180"/>
          </a:xfrm>
        </p:spPr>
        <p:txBody>
          <a:bodyPr anchor="b"/>
          <a:lstStyle>
            <a:lvl1pPr marL="0" indent="0" algn="l">
              <a:lnSpc>
                <a:spcPct val="100000"/>
              </a:lnSpc>
              <a:spcBef>
                <a:spcPts val="0"/>
              </a:spcBef>
              <a:spcAft>
                <a:spcPts val="0"/>
              </a:spcAft>
              <a:buNone/>
              <a:defRPr sz="1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pporting details – delete if not required</a:t>
            </a:r>
          </a:p>
        </p:txBody>
      </p:sp>
      <p:sp>
        <p:nvSpPr>
          <p:cNvPr id="4" name="Graphic 2">
            <a:extLst>
              <a:ext uri="{FF2B5EF4-FFF2-40B4-BE49-F238E27FC236}">
                <a16:creationId xmlns:a16="http://schemas.microsoft.com/office/drawing/2014/main" id="{81BA223A-6973-8C60-D519-0AA8E983C929}"/>
              </a:ext>
            </a:extLst>
          </p:cNvPr>
          <p:cNvSpPr>
            <a:spLocks noChangeAspect="1"/>
          </p:cNvSpPr>
          <p:nvPr/>
        </p:nvSpPr>
        <p:spPr>
          <a:xfrm>
            <a:off x="290513" y="6377853"/>
            <a:ext cx="2034000" cy="187309"/>
          </a:xfrm>
          <a:custGeom>
            <a:avLst/>
            <a:gdLst>
              <a:gd name="connsiteX0" fmla="*/ 542692 w 5487431"/>
              <a:gd name="connsiteY0" fmla="*/ 463149 h 505330"/>
              <a:gd name="connsiteX1" fmla="*/ 458967 w 5487431"/>
              <a:gd name="connsiteY1" fmla="*/ 321634 h 505330"/>
              <a:gd name="connsiteX2" fmla="*/ 542692 w 5487431"/>
              <a:gd name="connsiteY2" fmla="*/ 180119 h 505330"/>
              <a:gd name="connsiteX3" fmla="*/ 626417 w 5487431"/>
              <a:gd name="connsiteY3" fmla="*/ 321634 h 505330"/>
              <a:gd name="connsiteX4" fmla="*/ 542692 w 5487431"/>
              <a:gd name="connsiteY4" fmla="*/ 463149 h 505330"/>
              <a:gd name="connsiteX5" fmla="*/ 542692 w 5487431"/>
              <a:gd name="connsiteY5" fmla="*/ 142174 h 505330"/>
              <a:gd name="connsiteX6" fmla="*/ 372482 w 5487431"/>
              <a:gd name="connsiteY6" fmla="*/ 321634 h 505330"/>
              <a:gd name="connsiteX7" fmla="*/ 542692 w 5487431"/>
              <a:gd name="connsiteY7" fmla="*/ 501094 h 505330"/>
              <a:gd name="connsiteX8" fmla="*/ 712902 w 5487431"/>
              <a:gd name="connsiteY8" fmla="*/ 321634 h 505330"/>
              <a:gd name="connsiteX9" fmla="*/ 542692 w 5487431"/>
              <a:gd name="connsiteY9" fmla="*/ 142174 h 505330"/>
              <a:gd name="connsiteX10" fmla="*/ 1303641 w 5487431"/>
              <a:gd name="connsiteY10" fmla="*/ 142174 h 505330"/>
              <a:gd name="connsiteX11" fmla="*/ 1207357 w 5487431"/>
              <a:gd name="connsiteY11" fmla="*/ 192547 h 505330"/>
              <a:gd name="connsiteX12" fmla="*/ 1203170 w 5487431"/>
              <a:gd name="connsiteY12" fmla="*/ 192547 h 505330"/>
              <a:gd name="connsiteX13" fmla="*/ 1203170 w 5487431"/>
              <a:gd name="connsiteY13" fmla="*/ 149048 h 505330"/>
              <a:gd name="connsiteX14" fmla="*/ 1120872 w 5487431"/>
              <a:gd name="connsiteY14" fmla="*/ 149048 h 505330"/>
              <a:gd name="connsiteX15" fmla="*/ 1120872 w 5487431"/>
              <a:gd name="connsiteY15" fmla="*/ 494221 h 505330"/>
              <a:gd name="connsiteX16" fmla="*/ 1203170 w 5487431"/>
              <a:gd name="connsiteY16" fmla="*/ 494221 h 505330"/>
              <a:gd name="connsiteX17" fmla="*/ 1203170 w 5487431"/>
              <a:gd name="connsiteY17" fmla="*/ 271261 h 505330"/>
              <a:gd name="connsiteX18" fmla="*/ 1272244 w 5487431"/>
              <a:gd name="connsiteY18" fmla="*/ 190476 h 505330"/>
              <a:gd name="connsiteX19" fmla="*/ 1331518 w 5487431"/>
              <a:gd name="connsiteY19" fmla="*/ 258173 h 505330"/>
              <a:gd name="connsiteX20" fmla="*/ 1331518 w 5487431"/>
              <a:gd name="connsiteY20" fmla="*/ 494221 h 505330"/>
              <a:gd name="connsiteX21" fmla="*/ 1413816 w 5487431"/>
              <a:gd name="connsiteY21" fmla="*/ 494221 h 505330"/>
              <a:gd name="connsiteX22" fmla="*/ 1413816 w 5487431"/>
              <a:gd name="connsiteY22" fmla="*/ 257420 h 505330"/>
              <a:gd name="connsiteX23" fmla="*/ 1303641 w 5487431"/>
              <a:gd name="connsiteY23" fmla="*/ 142174 h 505330"/>
              <a:gd name="connsiteX24" fmla="*/ 1600771 w 5487431"/>
              <a:gd name="connsiteY24" fmla="*/ 142174 h 505330"/>
              <a:gd name="connsiteX25" fmla="*/ 1467571 w 5487431"/>
              <a:gd name="connsiteY25" fmla="*/ 241602 h 505330"/>
              <a:gd name="connsiteX26" fmla="*/ 1551962 w 5487431"/>
              <a:gd name="connsiteY26" fmla="*/ 341030 h 505330"/>
              <a:gd name="connsiteX27" fmla="*/ 1621702 w 5487431"/>
              <a:gd name="connsiteY27" fmla="*/ 358260 h 505330"/>
              <a:gd name="connsiteX28" fmla="*/ 1675457 w 5487431"/>
              <a:gd name="connsiteY28" fmla="*/ 409387 h 505330"/>
              <a:gd name="connsiteX29" fmla="*/ 1606384 w 5487431"/>
              <a:gd name="connsiteY29" fmla="*/ 464656 h 505330"/>
              <a:gd name="connsiteX30" fmla="*/ 1526845 w 5487431"/>
              <a:gd name="connsiteY30" fmla="*/ 384624 h 505330"/>
              <a:gd name="connsiteX31" fmla="*/ 1452919 w 5487431"/>
              <a:gd name="connsiteY31" fmla="*/ 405338 h 505330"/>
              <a:gd name="connsiteX32" fmla="*/ 1597345 w 5487431"/>
              <a:gd name="connsiteY32" fmla="*/ 501282 h 505330"/>
              <a:gd name="connsiteX33" fmla="*/ 1742438 w 5487431"/>
              <a:gd name="connsiteY33" fmla="*/ 388767 h 505330"/>
              <a:gd name="connsiteX34" fmla="*/ 1649674 w 5487431"/>
              <a:gd name="connsiteY34" fmla="*/ 285196 h 505330"/>
              <a:gd name="connsiteX35" fmla="*/ 1582693 w 5487431"/>
              <a:gd name="connsiteY35" fmla="*/ 268625 h 505330"/>
              <a:gd name="connsiteX36" fmla="*/ 1534551 w 5487431"/>
              <a:gd name="connsiteY36" fmla="*/ 223054 h 505330"/>
              <a:gd name="connsiteX37" fmla="*/ 1593825 w 5487431"/>
              <a:gd name="connsiteY37" fmla="*/ 178895 h 505330"/>
              <a:gd name="connsiteX38" fmla="*/ 1664992 w 5487431"/>
              <a:gd name="connsiteY38" fmla="*/ 245180 h 505330"/>
              <a:gd name="connsiteX39" fmla="*/ 1734731 w 5487431"/>
              <a:gd name="connsiteY39" fmla="*/ 224466 h 505330"/>
              <a:gd name="connsiteX40" fmla="*/ 1600771 w 5487431"/>
              <a:gd name="connsiteY40" fmla="*/ 142174 h 505330"/>
              <a:gd name="connsiteX41" fmla="*/ 1946803 w 5487431"/>
              <a:gd name="connsiteY41" fmla="*/ 463149 h 505330"/>
              <a:gd name="connsiteX42" fmla="*/ 1863078 w 5487431"/>
              <a:gd name="connsiteY42" fmla="*/ 321634 h 505330"/>
              <a:gd name="connsiteX43" fmla="*/ 1946803 w 5487431"/>
              <a:gd name="connsiteY43" fmla="*/ 180119 h 505330"/>
              <a:gd name="connsiteX44" fmla="*/ 2030529 w 5487431"/>
              <a:gd name="connsiteY44" fmla="*/ 321634 h 505330"/>
              <a:gd name="connsiteX45" fmla="*/ 1946803 w 5487431"/>
              <a:gd name="connsiteY45" fmla="*/ 463149 h 505330"/>
              <a:gd name="connsiteX46" fmla="*/ 1946803 w 5487431"/>
              <a:gd name="connsiteY46" fmla="*/ 142174 h 505330"/>
              <a:gd name="connsiteX47" fmla="*/ 1776594 w 5487431"/>
              <a:gd name="connsiteY47" fmla="*/ 321634 h 505330"/>
              <a:gd name="connsiteX48" fmla="*/ 1946803 w 5487431"/>
              <a:gd name="connsiteY48" fmla="*/ 501094 h 505330"/>
              <a:gd name="connsiteX49" fmla="*/ 2117013 w 5487431"/>
              <a:gd name="connsiteY49" fmla="*/ 321634 h 505330"/>
              <a:gd name="connsiteX50" fmla="*/ 1946803 w 5487431"/>
              <a:gd name="connsiteY50" fmla="*/ 142174 h 505330"/>
              <a:gd name="connsiteX51" fmla="*/ 2348590 w 5487431"/>
              <a:gd name="connsiteY51" fmla="*/ 142174 h 505330"/>
              <a:gd name="connsiteX52" fmla="*/ 2252306 w 5487431"/>
              <a:gd name="connsiteY52" fmla="*/ 192547 h 505330"/>
              <a:gd name="connsiteX53" fmla="*/ 2248119 w 5487431"/>
              <a:gd name="connsiteY53" fmla="*/ 192547 h 505330"/>
              <a:gd name="connsiteX54" fmla="*/ 2248119 w 5487431"/>
              <a:gd name="connsiteY54" fmla="*/ 149048 h 505330"/>
              <a:gd name="connsiteX55" fmla="*/ 2165821 w 5487431"/>
              <a:gd name="connsiteY55" fmla="*/ 149048 h 505330"/>
              <a:gd name="connsiteX56" fmla="*/ 2165821 w 5487431"/>
              <a:gd name="connsiteY56" fmla="*/ 494221 h 505330"/>
              <a:gd name="connsiteX57" fmla="*/ 2248119 w 5487431"/>
              <a:gd name="connsiteY57" fmla="*/ 494221 h 505330"/>
              <a:gd name="connsiteX58" fmla="*/ 2248119 w 5487431"/>
              <a:gd name="connsiteY58" fmla="*/ 271261 h 505330"/>
              <a:gd name="connsiteX59" fmla="*/ 2317193 w 5487431"/>
              <a:gd name="connsiteY59" fmla="*/ 190476 h 505330"/>
              <a:gd name="connsiteX60" fmla="*/ 2376466 w 5487431"/>
              <a:gd name="connsiteY60" fmla="*/ 258173 h 505330"/>
              <a:gd name="connsiteX61" fmla="*/ 2376466 w 5487431"/>
              <a:gd name="connsiteY61" fmla="*/ 494221 h 505330"/>
              <a:gd name="connsiteX62" fmla="*/ 2458764 w 5487431"/>
              <a:gd name="connsiteY62" fmla="*/ 494221 h 505330"/>
              <a:gd name="connsiteX63" fmla="*/ 2458764 w 5487431"/>
              <a:gd name="connsiteY63" fmla="*/ 257420 h 505330"/>
              <a:gd name="connsiteX64" fmla="*/ 2348590 w 5487431"/>
              <a:gd name="connsiteY64" fmla="*/ 142174 h 505330"/>
              <a:gd name="connsiteX65" fmla="*/ 3571359 w 5487431"/>
              <a:gd name="connsiteY65" fmla="*/ 463149 h 505330"/>
              <a:gd name="connsiteX66" fmla="*/ 3487634 w 5487431"/>
              <a:gd name="connsiteY66" fmla="*/ 321634 h 505330"/>
              <a:gd name="connsiteX67" fmla="*/ 3571359 w 5487431"/>
              <a:gd name="connsiteY67" fmla="*/ 180119 h 505330"/>
              <a:gd name="connsiteX68" fmla="*/ 3655085 w 5487431"/>
              <a:gd name="connsiteY68" fmla="*/ 321634 h 505330"/>
              <a:gd name="connsiteX69" fmla="*/ 3571359 w 5487431"/>
              <a:gd name="connsiteY69" fmla="*/ 463149 h 505330"/>
              <a:gd name="connsiteX70" fmla="*/ 3571359 w 5487431"/>
              <a:gd name="connsiteY70" fmla="*/ 142174 h 505330"/>
              <a:gd name="connsiteX71" fmla="*/ 3401150 w 5487431"/>
              <a:gd name="connsiteY71" fmla="*/ 321634 h 505330"/>
              <a:gd name="connsiteX72" fmla="*/ 3571359 w 5487431"/>
              <a:gd name="connsiteY72" fmla="*/ 501094 h 505330"/>
              <a:gd name="connsiteX73" fmla="*/ 3741569 w 5487431"/>
              <a:gd name="connsiteY73" fmla="*/ 321634 h 505330"/>
              <a:gd name="connsiteX74" fmla="*/ 3571359 w 5487431"/>
              <a:gd name="connsiteY74" fmla="*/ 142174 h 505330"/>
              <a:gd name="connsiteX75" fmla="*/ 4332308 w 5487431"/>
              <a:gd name="connsiteY75" fmla="*/ 142174 h 505330"/>
              <a:gd name="connsiteX76" fmla="*/ 4236024 w 5487431"/>
              <a:gd name="connsiteY76" fmla="*/ 192547 h 505330"/>
              <a:gd name="connsiteX77" fmla="*/ 4231838 w 5487431"/>
              <a:gd name="connsiteY77" fmla="*/ 192547 h 505330"/>
              <a:gd name="connsiteX78" fmla="*/ 4231838 w 5487431"/>
              <a:gd name="connsiteY78" fmla="*/ 149048 h 505330"/>
              <a:gd name="connsiteX79" fmla="*/ 4149539 w 5487431"/>
              <a:gd name="connsiteY79" fmla="*/ 149048 h 505330"/>
              <a:gd name="connsiteX80" fmla="*/ 4149539 w 5487431"/>
              <a:gd name="connsiteY80" fmla="*/ 494221 h 505330"/>
              <a:gd name="connsiteX81" fmla="*/ 4231838 w 5487431"/>
              <a:gd name="connsiteY81" fmla="*/ 494221 h 505330"/>
              <a:gd name="connsiteX82" fmla="*/ 4231838 w 5487431"/>
              <a:gd name="connsiteY82" fmla="*/ 271261 h 505330"/>
              <a:gd name="connsiteX83" fmla="*/ 4300911 w 5487431"/>
              <a:gd name="connsiteY83" fmla="*/ 190476 h 505330"/>
              <a:gd name="connsiteX84" fmla="*/ 4360185 w 5487431"/>
              <a:gd name="connsiteY84" fmla="*/ 258173 h 505330"/>
              <a:gd name="connsiteX85" fmla="*/ 4360185 w 5487431"/>
              <a:gd name="connsiteY85" fmla="*/ 494221 h 505330"/>
              <a:gd name="connsiteX86" fmla="*/ 4442483 w 5487431"/>
              <a:gd name="connsiteY86" fmla="*/ 494221 h 505330"/>
              <a:gd name="connsiteX87" fmla="*/ 4442483 w 5487431"/>
              <a:gd name="connsiteY87" fmla="*/ 257420 h 505330"/>
              <a:gd name="connsiteX88" fmla="*/ 4332308 w 5487431"/>
              <a:gd name="connsiteY88" fmla="*/ 142174 h 505330"/>
              <a:gd name="connsiteX89" fmla="*/ 4629533 w 5487431"/>
              <a:gd name="connsiteY89" fmla="*/ 142174 h 505330"/>
              <a:gd name="connsiteX90" fmla="*/ 4496334 w 5487431"/>
              <a:gd name="connsiteY90" fmla="*/ 241602 h 505330"/>
              <a:gd name="connsiteX91" fmla="*/ 4580725 w 5487431"/>
              <a:gd name="connsiteY91" fmla="*/ 341030 h 505330"/>
              <a:gd name="connsiteX92" fmla="*/ 4650464 w 5487431"/>
              <a:gd name="connsiteY92" fmla="*/ 358260 h 505330"/>
              <a:gd name="connsiteX93" fmla="*/ 4704220 w 5487431"/>
              <a:gd name="connsiteY93" fmla="*/ 409387 h 505330"/>
              <a:gd name="connsiteX94" fmla="*/ 4635146 w 5487431"/>
              <a:gd name="connsiteY94" fmla="*/ 464656 h 505330"/>
              <a:gd name="connsiteX95" fmla="*/ 4555607 w 5487431"/>
              <a:gd name="connsiteY95" fmla="*/ 384624 h 505330"/>
              <a:gd name="connsiteX96" fmla="*/ 4481682 w 5487431"/>
              <a:gd name="connsiteY96" fmla="*/ 405338 h 505330"/>
              <a:gd name="connsiteX97" fmla="*/ 4626108 w 5487431"/>
              <a:gd name="connsiteY97" fmla="*/ 501282 h 505330"/>
              <a:gd name="connsiteX98" fmla="*/ 4771200 w 5487431"/>
              <a:gd name="connsiteY98" fmla="*/ 388767 h 505330"/>
              <a:gd name="connsiteX99" fmla="*/ 4678436 w 5487431"/>
              <a:gd name="connsiteY99" fmla="*/ 285196 h 505330"/>
              <a:gd name="connsiteX100" fmla="*/ 4611456 w 5487431"/>
              <a:gd name="connsiteY100" fmla="*/ 268625 h 505330"/>
              <a:gd name="connsiteX101" fmla="*/ 4563314 w 5487431"/>
              <a:gd name="connsiteY101" fmla="*/ 223054 h 505330"/>
              <a:gd name="connsiteX102" fmla="*/ 4622588 w 5487431"/>
              <a:gd name="connsiteY102" fmla="*/ 178895 h 505330"/>
              <a:gd name="connsiteX103" fmla="*/ 4693754 w 5487431"/>
              <a:gd name="connsiteY103" fmla="*/ 245180 h 505330"/>
              <a:gd name="connsiteX104" fmla="*/ 4763493 w 5487431"/>
              <a:gd name="connsiteY104" fmla="*/ 224466 h 505330"/>
              <a:gd name="connsiteX105" fmla="*/ 4629533 w 5487431"/>
              <a:gd name="connsiteY105" fmla="*/ 142174 h 505330"/>
              <a:gd name="connsiteX106" fmla="*/ 4975471 w 5487431"/>
              <a:gd name="connsiteY106" fmla="*/ 463149 h 505330"/>
              <a:gd name="connsiteX107" fmla="*/ 4891745 w 5487431"/>
              <a:gd name="connsiteY107" fmla="*/ 321634 h 505330"/>
              <a:gd name="connsiteX108" fmla="*/ 4975471 w 5487431"/>
              <a:gd name="connsiteY108" fmla="*/ 180119 h 505330"/>
              <a:gd name="connsiteX109" fmla="*/ 5059196 w 5487431"/>
              <a:gd name="connsiteY109" fmla="*/ 321634 h 505330"/>
              <a:gd name="connsiteX110" fmla="*/ 4975471 w 5487431"/>
              <a:gd name="connsiteY110" fmla="*/ 463149 h 505330"/>
              <a:gd name="connsiteX111" fmla="*/ 4975471 w 5487431"/>
              <a:gd name="connsiteY111" fmla="*/ 142174 h 505330"/>
              <a:gd name="connsiteX112" fmla="*/ 4805261 w 5487431"/>
              <a:gd name="connsiteY112" fmla="*/ 321634 h 505330"/>
              <a:gd name="connsiteX113" fmla="*/ 4975471 w 5487431"/>
              <a:gd name="connsiteY113" fmla="*/ 501094 h 505330"/>
              <a:gd name="connsiteX114" fmla="*/ 5145680 w 5487431"/>
              <a:gd name="connsiteY114" fmla="*/ 321634 h 505330"/>
              <a:gd name="connsiteX115" fmla="*/ 4975471 w 5487431"/>
              <a:gd name="connsiteY115" fmla="*/ 142174 h 505330"/>
              <a:gd name="connsiteX116" fmla="*/ 5377257 w 5487431"/>
              <a:gd name="connsiteY116" fmla="*/ 142174 h 505330"/>
              <a:gd name="connsiteX117" fmla="*/ 5280973 w 5487431"/>
              <a:gd name="connsiteY117" fmla="*/ 192547 h 505330"/>
              <a:gd name="connsiteX118" fmla="*/ 5276787 w 5487431"/>
              <a:gd name="connsiteY118" fmla="*/ 192547 h 505330"/>
              <a:gd name="connsiteX119" fmla="*/ 5276787 w 5487431"/>
              <a:gd name="connsiteY119" fmla="*/ 149048 h 505330"/>
              <a:gd name="connsiteX120" fmla="*/ 5194488 w 5487431"/>
              <a:gd name="connsiteY120" fmla="*/ 149048 h 505330"/>
              <a:gd name="connsiteX121" fmla="*/ 5194488 w 5487431"/>
              <a:gd name="connsiteY121" fmla="*/ 494221 h 505330"/>
              <a:gd name="connsiteX122" fmla="*/ 5276787 w 5487431"/>
              <a:gd name="connsiteY122" fmla="*/ 494221 h 505330"/>
              <a:gd name="connsiteX123" fmla="*/ 5276787 w 5487431"/>
              <a:gd name="connsiteY123" fmla="*/ 271261 h 505330"/>
              <a:gd name="connsiteX124" fmla="*/ 5345860 w 5487431"/>
              <a:gd name="connsiteY124" fmla="*/ 190476 h 505330"/>
              <a:gd name="connsiteX125" fmla="*/ 5405134 w 5487431"/>
              <a:gd name="connsiteY125" fmla="*/ 258173 h 505330"/>
              <a:gd name="connsiteX126" fmla="*/ 5405134 w 5487431"/>
              <a:gd name="connsiteY126" fmla="*/ 494221 h 505330"/>
              <a:gd name="connsiteX127" fmla="*/ 5487432 w 5487431"/>
              <a:gd name="connsiteY127" fmla="*/ 494221 h 505330"/>
              <a:gd name="connsiteX128" fmla="*/ 5487432 w 5487431"/>
              <a:gd name="connsiteY128" fmla="*/ 257420 h 505330"/>
              <a:gd name="connsiteX129" fmla="*/ 5377257 w 5487431"/>
              <a:gd name="connsiteY129" fmla="*/ 142174 h 505330"/>
              <a:gd name="connsiteX130" fmla="*/ 323674 w 5487431"/>
              <a:gd name="connsiteY130" fmla="*/ 11016 h 505330"/>
              <a:gd name="connsiteX131" fmla="*/ 237190 w 5487431"/>
              <a:gd name="connsiteY131" fmla="*/ 11016 h 505330"/>
              <a:gd name="connsiteX132" fmla="*/ 237190 w 5487431"/>
              <a:gd name="connsiteY132" fmla="*/ 367864 h 505330"/>
              <a:gd name="connsiteX133" fmla="*/ 161837 w 5487431"/>
              <a:gd name="connsiteY133" fmla="*/ 460325 h 505330"/>
              <a:gd name="connsiteX134" fmla="*/ 86484 w 5487431"/>
              <a:gd name="connsiteY134" fmla="*/ 360897 h 505330"/>
              <a:gd name="connsiteX135" fmla="*/ 86484 w 5487431"/>
              <a:gd name="connsiteY135" fmla="*/ 294612 h 505330"/>
              <a:gd name="connsiteX136" fmla="*/ 0 w 5487431"/>
              <a:gd name="connsiteY136" fmla="*/ 315985 h 505330"/>
              <a:gd name="connsiteX137" fmla="*/ 0 w 5487431"/>
              <a:gd name="connsiteY137" fmla="*/ 345644 h 505330"/>
              <a:gd name="connsiteX138" fmla="*/ 161837 w 5487431"/>
              <a:gd name="connsiteY138" fmla="*/ 505143 h 505330"/>
              <a:gd name="connsiteX139" fmla="*/ 323674 w 5487431"/>
              <a:gd name="connsiteY139" fmla="*/ 345644 h 505330"/>
              <a:gd name="connsiteX140" fmla="*/ 323674 w 5487431"/>
              <a:gd name="connsiteY140" fmla="*/ 11016 h 505330"/>
              <a:gd name="connsiteX141" fmla="*/ 844008 w 5487431"/>
              <a:gd name="connsiteY141" fmla="*/ 11016 h 505330"/>
              <a:gd name="connsiteX142" fmla="*/ 761710 w 5487431"/>
              <a:gd name="connsiteY142" fmla="*/ 11016 h 505330"/>
              <a:gd name="connsiteX143" fmla="*/ 761710 w 5487431"/>
              <a:gd name="connsiteY143" fmla="*/ 494221 h 505330"/>
              <a:gd name="connsiteX144" fmla="*/ 844008 w 5487431"/>
              <a:gd name="connsiteY144" fmla="*/ 494221 h 505330"/>
              <a:gd name="connsiteX145" fmla="*/ 844008 w 5487431"/>
              <a:gd name="connsiteY145" fmla="*/ 271261 h 505330"/>
              <a:gd name="connsiteX146" fmla="*/ 913081 w 5487431"/>
              <a:gd name="connsiteY146" fmla="*/ 190476 h 505330"/>
              <a:gd name="connsiteX147" fmla="*/ 972355 w 5487431"/>
              <a:gd name="connsiteY147" fmla="*/ 258173 h 505330"/>
              <a:gd name="connsiteX148" fmla="*/ 972355 w 5487431"/>
              <a:gd name="connsiteY148" fmla="*/ 494221 h 505330"/>
              <a:gd name="connsiteX149" fmla="*/ 1054653 w 5487431"/>
              <a:gd name="connsiteY149" fmla="*/ 494221 h 505330"/>
              <a:gd name="connsiteX150" fmla="*/ 1054653 w 5487431"/>
              <a:gd name="connsiteY150" fmla="*/ 257420 h 505330"/>
              <a:gd name="connsiteX151" fmla="*/ 944478 w 5487431"/>
              <a:gd name="connsiteY151" fmla="*/ 142174 h 505330"/>
              <a:gd name="connsiteX152" fmla="*/ 848194 w 5487431"/>
              <a:gd name="connsiteY152" fmla="*/ 192547 h 505330"/>
              <a:gd name="connsiteX153" fmla="*/ 844008 w 5487431"/>
              <a:gd name="connsiteY153" fmla="*/ 192547 h 505330"/>
              <a:gd name="connsiteX154" fmla="*/ 844008 w 5487431"/>
              <a:gd name="connsiteY154" fmla="*/ 11016 h 505330"/>
              <a:gd name="connsiteX155" fmla="*/ 3352342 w 5487431"/>
              <a:gd name="connsiteY155" fmla="*/ 11016 h 505330"/>
              <a:gd name="connsiteX156" fmla="*/ 3265857 w 5487431"/>
              <a:gd name="connsiteY156" fmla="*/ 11016 h 505330"/>
              <a:gd name="connsiteX157" fmla="*/ 3265857 w 5487431"/>
              <a:gd name="connsiteY157" fmla="*/ 367864 h 505330"/>
              <a:gd name="connsiteX158" fmla="*/ 3190504 w 5487431"/>
              <a:gd name="connsiteY158" fmla="*/ 460325 h 505330"/>
              <a:gd name="connsiteX159" fmla="*/ 3115152 w 5487431"/>
              <a:gd name="connsiteY159" fmla="*/ 360897 h 505330"/>
              <a:gd name="connsiteX160" fmla="*/ 3115152 w 5487431"/>
              <a:gd name="connsiteY160" fmla="*/ 294612 h 505330"/>
              <a:gd name="connsiteX161" fmla="*/ 3028667 w 5487431"/>
              <a:gd name="connsiteY161" fmla="*/ 315985 h 505330"/>
              <a:gd name="connsiteX162" fmla="*/ 3028667 w 5487431"/>
              <a:gd name="connsiteY162" fmla="*/ 345644 h 505330"/>
              <a:gd name="connsiteX163" fmla="*/ 3190504 w 5487431"/>
              <a:gd name="connsiteY163" fmla="*/ 505143 h 505330"/>
              <a:gd name="connsiteX164" fmla="*/ 3352342 w 5487431"/>
              <a:gd name="connsiteY164" fmla="*/ 345644 h 505330"/>
              <a:gd name="connsiteX165" fmla="*/ 3352342 w 5487431"/>
              <a:gd name="connsiteY165" fmla="*/ 11016 h 505330"/>
              <a:gd name="connsiteX166" fmla="*/ 3872675 w 5487431"/>
              <a:gd name="connsiteY166" fmla="*/ 11016 h 505330"/>
              <a:gd name="connsiteX167" fmla="*/ 3790377 w 5487431"/>
              <a:gd name="connsiteY167" fmla="*/ 11016 h 505330"/>
              <a:gd name="connsiteX168" fmla="*/ 3790377 w 5487431"/>
              <a:gd name="connsiteY168" fmla="*/ 494221 h 505330"/>
              <a:gd name="connsiteX169" fmla="*/ 3872675 w 5487431"/>
              <a:gd name="connsiteY169" fmla="*/ 494221 h 505330"/>
              <a:gd name="connsiteX170" fmla="*/ 3872675 w 5487431"/>
              <a:gd name="connsiteY170" fmla="*/ 271261 h 505330"/>
              <a:gd name="connsiteX171" fmla="*/ 3941749 w 5487431"/>
              <a:gd name="connsiteY171" fmla="*/ 190476 h 505330"/>
              <a:gd name="connsiteX172" fmla="*/ 4001022 w 5487431"/>
              <a:gd name="connsiteY172" fmla="*/ 258173 h 505330"/>
              <a:gd name="connsiteX173" fmla="*/ 4001022 w 5487431"/>
              <a:gd name="connsiteY173" fmla="*/ 494221 h 505330"/>
              <a:gd name="connsiteX174" fmla="*/ 4083320 w 5487431"/>
              <a:gd name="connsiteY174" fmla="*/ 494221 h 505330"/>
              <a:gd name="connsiteX175" fmla="*/ 4083320 w 5487431"/>
              <a:gd name="connsiteY175" fmla="*/ 257420 h 505330"/>
              <a:gd name="connsiteX176" fmla="*/ 3973146 w 5487431"/>
              <a:gd name="connsiteY176" fmla="*/ 142174 h 505330"/>
              <a:gd name="connsiteX177" fmla="*/ 3876861 w 5487431"/>
              <a:gd name="connsiteY177" fmla="*/ 192547 h 505330"/>
              <a:gd name="connsiteX178" fmla="*/ 3872675 w 5487431"/>
              <a:gd name="connsiteY178" fmla="*/ 192547 h 505330"/>
              <a:gd name="connsiteX179" fmla="*/ 3872675 w 5487431"/>
              <a:gd name="connsiteY179" fmla="*/ 11016 h 505330"/>
              <a:gd name="connsiteX180" fmla="*/ 2730110 w 5487431"/>
              <a:gd name="connsiteY180" fmla="*/ 454864 h 505330"/>
              <a:gd name="connsiteX181" fmla="*/ 2622029 w 5487431"/>
              <a:gd name="connsiteY181" fmla="*/ 343761 h 505330"/>
              <a:gd name="connsiteX182" fmla="*/ 2664557 w 5487431"/>
              <a:gd name="connsiteY182" fmla="*/ 256102 h 505330"/>
              <a:gd name="connsiteX183" fmla="*/ 2822208 w 5487431"/>
              <a:gd name="connsiteY183" fmla="*/ 426617 h 505330"/>
              <a:gd name="connsiteX184" fmla="*/ 2730110 w 5487431"/>
              <a:gd name="connsiteY184" fmla="*/ 454864 h 505330"/>
              <a:gd name="connsiteX185" fmla="*/ 2883575 w 5487431"/>
              <a:gd name="connsiteY185" fmla="*/ 369936 h 505330"/>
              <a:gd name="connsiteX186" fmla="*/ 2746856 w 5487431"/>
              <a:gd name="connsiteY186" fmla="*/ 220794 h 505330"/>
              <a:gd name="connsiteX187" fmla="*/ 2814502 w 5487431"/>
              <a:gd name="connsiteY187" fmla="*/ 207706 h 505330"/>
              <a:gd name="connsiteX188" fmla="*/ 2905838 w 5487431"/>
              <a:gd name="connsiteY188" fmla="*/ 296118 h 505330"/>
              <a:gd name="connsiteX189" fmla="*/ 2883575 w 5487431"/>
              <a:gd name="connsiteY189" fmla="*/ 369936 h 505330"/>
              <a:gd name="connsiteX190" fmla="*/ 2728017 w 5487431"/>
              <a:gd name="connsiteY190" fmla="*/ 200833 h 505330"/>
              <a:gd name="connsiteX191" fmla="*/ 2698047 w 5487431"/>
              <a:gd name="connsiteY191" fmla="*/ 167690 h 505330"/>
              <a:gd name="connsiteX192" fmla="*/ 2663891 w 5487431"/>
              <a:gd name="connsiteY192" fmla="*/ 99334 h 505330"/>
              <a:gd name="connsiteX193" fmla="*/ 2730110 w 5487431"/>
              <a:gd name="connsiteY193" fmla="*/ 36532 h 505330"/>
              <a:gd name="connsiteX194" fmla="*/ 2795664 w 5487431"/>
              <a:gd name="connsiteY194" fmla="*/ 102817 h 505330"/>
              <a:gd name="connsiteX195" fmla="*/ 2728017 w 5487431"/>
              <a:gd name="connsiteY195" fmla="*/ 200833 h 505330"/>
              <a:gd name="connsiteX196" fmla="*/ 2732204 w 5487431"/>
              <a:gd name="connsiteY196" fmla="*/ 0 h 505330"/>
              <a:gd name="connsiteX197" fmla="*/ 2588539 w 5487431"/>
              <a:gd name="connsiteY197" fmla="*/ 119389 h 505330"/>
              <a:gd name="connsiteX198" fmla="*/ 2644387 w 5487431"/>
              <a:gd name="connsiteY198" fmla="*/ 234635 h 505330"/>
              <a:gd name="connsiteX199" fmla="*/ 2645053 w 5487431"/>
              <a:gd name="connsiteY199" fmla="*/ 236047 h 505330"/>
              <a:gd name="connsiteX200" fmla="*/ 2545344 w 5487431"/>
              <a:gd name="connsiteY200" fmla="*/ 374832 h 505330"/>
              <a:gd name="connsiteX201" fmla="*/ 2685584 w 5487431"/>
              <a:gd name="connsiteY201" fmla="*/ 505331 h 505330"/>
              <a:gd name="connsiteX202" fmla="*/ 2843235 w 5487431"/>
              <a:gd name="connsiteY202" fmla="*/ 449403 h 505330"/>
              <a:gd name="connsiteX203" fmla="*/ 2885097 w 5487431"/>
              <a:gd name="connsiteY203" fmla="*/ 494315 h 505330"/>
              <a:gd name="connsiteX204" fmla="*/ 2994606 w 5487431"/>
              <a:gd name="connsiteY204" fmla="*/ 494315 h 505330"/>
              <a:gd name="connsiteX205" fmla="*/ 2994606 w 5487431"/>
              <a:gd name="connsiteY205" fmla="*/ 490831 h 505330"/>
              <a:gd name="connsiteX206" fmla="*/ 2905363 w 5487431"/>
              <a:gd name="connsiteY206" fmla="*/ 393474 h 505330"/>
              <a:gd name="connsiteX207" fmla="*/ 2964637 w 5487431"/>
              <a:gd name="connsiteY207" fmla="*/ 258833 h 505330"/>
              <a:gd name="connsiteX208" fmla="*/ 2873300 w 5487431"/>
              <a:gd name="connsiteY208" fmla="*/ 171174 h 505330"/>
              <a:gd name="connsiteX209" fmla="*/ 2789574 w 5487431"/>
              <a:gd name="connsiteY209" fmla="*/ 187745 h 505330"/>
              <a:gd name="connsiteX210" fmla="*/ 2788147 w 5487431"/>
              <a:gd name="connsiteY210" fmla="*/ 185015 h 505330"/>
              <a:gd name="connsiteX211" fmla="*/ 2863500 w 5487431"/>
              <a:gd name="connsiteY211" fmla="*/ 93873 h 505330"/>
              <a:gd name="connsiteX212" fmla="*/ 2732204 w 5487431"/>
              <a:gd name="connsiteY212" fmla="*/ 0 h 50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5487431" h="505330">
                <a:moveTo>
                  <a:pt x="542692" y="463149"/>
                </a:moveTo>
                <a:cubicBezTo>
                  <a:pt x="488937" y="463149"/>
                  <a:pt x="458967" y="412776"/>
                  <a:pt x="458967" y="321634"/>
                </a:cubicBezTo>
                <a:cubicBezTo>
                  <a:pt x="458967" y="229080"/>
                  <a:pt x="488937" y="180119"/>
                  <a:pt x="542692" y="180119"/>
                </a:cubicBezTo>
                <a:cubicBezTo>
                  <a:pt x="596448" y="180119"/>
                  <a:pt x="626417" y="229833"/>
                  <a:pt x="626417" y="321634"/>
                </a:cubicBezTo>
                <a:cubicBezTo>
                  <a:pt x="626322" y="414189"/>
                  <a:pt x="596352" y="463149"/>
                  <a:pt x="542692" y="463149"/>
                </a:cubicBezTo>
                <a:moveTo>
                  <a:pt x="542692" y="142174"/>
                </a:moveTo>
                <a:cubicBezTo>
                  <a:pt x="433183" y="142174"/>
                  <a:pt x="372482" y="222959"/>
                  <a:pt x="372482" y="321634"/>
                </a:cubicBezTo>
                <a:cubicBezTo>
                  <a:pt x="372482" y="420309"/>
                  <a:pt x="433183" y="501094"/>
                  <a:pt x="542692" y="501094"/>
                </a:cubicBezTo>
                <a:cubicBezTo>
                  <a:pt x="652201" y="501094"/>
                  <a:pt x="712902" y="420309"/>
                  <a:pt x="712902" y="321634"/>
                </a:cubicBezTo>
                <a:cubicBezTo>
                  <a:pt x="712902" y="222959"/>
                  <a:pt x="652201" y="142174"/>
                  <a:pt x="542692" y="142174"/>
                </a:cubicBezTo>
                <a:moveTo>
                  <a:pt x="1303641" y="142174"/>
                </a:moveTo>
                <a:cubicBezTo>
                  <a:pt x="1251979" y="142174"/>
                  <a:pt x="1223436" y="164301"/>
                  <a:pt x="1207357" y="192547"/>
                </a:cubicBezTo>
                <a:lnTo>
                  <a:pt x="1203170" y="192547"/>
                </a:lnTo>
                <a:lnTo>
                  <a:pt x="1203170" y="149048"/>
                </a:lnTo>
                <a:lnTo>
                  <a:pt x="1120872" y="149048"/>
                </a:lnTo>
                <a:lnTo>
                  <a:pt x="1120872" y="494221"/>
                </a:lnTo>
                <a:lnTo>
                  <a:pt x="1203170" y="494221"/>
                </a:lnTo>
                <a:lnTo>
                  <a:pt x="1203170" y="271261"/>
                </a:lnTo>
                <a:cubicBezTo>
                  <a:pt x="1203170" y="220229"/>
                  <a:pt x="1229715" y="190476"/>
                  <a:pt x="1272244" y="190476"/>
                </a:cubicBezTo>
                <a:cubicBezTo>
                  <a:pt x="1313440" y="190476"/>
                  <a:pt x="1331518" y="217404"/>
                  <a:pt x="1331518" y="258173"/>
                </a:cubicBezTo>
                <a:lnTo>
                  <a:pt x="1331518" y="494221"/>
                </a:lnTo>
                <a:lnTo>
                  <a:pt x="1413816" y="494221"/>
                </a:lnTo>
                <a:lnTo>
                  <a:pt x="1413816" y="257420"/>
                </a:lnTo>
                <a:cubicBezTo>
                  <a:pt x="1413911" y="186333"/>
                  <a:pt x="1376234" y="142174"/>
                  <a:pt x="1303641" y="142174"/>
                </a:cubicBezTo>
                <a:moveTo>
                  <a:pt x="1600771" y="142174"/>
                </a:moveTo>
                <a:cubicBezTo>
                  <a:pt x="1524752" y="142174"/>
                  <a:pt x="1467571" y="173905"/>
                  <a:pt x="1467571" y="241602"/>
                </a:cubicBezTo>
                <a:cubicBezTo>
                  <a:pt x="1467571" y="298943"/>
                  <a:pt x="1507341" y="330014"/>
                  <a:pt x="1551962" y="341030"/>
                </a:cubicBezTo>
                <a:lnTo>
                  <a:pt x="1621702" y="358260"/>
                </a:lnTo>
                <a:cubicBezTo>
                  <a:pt x="1658712" y="367205"/>
                  <a:pt x="1675457" y="380387"/>
                  <a:pt x="1675457" y="409387"/>
                </a:cubicBezTo>
                <a:cubicBezTo>
                  <a:pt x="1675457" y="444601"/>
                  <a:pt x="1650340" y="464656"/>
                  <a:pt x="1606384" y="464656"/>
                </a:cubicBezTo>
                <a:cubicBezTo>
                  <a:pt x="1558908" y="464656"/>
                  <a:pt x="1534551" y="441870"/>
                  <a:pt x="1526845" y="384624"/>
                </a:cubicBezTo>
                <a:lnTo>
                  <a:pt x="1452919" y="405338"/>
                </a:lnTo>
                <a:cubicBezTo>
                  <a:pt x="1457106" y="464750"/>
                  <a:pt x="1512954" y="501282"/>
                  <a:pt x="1597345" y="501282"/>
                </a:cubicBezTo>
                <a:cubicBezTo>
                  <a:pt x="1691536" y="501282"/>
                  <a:pt x="1742438" y="457782"/>
                  <a:pt x="1742438" y="388767"/>
                </a:cubicBezTo>
                <a:cubicBezTo>
                  <a:pt x="1742438" y="323894"/>
                  <a:pt x="1697055" y="296965"/>
                  <a:pt x="1649674" y="285196"/>
                </a:cubicBezTo>
                <a:lnTo>
                  <a:pt x="1582693" y="268625"/>
                </a:lnTo>
                <a:cubicBezTo>
                  <a:pt x="1549203" y="260339"/>
                  <a:pt x="1534551" y="245180"/>
                  <a:pt x="1534551" y="223054"/>
                </a:cubicBezTo>
                <a:cubicBezTo>
                  <a:pt x="1534551" y="195466"/>
                  <a:pt x="1558242" y="178895"/>
                  <a:pt x="1593825" y="178895"/>
                </a:cubicBezTo>
                <a:cubicBezTo>
                  <a:pt x="1635688" y="178895"/>
                  <a:pt x="1661471" y="201680"/>
                  <a:pt x="1664992" y="245180"/>
                </a:cubicBezTo>
                <a:lnTo>
                  <a:pt x="1734731" y="224466"/>
                </a:lnTo>
                <a:cubicBezTo>
                  <a:pt x="1726358" y="175976"/>
                  <a:pt x="1678216" y="142174"/>
                  <a:pt x="1600771" y="142174"/>
                </a:cubicBezTo>
                <a:moveTo>
                  <a:pt x="1946803" y="463149"/>
                </a:moveTo>
                <a:cubicBezTo>
                  <a:pt x="1893048" y="463149"/>
                  <a:pt x="1863078" y="412776"/>
                  <a:pt x="1863078" y="321634"/>
                </a:cubicBezTo>
                <a:cubicBezTo>
                  <a:pt x="1863078" y="229080"/>
                  <a:pt x="1893048" y="180119"/>
                  <a:pt x="1946803" y="180119"/>
                </a:cubicBezTo>
                <a:cubicBezTo>
                  <a:pt x="2000559" y="180119"/>
                  <a:pt x="2030529" y="229833"/>
                  <a:pt x="2030529" y="321634"/>
                </a:cubicBezTo>
                <a:cubicBezTo>
                  <a:pt x="2030529" y="414189"/>
                  <a:pt x="2000464" y="463149"/>
                  <a:pt x="1946803" y="463149"/>
                </a:cubicBezTo>
                <a:moveTo>
                  <a:pt x="1946803" y="142174"/>
                </a:moveTo>
                <a:cubicBezTo>
                  <a:pt x="1837294" y="142174"/>
                  <a:pt x="1776594" y="222959"/>
                  <a:pt x="1776594" y="321634"/>
                </a:cubicBezTo>
                <a:cubicBezTo>
                  <a:pt x="1776594" y="420309"/>
                  <a:pt x="1837294" y="501094"/>
                  <a:pt x="1946803" y="501094"/>
                </a:cubicBezTo>
                <a:cubicBezTo>
                  <a:pt x="2056312" y="501094"/>
                  <a:pt x="2117013" y="420309"/>
                  <a:pt x="2117013" y="321634"/>
                </a:cubicBezTo>
                <a:cubicBezTo>
                  <a:pt x="2117013" y="222959"/>
                  <a:pt x="2056312" y="142174"/>
                  <a:pt x="1946803" y="142174"/>
                </a:cubicBezTo>
                <a:moveTo>
                  <a:pt x="2348590" y="142174"/>
                </a:moveTo>
                <a:cubicBezTo>
                  <a:pt x="2296927" y="142174"/>
                  <a:pt x="2268385" y="164301"/>
                  <a:pt x="2252306" y="192547"/>
                </a:cubicBezTo>
                <a:lnTo>
                  <a:pt x="2248119" y="192547"/>
                </a:lnTo>
                <a:lnTo>
                  <a:pt x="2248119" y="149048"/>
                </a:lnTo>
                <a:lnTo>
                  <a:pt x="2165821" y="149048"/>
                </a:lnTo>
                <a:lnTo>
                  <a:pt x="2165821" y="494221"/>
                </a:lnTo>
                <a:lnTo>
                  <a:pt x="2248119" y="494221"/>
                </a:lnTo>
                <a:lnTo>
                  <a:pt x="2248119" y="271261"/>
                </a:lnTo>
                <a:cubicBezTo>
                  <a:pt x="2248119" y="220229"/>
                  <a:pt x="2274664" y="190476"/>
                  <a:pt x="2317193" y="190476"/>
                </a:cubicBezTo>
                <a:cubicBezTo>
                  <a:pt x="2358389" y="190476"/>
                  <a:pt x="2376466" y="217404"/>
                  <a:pt x="2376466" y="258173"/>
                </a:cubicBezTo>
                <a:lnTo>
                  <a:pt x="2376466" y="494221"/>
                </a:lnTo>
                <a:lnTo>
                  <a:pt x="2458764" y="494221"/>
                </a:lnTo>
                <a:lnTo>
                  <a:pt x="2458764" y="257420"/>
                </a:lnTo>
                <a:cubicBezTo>
                  <a:pt x="2458764" y="186333"/>
                  <a:pt x="2421088" y="142174"/>
                  <a:pt x="2348590" y="142174"/>
                </a:cubicBezTo>
                <a:moveTo>
                  <a:pt x="3571359" y="463149"/>
                </a:moveTo>
                <a:cubicBezTo>
                  <a:pt x="3517604" y="463149"/>
                  <a:pt x="3487634" y="412776"/>
                  <a:pt x="3487634" y="321634"/>
                </a:cubicBezTo>
                <a:cubicBezTo>
                  <a:pt x="3487634" y="229080"/>
                  <a:pt x="3517604" y="180119"/>
                  <a:pt x="3571359" y="180119"/>
                </a:cubicBezTo>
                <a:cubicBezTo>
                  <a:pt x="3625115" y="180119"/>
                  <a:pt x="3655085" y="229833"/>
                  <a:pt x="3655085" y="321634"/>
                </a:cubicBezTo>
                <a:cubicBezTo>
                  <a:pt x="3655085" y="414189"/>
                  <a:pt x="3625020" y="463149"/>
                  <a:pt x="3571359" y="463149"/>
                </a:cubicBezTo>
                <a:moveTo>
                  <a:pt x="3571359" y="142174"/>
                </a:moveTo>
                <a:cubicBezTo>
                  <a:pt x="3461850" y="142174"/>
                  <a:pt x="3401150" y="222959"/>
                  <a:pt x="3401150" y="321634"/>
                </a:cubicBezTo>
                <a:cubicBezTo>
                  <a:pt x="3401150" y="420309"/>
                  <a:pt x="3461850" y="501094"/>
                  <a:pt x="3571359" y="501094"/>
                </a:cubicBezTo>
                <a:cubicBezTo>
                  <a:pt x="3680868" y="501094"/>
                  <a:pt x="3741569" y="420309"/>
                  <a:pt x="3741569" y="321634"/>
                </a:cubicBezTo>
                <a:cubicBezTo>
                  <a:pt x="3741569" y="222959"/>
                  <a:pt x="3680868" y="142174"/>
                  <a:pt x="3571359" y="142174"/>
                </a:cubicBezTo>
                <a:moveTo>
                  <a:pt x="4332308" y="142174"/>
                </a:moveTo>
                <a:cubicBezTo>
                  <a:pt x="4280646" y="142174"/>
                  <a:pt x="4252103" y="164301"/>
                  <a:pt x="4236024" y="192547"/>
                </a:cubicBezTo>
                <a:lnTo>
                  <a:pt x="4231838" y="192547"/>
                </a:lnTo>
                <a:lnTo>
                  <a:pt x="4231838" y="149048"/>
                </a:lnTo>
                <a:lnTo>
                  <a:pt x="4149539" y="149048"/>
                </a:lnTo>
                <a:lnTo>
                  <a:pt x="4149539" y="494221"/>
                </a:lnTo>
                <a:lnTo>
                  <a:pt x="4231838" y="494221"/>
                </a:lnTo>
                <a:lnTo>
                  <a:pt x="4231838" y="271261"/>
                </a:lnTo>
                <a:cubicBezTo>
                  <a:pt x="4231838" y="220229"/>
                  <a:pt x="4258383" y="190476"/>
                  <a:pt x="4300911" y="190476"/>
                </a:cubicBezTo>
                <a:cubicBezTo>
                  <a:pt x="4342108" y="190476"/>
                  <a:pt x="4360185" y="217404"/>
                  <a:pt x="4360185" y="258173"/>
                </a:cubicBezTo>
                <a:lnTo>
                  <a:pt x="4360185" y="494221"/>
                </a:lnTo>
                <a:lnTo>
                  <a:pt x="4442483" y="494221"/>
                </a:lnTo>
                <a:lnTo>
                  <a:pt x="4442483" y="257420"/>
                </a:lnTo>
                <a:cubicBezTo>
                  <a:pt x="4442578" y="186333"/>
                  <a:pt x="4404902" y="142174"/>
                  <a:pt x="4332308" y="142174"/>
                </a:cubicBezTo>
                <a:moveTo>
                  <a:pt x="4629533" y="142174"/>
                </a:moveTo>
                <a:cubicBezTo>
                  <a:pt x="4553514" y="142174"/>
                  <a:pt x="4496334" y="173905"/>
                  <a:pt x="4496334" y="241602"/>
                </a:cubicBezTo>
                <a:cubicBezTo>
                  <a:pt x="4496334" y="298943"/>
                  <a:pt x="4536103" y="330014"/>
                  <a:pt x="4580725" y="341030"/>
                </a:cubicBezTo>
                <a:lnTo>
                  <a:pt x="4650464" y="358260"/>
                </a:lnTo>
                <a:cubicBezTo>
                  <a:pt x="4687475" y="367205"/>
                  <a:pt x="4704220" y="380387"/>
                  <a:pt x="4704220" y="409387"/>
                </a:cubicBezTo>
                <a:cubicBezTo>
                  <a:pt x="4704220" y="444601"/>
                  <a:pt x="4679102" y="464656"/>
                  <a:pt x="4635146" y="464656"/>
                </a:cubicBezTo>
                <a:cubicBezTo>
                  <a:pt x="4587670" y="464656"/>
                  <a:pt x="4563314" y="441870"/>
                  <a:pt x="4555607" y="384624"/>
                </a:cubicBezTo>
                <a:lnTo>
                  <a:pt x="4481682" y="405338"/>
                </a:lnTo>
                <a:cubicBezTo>
                  <a:pt x="4485868" y="464750"/>
                  <a:pt x="4541716" y="501282"/>
                  <a:pt x="4626108" y="501282"/>
                </a:cubicBezTo>
                <a:cubicBezTo>
                  <a:pt x="4720299" y="501282"/>
                  <a:pt x="4771200" y="457782"/>
                  <a:pt x="4771200" y="388767"/>
                </a:cubicBezTo>
                <a:cubicBezTo>
                  <a:pt x="4771200" y="323894"/>
                  <a:pt x="4725817" y="296965"/>
                  <a:pt x="4678436" y="285196"/>
                </a:cubicBezTo>
                <a:lnTo>
                  <a:pt x="4611456" y="268625"/>
                </a:lnTo>
                <a:cubicBezTo>
                  <a:pt x="4577966" y="260339"/>
                  <a:pt x="4563314" y="245180"/>
                  <a:pt x="4563314" y="223054"/>
                </a:cubicBezTo>
                <a:cubicBezTo>
                  <a:pt x="4563314" y="195466"/>
                  <a:pt x="4587004" y="178895"/>
                  <a:pt x="4622588" y="178895"/>
                </a:cubicBezTo>
                <a:cubicBezTo>
                  <a:pt x="4664450" y="178895"/>
                  <a:pt x="4690234" y="201680"/>
                  <a:pt x="4693754" y="245180"/>
                </a:cubicBezTo>
                <a:lnTo>
                  <a:pt x="4763493" y="224466"/>
                </a:lnTo>
                <a:cubicBezTo>
                  <a:pt x="4755026" y="175976"/>
                  <a:pt x="4706884" y="142174"/>
                  <a:pt x="4629533" y="142174"/>
                </a:cubicBezTo>
                <a:moveTo>
                  <a:pt x="4975471" y="463149"/>
                </a:moveTo>
                <a:cubicBezTo>
                  <a:pt x="4921715" y="463149"/>
                  <a:pt x="4891745" y="412776"/>
                  <a:pt x="4891745" y="321634"/>
                </a:cubicBezTo>
                <a:cubicBezTo>
                  <a:pt x="4891745" y="229080"/>
                  <a:pt x="4921715" y="180119"/>
                  <a:pt x="4975471" y="180119"/>
                </a:cubicBezTo>
                <a:cubicBezTo>
                  <a:pt x="5029226" y="180119"/>
                  <a:pt x="5059196" y="229833"/>
                  <a:pt x="5059196" y="321634"/>
                </a:cubicBezTo>
                <a:cubicBezTo>
                  <a:pt x="5059196" y="414189"/>
                  <a:pt x="5029131" y="463149"/>
                  <a:pt x="4975471" y="463149"/>
                </a:cubicBezTo>
                <a:moveTo>
                  <a:pt x="4975471" y="142174"/>
                </a:moveTo>
                <a:cubicBezTo>
                  <a:pt x="4865962" y="142174"/>
                  <a:pt x="4805261" y="222959"/>
                  <a:pt x="4805261" y="321634"/>
                </a:cubicBezTo>
                <a:cubicBezTo>
                  <a:pt x="4805261" y="420309"/>
                  <a:pt x="4865962" y="501094"/>
                  <a:pt x="4975471" y="501094"/>
                </a:cubicBezTo>
                <a:cubicBezTo>
                  <a:pt x="5084980" y="501094"/>
                  <a:pt x="5145680" y="420309"/>
                  <a:pt x="5145680" y="321634"/>
                </a:cubicBezTo>
                <a:cubicBezTo>
                  <a:pt x="5145680" y="222959"/>
                  <a:pt x="5084980" y="142174"/>
                  <a:pt x="4975471" y="142174"/>
                </a:cubicBezTo>
                <a:moveTo>
                  <a:pt x="5377257" y="142174"/>
                </a:moveTo>
                <a:cubicBezTo>
                  <a:pt x="5325595" y="142174"/>
                  <a:pt x="5297052" y="164301"/>
                  <a:pt x="5280973" y="192547"/>
                </a:cubicBezTo>
                <a:lnTo>
                  <a:pt x="5276787" y="192547"/>
                </a:lnTo>
                <a:lnTo>
                  <a:pt x="5276787" y="149048"/>
                </a:lnTo>
                <a:lnTo>
                  <a:pt x="5194488" y="149048"/>
                </a:lnTo>
                <a:lnTo>
                  <a:pt x="5194488" y="494221"/>
                </a:lnTo>
                <a:lnTo>
                  <a:pt x="5276787" y="494221"/>
                </a:lnTo>
                <a:lnTo>
                  <a:pt x="5276787" y="271261"/>
                </a:lnTo>
                <a:cubicBezTo>
                  <a:pt x="5276787" y="220229"/>
                  <a:pt x="5303331" y="190476"/>
                  <a:pt x="5345860" y="190476"/>
                </a:cubicBezTo>
                <a:cubicBezTo>
                  <a:pt x="5387057" y="190476"/>
                  <a:pt x="5405134" y="217404"/>
                  <a:pt x="5405134" y="258173"/>
                </a:cubicBezTo>
                <a:lnTo>
                  <a:pt x="5405134" y="494221"/>
                </a:lnTo>
                <a:lnTo>
                  <a:pt x="5487432" y="494221"/>
                </a:lnTo>
                <a:lnTo>
                  <a:pt x="5487432" y="257420"/>
                </a:lnTo>
                <a:cubicBezTo>
                  <a:pt x="5487432" y="186333"/>
                  <a:pt x="5449755" y="142174"/>
                  <a:pt x="5377257" y="142174"/>
                </a:cubicBezTo>
                <a:moveTo>
                  <a:pt x="323674" y="11016"/>
                </a:moveTo>
                <a:lnTo>
                  <a:pt x="237190" y="11016"/>
                </a:lnTo>
                <a:lnTo>
                  <a:pt x="237190" y="367864"/>
                </a:lnTo>
                <a:cubicBezTo>
                  <a:pt x="237190" y="425864"/>
                  <a:pt x="214831" y="460325"/>
                  <a:pt x="161837" y="460325"/>
                </a:cubicBezTo>
                <a:cubicBezTo>
                  <a:pt x="109509" y="460325"/>
                  <a:pt x="86484" y="423698"/>
                  <a:pt x="86484" y="360897"/>
                </a:cubicBezTo>
                <a:lnTo>
                  <a:pt x="86484" y="294612"/>
                </a:lnTo>
                <a:lnTo>
                  <a:pt x="0" y="315985"/>
                </a:lnTo>
                <a:lnTo>
                  <a:pt x="0" y="345644"/>
                </a:lnTo>
                <a:cubicBezTo>
                  <a:pt x="0" y="436033"/>
                  <a:pt x="45383" y="505143"/>
                  <a:pt x="161837" y="505143"/>
                </a:cubicBezTo>
                <a:cubicBezTo>
                  <a:pt x="278291" y="505143"/>
                  <a:pt x="323674" y="436127"/>
                  <a:pt x="323674" y="345644"/>
                </a:cubicBezTo>
                <a:lnTo>
                  <a:pt x="323674" y="11016"/>
                </a:lnTo>
                <a:moveTo>
                  <a:pt x="844008" y="11016"/>
                </a:moveTo>
                <a:lnTo>
                  <a:pt x="761710" y="11016"/>
                </a:lnTo>
                <a:lnTo>
                  <a:pt x="761710" y="494221"/>
                </a:lnTo>
                <a:lnTo>
                  <a:pt x="844008" y="494221"/>
                </a:lnTo>
                <a:lnTo>
                  <a:pt x="844008" y="271261"/>
                </a:lnTo>
                <a:cubicBezTo>
                  <a:pt x="844008" y="220229"/>
                  <a:pt x="870553" y="190476"/>
                  <a:pt x="913081" y="190476"/>
                </a:cubicBezTo>
                <a:cubicBezTo>
                  <a:pt x="954278" y="190476"/>
                  <a:pt x="972355" y="217404"/>
                  <a:pt x="972355" y="258173"/>
                </a:cubicBezTo>
                <a:lnTo>
                  <a:pt x="972355" y="494221"/>
                </a:lnTo>
                <a:lnTo>
                  <a:pt x="1054653" y="494221"/>
                </a:lnTo>
                <a:lnTo>
                  <a:pt x="1054653" y="257420"/>
                </a:lnTo>
                <a:cubicBezTo>
                  <a:pt x="1054653" y="186333"/>
                  <a:pt x="1016977" y="142174"/>
                  <a:pt x="944478" y="142174"/>
                </a:cubicBezTo>
                <a:cubicBezTo>
                  <a:pt x="892816" y="142174"/>
                  <a:pt x="864273" y="164301"/>
                  <a:pt x="848194" y="192547"/>
                </a:cubicBezTo>
                <a:lnTo>
                  <a:pt x="844008" y="192547"/>
                </a:lnTo>
                <a:lnTo>
                  <a:pt x="844008" y="11016"/>
                </a:lnTo>
                <a:moveTo>
                  <a:pt x="3352342" y="11016"/>
                </a:moveTo>
                <a:lnTo>
                  <a:pt x="3265857" y="11016"/>
                </a:lnTo>
                <a:lnTo>
                  <a:pt x="3265857" y="367864"/>
                </a:lnTo>
                <a:cubicBezTo>
                  <a:pt x="3265857" y="425864"/>
                  <a:pt x="3243499" y="460325"/>
                  <a:pt x="3190504" y="460325"/>
                </a:cubicBezTo>
                <a:cubicBezTo>
                  <a:pt x="3138176" y="460325"/>
                  <a:pt x="3115152" y="423698"/>
                  <a:pt x="3115152" y="360897"/>
                </a:cubicBezTo>
                <a:lnTo>
                  <a:pt x="3115152" y="294612"/>
                </a:lnTo>
                <a:lnTo>
                  <a:pt x="3028667" y="315985"/>
                </a:lnTo>
                <a:lnTo>
                  <a:pt x="3028667" y="345644"/>
                </a:lnTo>
                <a:cubicBezTo>
                  <a:pt x="3028667" y="436033"/>
                  <a:pt x="3074050" y="505143"/>
                  <a:pt x="3190504" y="505143"/>
                </a:cubicBezTo>
                <a:cubicBezTo>
                  <a:pt x="3306959" y="505143"/>
                  <a:pt x="3352342" y="436127"/>
                  <a:pt x="3352342" y="345644"/>
                </a:cubicBezTo>
                <a:lnTo>
                  <a:pt x="3352342" y="11016"/>
                </a:lnTo>
                <a:moveTo>
                  <a:pt x="3872675" y="11016"/>
                </a:moveTo>
                <a:lnTo>
                  <a:pt x="3790377" y="11016"/>
                </a:lnTo>
                <a:lnTo>
                  <a:pt x="3790377" y="494221"/>
                </a:lnTo>
                <a:lnTo>
                  <a:pt x="3872675" y="494221"/>
                </a:lnTo>
                <a:lnTo>
                  <a:pt x="3872675" y="271261"/>
                </a:lnTo>
                <a:cubicBezTo>
                  <a:pt x="3872675" y="220229"/>
                  <a:pt x="3899220" y="190476"/>
                  <a:pt x="3941749" y="190476"/>
                </a:cubicBezTo>
                <a:cubicBezTo>
                  <a:pt x="3982945" y="190476"/>
                  <a:pt x="4001022" y="217404"/>
                  <a:pt x="4001022" y="258173"/>
                </a:cubicBezTo>
                <a:lnTo>
                  <a:pt x="4001022" y="494221"/>
                </a:lnTo>
                <a:lnTo>
                  <a:pt x="4083320" y="494221"/>
                </a:lnTo>
                <a:lnTo>
                  <a:pt x="4083320" y="257420"/>
                </a:lnTo>
                <a:cubicBezTo>
                  <a:pt x="4083320" y="186333"/>
                  <a:pt x="4045644" y="142174"/>
                  <a:pt x="3973146" y="142174"/>
                </a:cubicBezTo>
                <a:cubicBezTo>
                  <a:pt x="3921483" y="142174"/>
                  <a:pt x="3892941" y="164301"/>
                  <a:pt x="3876861" y="192547"/>
                </a:cubicBezTo>
                <a:lnTo>
                  <a:pt x="3872675" y="192547"/>
                </a:lnTo>
                <a:lnTo>
                  <a:pt x="3872675" y="11016"/>
                </a:lnTo>
                <a:moveTo>
                  <a:pt x="2730110" y="454864"/>
                </a:moveTo>
                <a:cubicBezTo>
                  <a:pt x="2663130" y="454864"/>
                  <a:pt x="2622029" y="401007"/>
                  <a:pt x="2622029" y="343761"/>
                </a:cubicBezTo>
                <a:cubicBezTo>
                  <a:pt x="2622029" y="307887"/>
                  <a:pt x="2638108" y="274745"/>
                  <a:pt x="2664557" y="256102"/>
                </a:cubicBezTo>
                <a:lnTo>
                  <a:pt x="2822208" y="426617"/>
                </a:lnTo>
                <a:cubicBezTo>
                  <a:pt x="2792904" y="443848"/>
                  <a:pt x="2760080" y="454864"/>
                  <a:pt x="2730110" y="454864"/>
                </a:cubicBezTo>
                <a:moveTo>
                  <a:pt x="2883575" y="369936"/>
                </a:moveTo>
                <a:lnTo>
                  <a:pt x="2746856" y="220794"/>
                </a:lnTo>
                <a:cubicBezTo>
                  <a:pt x="2771307" y="211096"/>
                  <a:pt x="2794998" y="207706"/>
                  <a:pt x="2814502" y="207706"/>
                </a:cubicBezTo>
                <a:cubicBezTo>
                  <a:pt x="2871016" y="207706"/>
                  <a:pt x="2905838" y="240190"/>
                  <a:pt x="2905838" y="296118"/>
                </a:cubicBezTo>
                <a:cubicBezTo>
                  <a:pt x="2905934" y="320975"/>
                  <a:pt x="2898893" y="346491"/>
                  <a:pt x="2883575" y="369936"/>
                </a:cubicBezTo>
                <a:moveTo>
                  <a:pt x="2728017" y="200833"/>
                </a:moveTo>
                <a:lnTo>
                  <a:pt x="2698047" y="167690"/>
                </a:lnTo>
                <a:cubicBezTo>
                  <a:pt x="2671503" y="138691"/>
                  <a:pt x="2663891" y="120707"/>
                  <a:pt x="2663891" y="99334"/>
                </a:cubicBezTo>
                <a:cubicBezTo>
                  <a:pt x="2663891" y="59318"/>
                  <a:pt x="2689675" y="36532"/>
                  <a:pt x="2730110" y="36532"/>
                </a:cubicBezTo>
                <a:cubicBezTo>
                  <a:pt x="2771307" y="36532"/>
                  <a:pt x="2795664" y="59977"/>
                  <a:pt x="2795664" y="102817"/>
                </a:cubicBezTo>
                <a:cubicBezTo>
                  <a:pt x="2795664" y="142174"/>
                  <a:pt x="2776159" y="179460"/>
                  <a:pt x="2728017" y="200833"/>
                </a:cubicBezTo>
                <a:moveTo>
                  <a:pt x="2732204" y="0"/>
                </a:moveTo>
                <a:cubicBezTo>
                  <a:pt x="2635920" y="0"/>
                  <a:pt x="2588539" y="53198"/>
                  <a:pt x="2588539" y="119389"/>
                </a:cubicBezTo>
                <a:cubicBezTo>
                  <a:pt x="2588539" y="155262"/>
                  <a:pt x="2603857" y="191229"/>
                  <a:pt x="2644387" y="234635"/>
                </a:cubicBezTo>
                <a:lnTo>
                  <a:pt x="2645053" y="236047"/>
                </a:lnTo>
                <a:cubicBezTo>
                  <a:pt x="2576741" y="268531"/>
                  <a:pt x="2545344" y="320975"/>
                  <a:pt x="2545344" y="374832"/>
                </a:cubicBezTo>
                <a:cubicBezTo>
                  <a:pt x="2545344" y="445919"/>
                  <a:pt x="2600432" y="505331"/>
                  <a:pt x="2685584" y="505331"/>
                </a:cubicBezTo>
                <a:cubicBezTo>
                  <a:pt x="2734392" y="505331"/>
                  <a:pt x="2791573" y="485276"/>
                  <a:pt x="2843235" y="449403"/>
                </a:cubicBezTo>
                <a:lnTo>
                  <a:pt x="2885097" y="494315"/>
                </a:lnTo>
                <a:lnTo>
                  <a:pt x="2994606" y="494315"/>
                </a:lnTo>
                <a:lnTo>
                  <a:pt x="2994606" y="490831"/>
                </a:lnTo>
                <a:lnTo>
                  <a:pt x="2905363" y="393474"/>
                </a:lnTo>
                <a:cubicBezTo>
                  <a:pt x="2943039" y="349316"/>
                  <a:pt x="2964637" y="301014"/>
                  <a:pt x="2964637" y="258833"/>
                </a:cubicBezTo>
                <a:cubicBezTo>
                  <a:pt x="2964637" y="206388"/>
                  <a:pt x="2929053" y="171174"/>
                  <a:pt x="2873300" y="171174"/>
                </a:cubicBezTo>
                <a:cubicBezTo>
                  <a:pt x="2843996" y="171174"/>
                  <a:pt x="2811172" y="179460"/>
                  <a:pt x="2789574" y="187745"/>
                </a:cubicBezTo>
                <a:lnTo>
                  <a:pt x="2788147" y="185015"/>
                </a:lnTo>
                <a:cubicBezTo>
                  <a:pt x="2841142" y="156674"/>
                  <a:pt x="2863500" y="130499"/>
                  <a:pt x="2863500" y="93873"/>
                </a:cubicBezTo>
                <a:cubicBezTo>
                  <a:pt x="2863310" y="41428"/>
                  <a:pt x="2815929" y="0"/>
                  <a:pt x="2732204" y="0"/>
                </a:cubicBezTo>
              </a:path>
            </a:pathLst>
          </a:custGeom>
          <a:solidFill>
            <a:schemeClr val="tx2"/>
          </a:solidFill>
          <a:ln w="9509" cap="flat">
            <a:noFill/>
            <a:prstDash val="solid"/>
            <a:miter/>
          </a:ln>
        </p:spPr>
        <p:txBody>
          <a:bodyPr rtlCol="0" anchor="ctr"/>
          <a:lstStyle/>
          <a:p>
            <a:endParaRPr lang="en-GB"/>
          </a:p>
        </p:txBody>
      </p:sp>
      <p:sp>
        <p:nvSpPr>
          <p:cNvPr id="2" name="Footer Placeholder 4">
            <a:extLst>
              <a:ext uri="{FF2B5EF4-FFF2-40B4-BE49-F238E27FC236}">
                <a16:creationId xmlns:a16="http://schemas.microsoft.com/office/drawing/2014/main" id="{0534C7B0-DBDA-6247-27A0-B6AF8DC6EBAA}"/>
              </a:ext>
            </a:extLst>
          </p:cNvPr>
          <p:cNvSpPr txBox="1">
            <a:spLocks/>
          </p:cNvSpPr>
          <p:nvPr userDrawn="1"/>
        </p:nvSpPr>
        <p:spPr>
          <a:xfrm>
            <a:off x="9772073" y="6424023"/>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0" i="0" kern="1200">
                <a:solidFill>
                  <a:schemeClr val="tx1"/>
                </a:solidFill>
                <a:latin typeface="+mn-lt"/>
                <a:ea typeface="+mn-ea"/>
                <a:cs typeface="+mn-cs"/>
              </a:rPr>
              <a:t>HEALTH CARE COMPLIANCE</a:t>
            </a:r>
          </a:p>
        </p:txBody>
      </p:sp>
    </p:spTree>
    <p:extLst>
      <p:ext uri="{BB962C8B-B14F-4D97-AF65-F5344CB8AC3E}">
        <p14:creationId xmlns:p14="http://schemas.microsoft.com/office/powerpoint/2010/main" val="23287243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Images and Text">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FD914B4A-06B9-EB7A-743E-14A6560485EF}"/>
              </a:ext>
            </a:extLst>
          </p:cNvPr>
          <p:cNvSpPr>
            <a:spLocks noGrp="1"/>
          </p:cNvSpPr>
          <p:nvPr>
            <p:ph type="title"/>
          </p:nvPr>
        </p:nvSpPr>
        <p:spPr>
          <a:xfrm>
            <a:off x="288303" y="262267"/>
            <a:ext cx="6713538" cy="457818"/>
          </a:xfrm>
        </p:spPr>
        <p:txBody>
          <a:bodyPr/>
          <a:lstStyle/>
          <a:p>
            <a:r>
              <a:rPr lang="en-US"/>
              <a:t>Click to edit Master title style</a:t>
            </a:r>
            <a:endParaRPr lang="en-GB"/>
          </a:p>
        </p:txBody>
      </p:sp>
      <p:sp>
        <p:nvSpPr>
          <p:cNvPr id="4" name="Picture Placeholder 3">
            <a:extLst>
              <a:ext uri="{FF2B5EF4-FFF2-40B4-BE49-F238E27FC236}">
                <a16:creationId xmlns:a16="http://schemas.microsoft.com/office/drawing/2014/main" id="{A2903A13-6903-3CAB-953B-86997724B440}"/>
              </a:ext>
            </a:extLst>
          </p:cNvPr>
          <p:cNvSpPr>
            <a:spLocks noGrp="1"/>
          </p:cNvSpPr>
          <p:nvPr>
            <p:ph type="pic" sz="quarter" idx="15" hasCustomPrompt="1"/>
          </p:nvPr>
        </p:nvSpPr>
        <p:spPr>
          <a:xfrm>
            <a:off x="292099" y="1306514"/>
            <a:ext cx="3770314" cy="1908174"/>
          </a:xfrm>
          <a:solidFill>
            <a:srgbClr val="F6F3F2"/>
          </a:solidFill>
        </p:spPr>
        <p:txBody>
          <a:bodyPr vert="horz" lIns="0" tIns="0" rIns="0" bIns="0" rtlCol="0">
            <a:noAutofit/>
          </a:bodyPr>
          <a:lstStyle>
            <a:lvl1pPr>
              <a:defRPr lang="en-GB" dirty="0">
                <a:solidFill>
                  <a:schemeClr val="tx1"/>
                </a:solidFill>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0" name="Picture Placeholder 3">
            <a:extLst>
              <a:ext uri="{FF2B5EF4-FFF2-40B4-BE49-F238E27FC236}">
                <a16:creationId xmlns:a16="http://schemas.microsoft.com/office/drawing/2014/main" id="{1B5E5492-00A8-B509-4464-956D8959E92C}"/>
              </a:ext>
            </a:extLst>
          </p:cNvPr>
          <p:cNvSpPr>
            <a:spLocks noGrp="1"/>
          </p:cNvSpPr>
          <p:nvPr>
            <p:ph type="pic" sz="quarter" idx="16" hasCustomPrompt="1"/>
          </p:nvPr>
        </p:nvSpPr>
        <p:spPr>
          <a:xfrm>
            <a:off x="4206876" y="1306514"/>
            <a:ext cx="3775076" cy="1908174"/>
          </a:xfrm>
          <a:solidFill>
            <a:srgbClr val="F6F3F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1" name="Picture Placeholder 3">
            <a:extLst>
              <a:ext uri="{FF2B5EF4-FFF2-40B4-BE49-F238E27FC236}">
                <a16:creationId xmlns:a16="http://schemas.microsoft.com/office/drawing/2014/main" id="{5230A832-8B14-0097-7902-DB48A4A889E3}"/>
              </a:ext>
            </a:extLst>
          </p:cNvPr>
          <p:cNvSpPr>
            <a:spLocks noGrp="1"/>
          </p:cNvSpPr>
          <p:nvPr>
            <p:ph type="pic" sz="quarter" idx="17" hasCustomPrompt="1"/>
          </p:nvPr>
        </p:nvSpPr>
        <p:spPr>
          <a:xfrm>
            <a:off x="8124824" y="1306514"/>
            <a:ext cx="3775075" cy="1908174"/>
          </a:xfrm>
          <a:solidFill>
            <a:srgbClr val="F6F3F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3" name="Text Placeholder 7">
            <a:extLst>
              <a:ext uri="{FF2B5EF4-FFF2-40B4-BE49-F238E27FC236}">
                <a16:creationId xmlns:a16="http://schemas.microsoft.com/office/drawing/2014/main" id="{8C00D127-E34B-E7AD-7F27-D3CB55135083}"/>
              </a:ext>
            </a:extLst>
          </p:cNvPr>
          <p:cNvSpPr>
            <a:spLocks noGrp="1"/>
          </p:cNvSpPr>
          <p:nvPr>
            <p:ph type="body" sz="quarter" idx="18"/>
          </p:nvPr>
        </p:nvSpPr>
        <p:spPr>
          <a:xfrm>
            <a:off x="8124205" y="295200"/>
            <a:ext cx="3778870" cy="876375"/>
          </a:xfrm>
        </p:spPr>
        <p:txBody>
          <a:bodyPr/>
          <a:lstStyle>
            <a:lvl1pPr>
              <a:defRPr sz="1400"/>
            </a:lvl1pPr>
            <a:lvl2pPr>
              <a:defRPr sz="1400"/>
            </a:lvl2pPr>
            <a:lvl3pPr>
              <a:defRPr sz="1200"/>
            </a:lvl3pPr>
          </a:lstStyle>
          <a:p>
            <a:pPr lvl="0"/>
            <a:r>
              <a:rPr lang="en-US"/>
              <a:t>Click to edit Master text styles</a:t>
            </a:r>
          </a:p>
          <a:p>
            <a:pPr lvl="1"/>
            <a:r>
              <a:rPr lang="en-US"/>
              <a:t>Second level</a:t>
            </a:r>
          </a:p>
          <a:p>
            <a:pPr lvl="2"/>
            <a:r>
              <a:rPr lang="en-US"/>
              <a:t>Third level</a:t>
            </a:r>
          </a:p>
        </p:txBody>
      </p:sp>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r>
              <a:rPr lang="en-US"/>
              <a:t>Job Aid and Guidance Document still under review.</a:t>
            </a:r>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2" name="Subtitle 2">
            <a:extLst>
              <a:ext uri="{FF2B5EF4-FFF2-40B4-BE49-F238E27FC236}">
                <a16:creationId xmlns:a16="http://schemas.microsoft.com/office/drawing/2014/main" id="{A957F58C-3461-45A3-5C7B-FEC0AE9787AA}"/>
              </a:ext>
            </a:extLst>
          </p:cNvPr>
          <p:cNvSpPr>
            <a:spLocks noGrp="1"/>
          </p:cNvSpPr>
          <p:nvPr>
            <p:ph type="subTitle" idx="19" hasCustomPrompt="1"/>
          </p:nvPr>
        </p:nvSpPr>
        <p:spPr>
          <a:xfrm>
            <a:off x="288302" y="713620"/>
            <a:ext cx="6713538"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
        <p:nvSpPr>
          <p:cNvPr id="12" name="Text Placeholder 11">
            <a:extLst>
              <a:ext uri="{FF2B5EF4-FFF2-40B4-BE49-F238E27FC236}">
                <a16:creationId xmlns:a16="http://schemas.microsoft.com/office/drawing/2014/main" id="{C0E54879-16D3-D32C-7096-C2022A52D2DF}"/>
              </a:ext>
            </a:extLst>
          </p:cNvPr>
          <p:cNvSpPr>
            <a:spLocks noGrp="1"/>
          </p:cNvSpPr>
          <p:nvPr>
            <p:ph type="body" sz="quarter" idx="20"/>
          </p:nvPr>
        </p:nvSpPr>
        <p:spPr>
          <a:xfrm>
            <a:off x="288925" y="3357563"/>
            <a:ext cx="3769200" cy="29194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1">
            <a:extLst>
              <a:ext uri="{FF2B5EF4-FFF2-40B4-BE49-F238E27FC236}">
                <a16:creationId xmlns:a16="http://schemas.microsoft.com/office/drawing/2014/main" id="{111B2AEB-EC1B-D6B6-2A0C-C42A73F419DD}"/>
              </a:ext>
            </a:extLst>
          </p:cNvPr>
          <p:cNvSpPr>
            <a:spLocks noGrp="1"/>
          </p:cNvSpPr>
          <p:nvPr>
            <p:ph type="body" sz="quarter" idx="21"/>
          </p:nvPr>
        </p:nvSpPr>
        <p:spPr>
          <a:xfrm>
            <a:off x="4206876" y="3357563"/>
            <a:ext cx="3776400" cy="29194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1">
            <a:extLst>
              <a:ext uri="{FF2B5EF4-FFF2-40B4-BE49-F238E27FC236}">
                <a16:creationId xmlns:a16="http://schemas.microsoft.com/office/drawing/2014/main" id="{604DF7D6-F323-CF70-9E5E-634416CD4FA3}"/>
              </a:ext>
            </a:extLst>
          </p:cNvPr>
          <p:cNvSpPr>
            <a:spLocks noGrp="1"/>
          </p:cNvSpPr>
          <p:nvPr>
            <p:ph type="body" sz="quarter" idx="22"/>
          </p:nvPr>
        </p:nvSpPr>
        <p:spPr>
          <a:xfrm>
            <a:off x="8124824" y="3357563"/>
            <a:ext cx="3776400" cy="29194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258434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wo Images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6170614" y="0"/>
            <a:ext cx="6021385" cy="3429000"/>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7"/>
            <a:ext cx="5732003" cy="3932237"/>
          </a:xfrm>
        </p:spPr>
        <p:txBody>
          <a:body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7" name="Picture Placeholder 5">
            <a:extLst>
              <a:ext uri="{FF2B5EF4-FFF2-40B4-BE49-F238E27FC236}">
                <a16:creationId xmlns:a16="http://schemas.microsoft.com/office/drawing/2014/main" id="{1CA8347E-5487-FBA2-2DD4-3FD601BD3B4C}"/>
              </a:ext>
            </a:extLst>
          </p:cNvPr>
          <p:cNvSpPr>
            <a:spLocks noGrp="1"/>
          </p:cNvSpPr>
          <p:nvPr>
            <p:ph type="pic" sz="quarter" idx="14" hasCustomPrompt="1"/>
          </p:nvPr>
        </p:nvSpPr>
        <p:spPr>
          <a:xfrm>
            <a:off x="6170614" y="3429000"/>
            <a:ext cx="6021385" cy="3429000"/>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9" name="Title 7">
            <a:extLst>
              <a:ext uri="{FF2B5EF4-FFF2-40B4-BE49-F238E27FC236}">
                <a16:creationId xmlns:a16="http://schemas.microsoft.com/office/drawing/2014/main" id="{B6AE2399-BFCA-491C-607D-8EC33F29B034}"/>
              </a:ext>
            </a:extLst>
          </p:cNvPr>
          <p:cNvSpPr>
            <a:spLocks noGrp="1"/>
          </p:cNvSpPr>
          <p:nvPr>
            <p:ph type="title" hasCustomPrompt="1"/>
          </p:nvPr>
        </p:nvSpPr>
        <p:spPr>
          <a:xfrm>
            <a:off x="288303" y="262800"/>
            <a:ext cx="5733085" cy="454529"/>
          </a:xfrm>
        </p:spPr>
        <p:txBody>
          <a:bodyPr/>
          <a:lstStyle/>
          <a:p>
            <a:r>
              <a:rPr lang="en-US"/>
              <a:t>Master title style</a:t>
            </a:r>
            <a:endParaRPr lang="en-GB"/>
          </a:p>
        </p:txBody>
      </p:sp>
      <p:sp>
        <p:nvSpPr>
          <p:cNvPr id="8" name="Subtitle 2">
            <a:extLst>
              <a:ext uri="{FF2B5EF4-FFF2-40B4-BE49-F238E27FC236}">
                <a16:creationId xmlns:a16="http://schemas.microsoft.com/office/drawing/2014/main" id="{42AEA74B-CBA6-2617-8389-0A8FBEB074F7}"/>
              </a:ext>
            </a:extLst>
          </p:cNvPr>
          <p:cNvSpPr>
            <a:spLocks noGrp="1"/>
          </p:cNvSpPr>
          <p:nvPr>
            <p:ph type="subTitle" idx="16" hasCustomPrompt="1"/>
          </p:nvPr>
        </p:nvSpPr>
        <p:spPr>
          <a:xfrm>
            <a:off x="288302" y="713620"/>
            <a:ext cx="5732003" cy="292965"/>
          </a:xfrm>
        </p:spPr>
        <p:txBody>
          <a:bodyPr vert="horz" wrap="square" lIns="0" tIns="0" rIns="0" bIns="0" rtlCol="0" anchor="t">
            <a:spAutoFit/>
          </a:bodyPr>
          <a:lstStyle>
            <a:lvl1pPr>
              <a:defRPr lang="en-GB" b="1" dirty="0"/>
            </a:lvl1pPr>
          </a:lstStyle>
          <a:p>
            <a:pPr lvl="0"/>
            <a:r>
              <a:rPr lang="en-GB"/>
              <a:t>Subtitle. Delete if not required.</a:t>
            </a:r>
          </a:p>
        </p:txBody>
      </p:sp>
    </p:spTree>
    <p:extLst>
      <p:ext uri="{BB962C8B-B14F-4D97-AF65-F5344CB8AC3E}">
        <p14:creationId xmlns:p14="http://schemas.microsoft.com/office/powerpoint/2010/main" val="41972950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hree Images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6170614" y="0"/>
            <a:ext cx="3010694" cy="3429000"/>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7"/>
            <a:ext cx="5732003" cy="3932237"/>
          </a:xfrm>
        </p:spPr>
        <p:txBody>
          <a:body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7" name="Picture Placeholder 5">
            <a:extLst>
              <a:ext uri="{FF2B5EF4-FFF2-40B4-BE49-F238E27FC236}">
                <a16:creationId xmlns:a16="http://schemas.microsoft.com/office/drawing/2014/main" id="{1CA8347E-5487-FBA2-2DD4-3FD601BD3B4C}"/>
              </a:ext>
            </a:extLst>
          </p:cNvPr>
          <p:cNvSpPr>
            <a:spLocks noGrp="1"/>
          </p:cNvSpPr>
          <p:nvPr>
            <p:ph type="pic" sz="quarter" idx="14" hasCustomPrompt="1"/>
          </p:nvPr>
        </p:nvSpPr>
        <p:spPr>
          <a:xfrm>
            <a:off x="6170614" y="3429000"/>
            <a:ext cx="6021385" cy="3429000"/>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8" name="Picture Placeholder 5">
            <a:extLst>
              <a:ext uri="{FF2B5EF4-FFF2-40B4-BE49-F238E27FC236}">
                <a16:creationId xmlns:a16="http://schemas.microsoft.com/office/drawing/2014/main" id="{341FD64A-0587-F581-84E0-EA06B4D33540}"/>
              </a:ext>
            </a:extLst>
          </p:cNvPr>
          <p:cNvSpPr>
            <a:spLocks noGrp="1"/>
          </p:cNvSpPr>
          <p:nvPr>
            <p:ph type="pic" sz="quarter" idx="15" hasCustomPrompt="1"/>
          </p:nvPr>
        </p:nvSpPr>
        <p:spPr>
          <a:xfrm>
            <a:off x="9181307" y="0"/>
            <a:ext cx="3010694" cy="3429000"/>
          </a:xfrm>
          <a:solidFill>
            <a:schemeClr val="tx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0" name="Title 7">
            <a:extLst>
              <a:ext uri="{FF2B5EF4-FFF2-40B4-BE49-F238E27FC236}">
                <a16:creationId xmlns:a16="http://schemas.microsoft.com/office/drawing/2014/main" id="{27A145F5-DB46-62B4-C485-DD186AF7BDC2}"/>
              </a:ext>
            </a:extLst>
          </p:cNvPr>
          <p:cNvSpPr>
            <a:spLocks noGrp="1"/>
          </p:cNvSpPr>
          <p:nvPr>
            <p:ph type="title" hasCustomPrompt="1"/>
          </p:nvPr>
        </p:nvSpPr>
        <p:spPr>
          <a:xfrm>
            <a:off x="288303" y="262800"/>
            <a:ext cx="5733085" cy="454529"/>
          </a:xfrm>
        </p:spPr>
        <p:txBody>
          <a:bodyPr/>
          <a:lstStyle/>
          <a:p>
            <a:r>
              <a:rPr lang="en-US"/>
              <a:t>Master title style</a:t>
            </a:r>
            <a:endParaRPr lang="en-GB"/>
          </a:p>
        </p:txBody>
      </p:sp>
      <p:sp>
        <p:nvSpPr>
          <p:cNvPr id="9" name="Subtitle 2">
            <a:extLst>
              <a:ext uri="{FF2B5EF4-FFF2-40B4-BE49-F238E27FC236}">
                <a16:creationId xmlns:a16="http://schemas.microsoft.com/office/drawing/2014/main" id="{A588C0CC-43FB-4401-B34D-842E1E15D0E5}"/>
              </a:ext>
            </a:extLst>
          </p:cNvPr>
          <p:cNvSpPr>
            <a:spLocks noGrp="1"/>
          </p:cNvSpPr>
          <p:nvPr>
            <p:ph type="subTitle" idx="16" hasCustomPrompt="1"/>
          </p:nvPr>
        </p:nvSpPr>
        <p:spPr>
          <a:xfrm>
            <a:off x="288302" y="713620"/>
            <a:ext cx="5732003" cy="292965"/>
          </a:xfrm>
        </p:spPr>
        <p:txBody>
          <a:bodyPr vert="horz" wrap="square" lIns="0" tIns="0" rIns="0" bIns="0" rtlCol="0" anchor="t">
            <a:spAutoFit/>
          </a:bodyPr>
          <a:lstStyle>
            <a:lvl1pPr>
              <a:defRPr lang="en-GB" b="1" dirty="0"/>
            </a:lvl1pPr>
          </a:lstStyle>
          <a:p>
            <a:pPr lvl="0"/>
            <a:r>
              <a:rPr lang="en-GB"/>
              <a:t>Subtitle. Delete if not required.</a:t>
            </a:r>
          </a:p>
        </p:txBody>
      </p:sp>
    </p:spTree>
    <p:extLst>
      <p:ext uri="{BB962C8B-B14F-4D97-AF65-F5344CB8AC3E}">
        <p14:creationId xmlns:p14="http://schemas.microsoft.com/office/powerpoint/2010/main" val="325654712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Image, Content and Captio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6165850" y="2338388"/>
            <a:ext cx="5734051" cy="3932235"/>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endParaRPr lang="en-GB"/>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lang="en-US"/>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7"/>
            <a:ext cx="5732003" cy="3427413"/>
          </a:xfrm>
        </p:spPr>
        <p:txBody>
          <a:body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8" name="Text Placeholder 3">
            <a:extLst>
              <a:ext uri="{FF2B5EF4-FFF2-40B4-BE49-F238E27FC236}">
                <a16:creationId xmlns:a16="http://schemas.microsoft.com/office/drawing/2014/main" id="{1F2CC53D-B78D-E756-7E3B-FA565E8B9E1D}"/>
              </a:ext>
            </a:extLst>
          </p:cNvPr>
          <p:cNvSpPr>
            <a:spLocks noGrp="1"/>
          </p:cNvSpPr>
          <p:nvPr>
            <p:ph type="body" sz="quarter" idx="14" hasCustomPrompt="1"/>
          </p:nvPr>
        </p:nvSpPr>
        <p:spPr>
          <a:xfrm>
            <a:off x="10083801" y="1306513"/>
            <a:ext cx="1816100" cy="904875"/>
          </a:xfrm>
        </p:spPr>
        <p:txBody>
          <a:bodyPr anchor="b"/>
          <a:lstStyle>
            <a:lvl1pPr>
              <a:spcBef>
                <a:spcPts val="0"/>
              </a:spcBef>
              <a:spcAft>
                <a:spcPts val="300"/>
              </a:spcAft>
              <a:defRPr lang="en-GB" sz="1000" b="0" i="0" kern="1200" dirty="0">
                <a:solidFill>
                  <a:schemeClr val="tx1"/>
                </a:solidFill>
                <a:latin typeface="+mn-lt"/>
                <a:ea typeface="+mn-ea"/>
                <a:cs typeface="+mn-cs"/>
              </a:defRPr>
            </a:lvl1pPr>
            <a:lvl2pPr marL="93663" indent="-93663">
              <a:spcBef>
                <a:spcPts val="0"/>
              </a:spcBef>
              <a:spcAft>
                <a:spcPts val="300"/>
              </a:spcAft>
              <a:tabLst/>
              <a:defRPr lang="en-GB" sz="1000" b="0" i="0" kern="1200" dirty="0">
                <a:solidFill>
                  <a:schemeClr val="tx1"/>
                </a:solidFill>
                <a:latin typeface="+mn-lt"/>
                <a:ea typeface="+mn-ea"/>
                <a:cs typeface="+mn-cs"/>
              </a:defRPr>
            </a:lvl2pPr>
            <a:lvl3pPr marL="179388" indent="-85725">
              <a:spcBef>
                <a:spcPts val="0"/>
              </a:spcBef>
              <a:spcAft>
                <a:spcPts val="300"/>
              </a:spcAft>
              <a:tabLst/>
              <a:defRPr lang="en-GB" sz="1000" b="0" i="0" kern="1200" dirty="0">
                <a:solidFill>
                  <a:schemeClr val="tx1"/>
                </a:solidFill>
                <a:latin typeface="+mn-lt"/>
                <a:ea typeface="+mn-ea"/>
                <a:cs typeface="+mn-cs"/>
              </a:defRPr>
            </a:lvl3pPr>
            <a:lvl4pPr>
              <a:defRPr sz="1000"/>
            </a:lvl4pPr>
            <a:lvl5pPr>
              <a:defRPr sz="1000"/>
            </a:lvl5pPr>
          </a:lstStyle>
          <a:p>
            <a:pPr lvl="0"/>
            <a:r>
              <a:rPr lang="en-GB"/>
              <a:t>Click to add text. Delete if not required.</a:t>
            </a:r>
          </a:p>
          <a:p>
            <a:pPr lvl="1"/>
            <a:r>
              <a:rPr lang="en-GB"/>
              <a:t>Second level</a:t>
            </a:r>
          </a:p>
          <a:p>
            <a:pPr lvl="2"/>
            <a:r>
              <a:rPr lang="en-GB"/>
              <a:t>Third level</a:t>
            </a:r>
          </a:p>
        </p:txBody>
      </p:sp>
      <p:sp>
        <p:nvSpPr>
          <p:cNvPr id="9" name="Title 8">
            <a:extLst>
              <a:ext uri="{FF2B5EF4-FFF2-40B4-BE49-F238E27FC236}">
                <a16:creationId xmlns:a16="http://schemas.microsoft.com/office/drawing/2014/main" id="{86327D50-E20F-7EBC-9440-36E657CCB2B0}"/>
              </a:ext>
            </a:extLst>
          </p:cNvPr>
          <p:cNvSpPr>
            <a:spLocks noGrp="1"/>
          </p:cNvSpPr>
          <p:nvPr>
            <p:ph type="title"/>
          </p:nvPr>
        </p:nvSpPr>
        <p:spPr>
          <a:xfrm>
            <a:off x="288303" y="262267"/>
            <a:ext cx="8672513" cy="457818"/>
          </a:xfrm>
        </p:spPr>
        <p:txBody>
          <a:bodyPr/>
          <a:lstStyle/>
          <a:p>
            <a:r>
              <a:rPr lang="zh-CN" altLang="en-US"/>
              <a:t>单击此处编辑母版标题样式</a:t>
            </a:r>
            <a:endParaRPr lang="en-GB"/>
          </a:p>
        </p:txBody>
      </p:sp>
      <p:sp>
        <p:nvSpPr>
          <p:cNvPr id="7" name="Subtitle 2">
            <a:extLst>
              <a:ext uri="{FF2B5EF4-FFF2-40B4-BE49-F238E27FC236}">
                <a16:creationId xmlns:a16="http://schemas.microsoft.com/office/drawing/2014/main" id="{28482B98-7AE9-6F29-768C-189744E8C745}"/>
              </a:ext>
            </a:extLst>
          </p:cNvPr>
          <p:cNvSpPr>
            <a:spLocks noGrp="1"/>
          </p:cNvSpPr>
          <p:nvPr>
            <p:ph type="subTitle" idx="16" hasCustomPrompt="1"/>
          </p:nvPr>
        </p:nvSpPr>
        <p:spPr>
          <a:xfrm>
            <a:off x="288301" y="713620"/>
            <a:ext cx="8672513"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2" name="Footer Placeholder 4">
            <a:extLst>
              <a:ext uri="{FF2B5EF4-FFF2-40B4-BE49-F238E27FC236}">
                <a16:creationId xmlns:a16="http://schemas.microsoft.com/office/drawing/2014/main" id="{BCA9CB80-774D-68B5-7E25-86D9D123DB00}"/>
              </a:ext>
            </a:extLst>
          </p:cNvPr>
          <p:cNvSpPr>
            <a:spLocks noGrp="1"/>
          </p:cNvSpPr>
          <p:nvPr>
            <p:ph type="ftr" sz="quarter" idx="3"/>
          </p:nvPr>
        </p:nvSpPr>
        <p:spPr>
          <a:xfrm>
            <a:off x="288259" y="5966467"/>
            <a:ext cx="5732003"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152016290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Images, Content and Captions">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9104313" y="2338386"/>
            <a:ext cx="2795588" cy="3932237"/>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r>
              <a:rPr lang="en-GB"/>
              <a:t> Delete if not required.</a:t>
            </a:r>
            <a:endParaRPr lang="en-US"/>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7"/>
            <a:ext cx="5732003" cy="3427413"/>
          </a:xfrm>
        </p:spPr>
        <p:txBody>
          <a:body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8" name="Text Placeholder 3">
            <a:extLst>
              <a:ext uri="{FF2B5EF4-FFF2-40B4-BE49-F238E27FC236}">
                <a16:creationId xmlns:a16="http://schemas.microsoft.com/office/drawing/2014/main" id="{1F2CC53D-B78D-E756-7E3B-FA565E8B9E1D}"/>
              </a:ext>
            </a:extLst>
          </p:cNvPr>
          <p:cNvSpPr>
            <a:spLocks noGrp="1"/>
          </p:cNvSpPr>
          <p:nvPr>
            <p:ph type="body" sz="quarter" idx="14" hasCustomPrompt="1"/>
          </p:nvPr>
        </p:nvSpPr>
        <p:spPr>
          <a:xfrm>
            <a:off x="9104313" y="1306513"/>
            <a:ext cx="1816100" cy="904875"/>
          </a:xfrm>
        </p:spPr>
        <p:txBody>
          <a:bodyPr anchor="b"/>
          <a:lstStyle>
            <a:lvl1pPr>
              <a:spcBef>
                <a:spcPts val="0"/>
              </a:spcBef>
              <a:spcAft>
                <a:spcPts val="300"/>
              </a:spcAft>
              <a:defRPr lang="en-GB" sz="1000" b="0" i="0" kern="1200" dirty="0">
                <a:solidFill>
                  <a:schemeClr val="tx1"/>
                </a:solidFill>
                <a:latin typeface="+mn-lt"/>
                <a:ea typeface="+mn-ea"/>
                <a:cs typeface="+mn-cs"/>
              </a:defRPr>
            </a:lvl1pPr>
            <a:lvl2pPr marL="93663" indent="-93663">
              <a:spcBef>
                <a:spcPts val="0"/>
              </a:spcBef>
              <a:spcAft>
                <a:spcPts val="300"/>
              </a:spcAft>
              <a:tabLst/>
              <a:defRPr lang="en-GB" sz="1000" b="0" i="0" kern="1200" dirty="0">
                <a:solidFill>
                  <a:schemeClr val="tx1"/>
                </a:solidFill>
                <a:latin typeface="+mn-lt"/>
                <a:ea typeface="+mn-ea"/>
                <a:cs typeface="+mn-cs"/>
              </a:defRPr>
            </a:lvl2pPr>
            <a:lvl3pPr marL="179388" indent="-85725">
              <a:spcBef>
                <a:spcPts val="0"/>
              </a:spcBef>
              <a:spcAft>
                <a:spcPts val="300"/>
              </a:spcAft>
              <a:tabLst/>
              <a:defRPr lang="en-GB" sz="1000" b="0" i="0" kern="1200" dirty="0">
                <a:solidFill>
                  <a:schemeClr val="tx1"/>
                </a:solidFill>
                <a:latin typeface="+mn-lt"/>
                <a:ea typeface="+mn-ea"/>
                <a:cs typeface="+mn-cs"/>
              </a:defRPr>
            </a:lvl3pPr>
            <a:lvl4pPr>
              <a:defRPr sz="1000"/>
            </a:lvl4pPr>
            <a:lvl5pPr>
              <a:defRPr sz="1000"/>
            </a:lvl5pPr>
          </a:lstStyle>
          <a:p>
            <a:pPr lvl="0"/>
            <a:r>
              <a:rPr lang="en-GB"/>
              <a:t>Click to add text. Delete if not required.</a:t>
            </a:r>
          </a:p>
          <a:p>
            <a:pPr lvl="1"/>
            <a:r>
              <a:rPr lang="en-GB"/>
              <a:t>Second level</a:t>
            </a:r>
          </a:p>
          <a:p>
            <a:pPr lvl="2"/>
            <a:r>
              <a:rPr lang="en-GB"/>
              <a:t>Third level</a:t>
            </a:r>
          </a:p>
        </p:txBody>
      </p:sp>
      <p:sp>
        <p:nvSpPr>
          <p:cNvPr id="7" name="Picture Placeholder 5">
            <a:extLst>
              <a:ext uri="{FF2B5EF4-FFF2-40B4-BE49-F238E27FC236}">
                <a16:creationId xmlns:a16="http://schemas.microsoft.com/office/drawing/2014/main" id="{07C8FFB5-0C36-EA56-18AE-AE4E3A5B96B2}"/>
              </a:ext>
            </a:extLst>
          </p:cNvPr>
          <p:cNvSpPr>
            <a:spLocks noGrp="1"/>
          </p:cNvSpPr>
          <p:nvPr>
            <p:ph type="pic" sz="quarter" idx="15" hasCustomPrompt="1"/>
          </p:nvPr>
        </p:nvSpPr>
        <p:spPr>
          <a:xfrm>
            <a:off x="6165850" y="2338386"/>
            <a:ext cx="2800351" cy="3932237"/>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r>
              <a:rPr lang="en-GB"/>
              <a:t> Delete if not required.</a:t>
            </a:r>
            <a:endParaRPr lang="en-US"/>
          </a:p>
        </p:txBody>
      </p:sp>
      <p:sp>
        <p:nvSpPr>
          <p:cNvPr id="9" name="Text Placeholder 3">
            <a:extLst>
              <a:ext uri="{FF2B5EF4-FFF2-40B4-BE49-F238E27FC236}">
                <a16:creationId xmlns:a16="http://schemas.microsoft.com/office/drawing/2014/main" id="{D8A04C51-CF13-9F12-8A02-3FDDCF07D12F}"/>
              </a:ext>
            </a:extLst>
          </p:cNvPr>
          <p:cNvSpPr>
            <a:spLocks noGrp="1"/>
          </p:cNvSpPr>
          <p:nvPr>
            <p:ph type="body" sz="quarter" idx="16" hasCustomPrompt="1"/>
          </p:nvPr>
        </p:nvSpPr>
        <p:spPr>
          <a:xfrm>
            <a:off x="6165850" y="1306513"/>
            <a:ext cx="1816100" cy="904875"/>
          </a:xfrm>
        </p:spPr>
        <p:txBody>
          <a:bodyPr anchor="b"/>
          <a:lstStyle>
            <a:lvl1pPr>
              <a:spcBef>
                <a:spcPts val="0"/>
              </a:spcBef>
              <a:spcAft>
                <a:spcPts val="300"/>
              </a:spcAft>
              <a:defRPr lang="en-GB" sz="1000" b="0" i="0" kern="1200" dirty="0">
                <a:solidFill>
                  <a:schemeClr val="tx1"/>
                </a:solidFill>
                <a:latin typeface="+mn-lt"/>
                <a:ea typeface="+mn-ea"/>
                <a:cs typeface="+mn-cs"/>
              </a:defRPr>
            </a:lvl1pPr>
            <a:lvl2pPr marL="93663" indent="-93663">
              <a:spcBef>
                <a:spcPts val="0"/>
              </a:spcBef>
              <a:spcAft>
                <a:spcPts val="300"/>
              </a:spcAft>
              <a:tabLst/>
              <a:defRPr lang="en-GB" sz="1000" b="0" i="0" kern="1200" dirty="0">
                <a:solidFill>
                  <a:schemeClr val="tx1"/>
                </a:solidFill>
                <a:latin typeface="+mn-lt"/>
                <a:ea typeface="+mn-ea"/>
                <a:cs typeface="+mn-cs"/>
              </a:defRPr>
            </a:lvl2pPr>
            <a:lvl3pPr marL="179388" indent="-85725">
              <a:spcBef>
                <a:spcPts val="0"/>
              </a:spcBef>
              <a:spcAft>
                <a:spcPts val="300"/>
              </a:spcAft>
              <a:tabLst/>
              <a:defRPr lang="en-GB" sz="1000" b="0" i="0" kern="1200" dirty="0">
                <a:solidFill>
                  <a:schemeClr val="tx1"/>
                </a:solidFill>
                <a:latin typeface="+mn-lt"/>
                <a:ea typeface="+mn-ea"/>
                <a:cs typeface="+mn-cs"/>
              </a:defRPr>
            </a:lvl3pPr>
            <a:lvl4pPr>
              <a:defRPr sz="1000"/>
            </a:lvl4pPr>
            <a:lvl5pPr>
              <a:defRPr sz="1000"/>
            </a:lvl5pPr>
          </a:lstStyle>
          <a:p>
            <a:pPr lvl="0"/>
            <a:r>
              <a:rPr lang="en-GB"/>
              <a:t>Click to add text. Delete if not required.</a:t>
            </a:r>
          </a:p>
          <a:p>
            <a:pPr lvl="1"/>
            <a:r>
              <a:rPr lang="en-GB"/>
              <a:t>Second level</a:t>
            </a:r>
          </a:p>
          <a:p>
            <a:pPr lvl="2"/>
            <a:r>
              <a:rPr lang="en-GB"/>
              <a:t>Third level</a:t>
            </a:r>
          </a:p>
        </p:txBody>
      </p:sp>
      <p:sp>
        <p:nvSpPr>
          <p:cNvPr id="11" name="Title 7">
            <a:extLst>
              <a:ext uri="{FF2B5EF4-FFF2-40B4-BE49-F238E27FC236}">
                <a16:creationId xmlns:a16="http://schemas.microsoft.com/office/drawing/2014/main" id="{48C95821-C865-9139-DE3E-F11442D8306C}"/>
              </a:ext>
            </a:extLst>
          </p:cNvPr>
          <p:cNvSpPr>
            <a:spLocks noGrp="1"/>
          </p:cNvSpPr>
          <p:nvPr>
            <p:ph type="title" hasCustomPrompt="1"/>
          </p:nvPr>
        </p:nvSpPr>
        <p:spPr>
          <a:xfrm>
            <a:off x="288303" y="262800"/>
            <a:ext cx="8673135" cy="454529"/>
          </a:xfrm>
        </p:spPr>
        <p:txBody>
          <a:bodyPr/>
          <a:lstStyle/>
          <a:p>
            <a:r>
              <a:rPr lang="en-US"/>
              <a:t>Master title style</a:t>
            </a:r>
            <a:endParaRPr lang="en-GB"/>
          </a:p>
        </p:txBody>
      </p:sp>
      <p:sp>
        <p:nvSpPr>
          <p:cNvPr id="10" name="Subtitle 2">
            <a:extLst>
              <a:ext uri="{FF2B5EF4-FFF2-40B4-BE49-F238E27FC236}">
                <a16:creationId xmlns:a16="http://schemas.microsoft.com/office/drawing/2014/main" id="{949BA43B-6BD5-72DE-5D4D-B0BAD4FEEA2B}"/>
              </a:ext>
            </a:extLst>
          </p:cNvPr>
          <p:cNvSpPr>
            <a:spLocks noGrp="1"/>
          </p:cNvSpPr>
          <p:nvPr>
            <p:ph type="subTitle" idx="17" hasCustomPrompt="1"/>
          </p:nvPr>
        </p:nvSpPr>
        <p:spPr>
          <a:xfrm>
            <a:off x="288302" y="713620"/>
            <a:ext cx="8671498"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2" name="Footer Placeholder 4">
            <a:extLst>
              <a:ext uri="{FF2B5EF4-FFF2-40B4-BE49-F238E27FC236}">
                <a16:creationId xmlns:a16="http://schemas.microsoft.com/office/drawing/2014/main" id="{E00874E2-51B6-C9BA-5767-10D0B2852D4F}"/>
              </a:ext>
            </a:extLst>
          </p:cNvPr>
          <p:cNvSpPr>
            <a:spLocks noGrp="1"/>
          </p:cNvSpPr>
          <p:nvPr>
            <p:ph type="ftr" sz="quarter" idx="3"/>
          </p:nvPr>
        </p:nvSpPr>
        <p:spPr>
          <a:xfrm>
            <a:off x="288259" y="5966467"/>
            <a:ext cx="5739479"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279379909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Images, Content and Captions Stacke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8124825" y="291038"/>
            <a:ext cx="3775076" cy="2922062"/>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r>
              <a:rPr lang="en-GB"/>
              <a:t> Delete if not required.</a:t>
            </a:r>
            <a:endParaRPr lang="en-US"/>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5" y="2338387"/>
            <a:ext cx="4750422" cy="3427413"/>
          </a:xfrm>
        </p:spPr>
        <p:txBody>
          <a:body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9" name="Text Placeholder 3">
            <a:extLst>
              <a:ext uri="{FF2B5EF4-FFF2-40B4-BE49-F238E27FC236}">
                <a16:creationId xmlns:a16="http://schemas.microsoft.com/office/drawing/2014/main" id="{D8A04C51-CF13-9F12-8A02-3FDDCF07D12F}"/>
              </a:ext>
            </a:extLst>
          </p:cNvPr>
          <p:cNvSpPr>
            <a:spLocks noGrp="1"/>
          </p:cNvSpPr>
          <p:nvPr>
            <p:ph type="body" sz="quarter" idx="16" hasCustomPrompt="1"/>
          </p:nvPr>
        </p:nvSpPr>
        <p:spPr>
          <a:xfrm>
            <a:off x="6165850" y="263526"/>
            <a:ext cx="1816099" cy="901700"/>
          </a:xfrm>
        </p:spPr>
        <p:txBody>
          <a:bodyPr/>
          <a:lstStyle>
            <a:lvl1pPr>
              <a:spcBef>
                <a:spcPts val="0"/>
              </a:spcBef>
              <a:spcAft>
                <a:spcPts val="300"/>
              </a:spcAft>
              <a:defRPr lang="en-GB" sz="1000" b="0" i="0" kern="1200" dirty="0">
                <a:solidFill>
                  <a:schemeClr val="tx1"/>
                </a:solidFill>
                <a:latin typeface="+mn-lt"/>
                <a:ea typeface="+mn-ea"/>
                <a:cs typeface="+mn-cs"/>
              </a:defRPr>
            </a:lvl1pPr>
            <a:lvl2pPr marL="93663" indent="-93663">
              <a:spcBef>
                <a:spcPts val="0"/>
              </a:spcBef>
              <a:spcAft>
                <a:spcPts val="300"/>
              </a:spcAft>
              <a:tabLst/>
              <a:defRPr lang="en-GB" sz="1000" b="0" i="0" kern="1200" dirty="0">
                <a:solidFill>
                  <a:schemeClr val="tx1"/>
                </a:solidFill>
                <a:latin typeface="+mn-lt"/>
                <a:ea typeface="+mn-ea"/>
                <a:cs typeface="+mn-cs"/>
              </a:defRPr>
            </a:lvl2pPr>
            <a:lvl3pPr marL="179388" indent="-85725">
              <a:spcBef>
                <a:spcPts val="0"/>
              </a:spcBef>
              <a:spcAft>
                <a:spcPts val="300"/>
              </a:spcAft>
              <a:tabLst/>
              <a:defRPr lang="en-GB" sz="1000" b="0" i="0" kern="1200" dirty="0">
                <a:solidFill>
                  <a:schemeClr val="tx1"/>
                </a:solidFill>
                <a:latin typeface="+mn-lt"/>
                <a:ea typeface="+mn-ea"/>
                <a:cs typeface="+mn-cs"/>
              </a:defRPr>
            </a:lvl3pPr>
            <a:lvl4pPr>
              <a:defRPr sz="1000"/>
            </a:lvl4pPr>
            <a:lvl5pPr>
              <a:defRPr sz="1000"/>
            </a:lvl5pPr>
          </a:lstStyle>
          <a:p>
            <a:pPr lvl="0"/>
            <a:r>
              <a:rPr lang="en-GB"/>
              <a:t>Click to add text. Delete if not required.</a:t>
            </a:r>
          </a:p>
          <a:p>
            <a:pPr lvl="1"/>
            <a:r>
              <a:rPr lang="en-GB"/>
              <a:t>Second level</a:t>
            </a:r>
          </a:p>
          <a:p>
            <a:pPr lvl="2"/>
            <a:r>
              <a:rPr lang="en-GB"/>
              <a:t>Third level</a:t>
            </a:r>
          </a:p>
        </p:txBody>
      </p:sp>
      <p:sp>
        <p:nvSpPr>
          <p:cNvPr id="10" name="Picture Placeholder 5">
            <a:extLst>
              <a:ext uri="{FF2B5EF4-FFF2-40B4-BE49-F238E27FC236}">
                <a16:creationId xmlns:a16="http://schemas.microsoft.com/office/drawing/2014/main" id="{7E2F9960-1383-47B5-D5A0-E3568E633105}"/>
              </a:ext>
            </a:extLst>
          </p:cNvPr>
          <p:cNvSpPr>
            <a:spLocks noGrp="1"/>
          </p:cNvSpPr>
          <p:nvPr>
            <p:ph type="pic" sz="quarter" idx="17" hasCustomPrompt="1"/>
          </p:nvPr>
        </p:nvSpPr>
        <p:spPr>
          <a:xfrm>
            <a:off x="8124825" y="3357564"/>
            <a:ext cx="3775076" cy="2913062"/>
          </a:xfrm>
          <a:solidFill>
            <a:schemeClr val="tx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r>
              <a:rPr lang="en-GB"/>
              <a:t> Delete if not required.</a:t>
            </a:r>
            <a:endParaRPr lang="en-US"/>
          </a:p>
        </p:txBody>
      </p:sp>
      <p:sp>
        <p:nvSpPr>
          <p:cNvPr id="11" name="Text Placeholder 3">
            <a:extLst>
              <a:ext uri="{FF2B5EF4-FFF2-40B4-BE49-F238E27FC236}">
                <a16:creationId xmlns:a16="http://schemas.microsoft.com/office/drawing/2014/main" id="{1157324B-BE85-4E3F-8A71-8D472DC1443F}"/>
              </a:ext>
            </a:extLst>
          </p:cNvPr>
          <p:cNvSpPr>
            <a:spLocks noGrp="1"/>
          </p:cNvSpPr>
          <p:nvPr>
            <p:ph type="body" sz="quarter" idx="18" hasCustomPrompt="1"/>
          </p:nvPr>
        </p:nvSpPr>
        <p:spPr>
          <a:xfrm>
            <a:off x="6170614" y="3334276"/>
            <a:ext cx="1811335" cy="904875"/>
          </a:xfrm>
        </p:spPr>
        <p:txBody>
          <a:bodyPr/>
          <a:lstStyle>
            <a:lvl1pPr>
              <a:spcBef>
                <a:spcPts val="0"/>
              </a:spcBef>
              <a:spcAft>
                <a:spcPts val="300"/>
              </a:spcAft>
              <a:defRPr lang="en-GB" sz="1000" b="0" i="0" kern="1200" dirty="0">
                <a:solidFill>
                  <a:schemeClr val="tx1"/>
                </a:solidFill>
                <a:latin typeface="+mn-lt"/>
                <a:ea typeface="+mn-ea"/>
                <a:cs typeface="+mn-cs"/>
              </a:defRPr>
            </a:lvl1pPr>
            <a:lvl2pPr marL="93663" indent="-93663">
              <a:spcBef>
                <a:spcPts val="0"/>
              </a:spcBef>
              <a:spcAft>
                <a:spcPts val="300"/>
              </a:spcAft>
              <a:tabLst/>
              <a:defRPr lang="en-GB" sz="1000" b="0" i="0" kern="1200" dirty="0">
                <a:solidFill>
                  <a:schemeClr val="tx1"/>
                </a:solidFill>
                <a:latin typeface="+mn-lt"/>
                <a:ea typeface="+mn-ea"/>
                <a:cs typeface="+mn-cs"/>
              </a:defRPr>
            </a:lvl2pPr>
            <a:lvl3pPr marL="179388" indent="-85725">
              <a:spcBef>
                <a:spcPts val="0"/>
              </a:spcBef>
              <a:spcAft>
                <a:spcPts val="300"/>
              </a:spcAft>
              <a:tabLst/>
              <a:defRPr lang="en-GB" sz="1000" b="0" i="0" kern="1200" dirty="0">
                <a:solidFill>
                  <a:schemeClr val="tx1"/>
                </a:solidFill>
                <a:latin typeface="+mn-lt"/>
                <a:ea typeface="+mn-ea"/>
                <a:cs typeface="+mn-cs"/>
              </a:defRPr>
            </a:lvl3pPr>
            <a:lvl4pPr>
              <a:defRPr sz="1000"/>
            </a:lvl4pPr>
            <a:lvl5pPr>
              <a:defRPr sz="1000"/>
            </a:lvl5pPr>
          </a:lstStyle>
          <a:p>
            <a:pPr lvl="0"/>
            <a:r>
              <a:rPr lang="en-GB"/>
              <a:t>Click to add text. Delete if not required.</a:t>
            </a:r>
          </a:p>
          <a:p>
            <a:pPr lvl="1"/>
            <a:r>
              <a:rPr lang="en-GB"/>
              <a:t>Second level</a:t>
            </a:r>
          </a:p>
          <a:p>
            <a:pPr lvl="2"/>
            <a:r>
              <a:rPr lang="en-GB"/>
              <a:t>Third level</a:t>
            </a:r>
          </a:p>
        </p:txBody>
      </p:sp>
      <p:sp>
        <p:nvSpPr>
          <p:cNvPr id="8" name="Title 7">
            <a:extLst>
              <a:ext uri="{FF2B5EF4-FFF2-40B4-BE49-F238E27FC236}">
                <a16:creationId xmlns:a16="http://schemas.microsoft.com/office/drawing/2014/main" id="{A4141273-8612-0373-5CE1-A74C8304F40A}"/>
              </a:ext>
            </a:extLst>
          </p:cNvPr>
          <p:cNvSpPr>
            <a:spLocks noGrp="1"/>
          </p:cNvSpPr>
          <p:nvPr>
            <p:ph type="title" hasCustomPrompt="1"/>
          </p:nvPr>
        </p:nvSpPr>
        <p:spPr>
          <a:xfrm>
            <a:off x="288303" y="262800"/>
            <a:ext cx="4750421" cy="454529"/>
          </a:xfrm>
        </p:spPr>
        <p:txBody>
          <a:bodyPr/>
          <a:lstStyle/>
          <a:p>
            <a:r>
              <a:rPr lang="en-US"/>
              <a:t>Master title style</a:t>
            </a:r>
            <a:endParaRPr lang="en-GB"/>
          </a:p>
        </p:txBody>
      </p:sp>
      <p:sp>
        <p:nvSpPr>
          <p:cNvPr id="7" name="Subtitle 2">
            <a:extLst>
              <a:ext uri="{FF2B5EF4-FFF2-40B4-BE49-F238E27FC236}">
                <a16:creationId xmlns:a16="http://schemas.microsoft.com/office/drawing/2014/main" id="{460EC19D-5C44-4557-54CE-FA6CE565E479}"/>
              </a:ext>
            </a:extLst>
          </p:cNvPr>
          <p:cNvSpPr>
            <a:spLocks noGrp="1"/>
          </p:cNvSpPr>
          <p:nvPr>
            <p:ph type="subTitle" idx="19" hasCustomPrompt="1"/>
          </p:nvPr>
        </p:nvSpPr>
        <p:spPr>
          <a:xfrm>
            <a:off x="288302" y="713620"/>
            <a:ext cx="4750421"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2" name="Footer Placeholder 4">
            <a:extLst>
              <a:ext uri="{FF2B5EF4-FFF2-40B4-BE49-F238E27FC236}">
                <a16:creationId xmlns:a16="http://schemas.microsoft.com/office/drawing/2014/main" id="{1F0325E1-B647-A8E5-18BB-BF2ED4C7A4DC}"/>
              </a:ext>
            </a:extLst>
          </p:cNvPr>
          <p:cNvSpPr>
            <a:spLocks noGrp="1"/>
          </p:cNvSpPr>
          <p:nvPr>
            <p:ph type="ftr" sz="quarter" idx="3"/>
          </p:nvPr>
        </p:nvSpPr>
        <p:spPr>
          <a:xfrm>
            <a:off x="288259" y="5966467"/>
            <a:ext cx="7693690"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176672917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p:cSld name="Title Left Side, Two Images and Text ">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7150100" y="0"/>
            <a:ext cx="5041900" cy="3357563"/>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0" y="3357563"/>
            <a:ext cx="6022552" cy="3499955"/>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6" name="Text Placeholder 5">
            <a:extLst>
              <a:ext uri="{FF2B5EF4-FFF2-40B4-BE49-F238E27FC236}">
                <a16:creationId xmlns:a16="http://schemas.microsoft.com/office/drawing/2014/main" id="{899B3B30-291B-0259-955A-B312868ADB24}"/>
              </a:ext>
            </a:extLst>
          </p:cNvPr>
          <p:cNvSpPr>
            <a:spLocks noGrp="1"/>
          </p:cNvSpPr>
          <p:nvPr>
            <p:ph type="body" sz="quarter" idx="15" hasCustomPrompt="1"/>
          </p:nvPr>
        </p:nvSpPr>
        <p:spPr>
          <a:xfrm>
            <a:off x="7150102" y="4376738"/>
            <a:ext cx="4754562" cy="1893887"/>
          </a:xfrm>
        </p:spPr>
        <p:txBody>
          <a:bodyPr/>
          <a:lstStyle>
            <a:lvl1pPr>
              <a:defRPr lang="en-GB" dirty="0" smtClean="0"/>
            </a:lvl1pPr>
            <a:lvl2pPr>
              <a:defRPr lang="en-GB" dirty="0" smtClean="0"/>
            </a:lvl2pPr>
            <a:lvl3pPr>
              <a:defRPr lang="en-GB" dirty="0" smtClean="0"/>
            </a:lvl3pPr>
            <a:lvl4pPr>
              <a:defRPr lang="en-GB" dirty="0" smtClean="0"/>
            </a:lvl4pPr>
            <a:lvl5pPr>
              <a:defRPr lang="en-GB" dirty="0"/>
            </a:lvl5p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7" name="Title 1">
            <a:extLst>
              <a:ext uri="{FF2B5EF4-FFF2-40B4-BE49-F238E27FC236}">
                <a16:creationId xmlns:a16="http://schemas.microsoft.com/office/drawing/2014/main" id="{44087789-03A9-0559-7959-C80A1DC0A306}"/>
              </a:ext>
            </a:extLst>
          </p:cNvPr>
          <p:cNvSpPr>
            <a:spLocks noGrp="1"/>
          </p:cNvSpPr>
          <p:nvPr>
            <p:ph type="title"/>
          </p:nvPr>
        </p:nvSpPr>
        <p:spPr>
          <a:xfrm>
            <a:off x="288000" y="530259"/>
            <a:ext cx="4754563" cy="2437590"/>
          </a:xfrm>
        </p:spPr>
        <p:txBody>
          <a:bodyPr anchor="ctr">
            <a:spAutoFit/>
          </a:bodyPr>
          <a:lstStyle>
            <a:lvl1pPr>
              <a:lnSpc>
                <a:spcPct val="80000"/>
              </a:lnSpc>
              <a:defRPr sz="6500">
                <a:solidFill>
                  <a:schemeClr val="accent1"/>
                </a:solidFill>
              </a:defRPr>
            </a:lvl1pPr>
          </a:lstStyle>
          <a:p>
            <a:r>
              <a:rPr lang="zh-CN" altLang="en-US"/>
              <a:t>单击此处编辑母版标题样式</a:t>
            </a:r>
            <a:endParaRPr lang="en-GB"/>
          </a:p>
        </p:txBody>
      </p:sp>
    </p:spTree>
    <p:extLst>
      <p:ext uri="{BB962C8B-B14F-4D97-AF65-F5344CB8AC3E}">
        <p14:creationId xmlns:p14="http://schemas.microsoft.com/office/powerpoint/2010/main" val="205285267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Right Side, Two Images and Text ">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0" y="-1"/>
            <a:ext cx="5041900" cy="3357563"/>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6165850" y="3357563"/>
            <a:ext cx="6022552" cy="3499955"/>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6" name="Text Placeholder 5">
            <a:extLst>
              <a:ext uri="{FF2B5EF4-FFF2-40B4-BE49-F238E27FC236}">
                <a16:creationId xmlns:a16="http://schemas.microsoft.com/office/drawing/2014/main" id="{899B3B30-291B-0259-955A-B312868ADB24}"/>
              </a:ext>
            </a:extLst>
          </p:cNvPr>
          <p:cNvSpPr>
            <a:spLocks noGrp="1"/>
          </p:cNvSpPr>
          <p:nvPr>
            <p:ph type="body" sz="quarter" idx="15" hasCustomPrompt="1"/>
          </p:nvPr>
        </p:nvSpPr>
        <p:spPr>
          <a:xfrm>
            <a:off x="287338" y="4376738"/>
            <a:ext cx="4754562" cy="1893887"/>
          </a:xfrm>
        </p:spPr>
        <p:txBody>
          <a:bodyPr/>
          <a:lstStyle>
            <a:lvl1pPr>
              <a:defRPr lang="en-GB" dirty="0" smtClean="0"/>
            </a:lvl1pPr>
            <a:lvl2pPr>
              <a:defRPr lang="en-GB" dirty="0" smtClean="0"/>
            </a:lvl2pPr>
            <a:lvl3pPr>
              <a:defRPr lang="en-GB" dirty="0" smtClean="0"/>
            </a:lvl3pPr>
            <a:lvl4pPr>
              <a:defRPr lang="en-GB" dirty="0" smtClean="0"/>
            </a:lvl4pPr>
            <a:lvl5pPr>
              <a:defRPr lang="en-GB" dirty="0"/>
            </a:lvl5p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7" name="Title 1">
            <a:extLst>
              <a:ext uri="{FF2B5EF4-FFF2-40B4-BE49-F238E27FC236}">
                <a16:creationId xmlns:a16="http://schemas.microsoft.com/office/drawing/2014/main" id="{44087789-03A9-0559-7959-C80A1DC0A306}"/>
              </a:ext>
            </a:extLst>
          </p:cNvPr>
          <p:cNvSpPr>
            <a:spLocks noGrp="1"/>
          </p:cNvSpPr>
          <p:nvPr>
            <p:ph type="title"/>
          </p:nvPr>
        </p:nvSpPr>
        <p:spPr>
          <a:xfrm>
            <a:off x="6165850" y="530259"/>
            <a:ext cx="4754563" cy="2437590"/>
          </a:xfrm>
        </p:spPr>
        <p:txBody>
          <a:bodyPr anchor="ctr">
            <a:spAutoFit/>
          </a:bodyPr>
          <a:lstStyle>
            <a:lvl1pPr>
              <a:lnSpc>
                <a:spcPct val="80000"/>
              </a:lnSpc>
              <a:defRPr sz="6500">
                <a:solidFill>
                  <a:schemeClr val="accent1"/>
                </a:solidFill>
              </a:defRPr>
            </a:lvl1pPr>
          </a:lstStyle>
          <a:p>
            <a:r>
              <a:rPr lang="zh-CN" altLang="en-US"/>
              <a:t>单击此处编辑母版标题样式</a:t>
            </a:r>
            <a:endParaRPr lang="en-GB"/>
          </a:p>
        </p:txBody>
      </p:sp>
    </p:spTree>
    <p:extLst>
      <p:ext uri="{BB962C8B-B14F-4D97-AF65-F5344CB8AC3E}">
        <p14:creationId xmlns:p14="http://schemas.microsoft.com/office/powerpoint/2010/main" val="325789316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p:cSld name="Three Images and Caption">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0" y="3357563"/>
            <a:ext cx="4152900" cy="3500438"/>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4152900" y="1"/>
            <a:ext cx="3912062" cy="6857518"/>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6" name="Text Placeholder 5">
            <a:extLst>
              <a:ext uri="{FF2B5EF4-FFF2-40B4-BE49-F238E27FC236}">
                <a16:creationId xmlns:a16="http://schemas.microsoft.com/office/drawing/2014/main" id="{899B3B30-291B-0259-955A-B312868ADB24}"/>
              </a:ext>
            </a:extLst>
          </p:cNvPr>
          <p:cNvSpPr>
            <a:spLocks noGrp="1"/>
          </p:cNvSpPr>
          <p:nvPr>
            <p:ph type="body" sz="quarter" idx="15" hasCustomPrompt="1"/>
          </p:nvPr>
        </p:nvSpPr>
        <p:spPr>
          <a:xfrm>
            <a:off x="9104313" y="4376738"/>
            <a:ext cx="2795587" cy="1893887"/>
          </a:xfrm>
        </p:spPr>
        <p:txBody>
          <a:bodyPr/>
          <a:lstStyle>
            <a:lvl1pPr>
              <a:defRPr lang="en-GB" dirty="0" smtClean="0"/>
            </a:lvl1pPr>
            <a:lvl2pPr>
              <a:defRPr lang="en-GB" dirty="0" smtClean="0"/>
            </a:lvl2pPr>
            <a:lvl3pPr>
              <a:defRPr lang="en-GB" dirty="0" smtClean="0"/>
            </a:lvl3pPr>
            <a:lvl4pPr>
              <a:defRPr lang="en-GB" dirty="0" smtClean="0"/>
            </a:lvl4pPr>
            <a:lvl5pPr>
              <a:defRPr lang="en-GB" dirty="0"/>
            </a:lvl5p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2" name="Picture Placeholder 5">
            <a:extLst>
              <a:ext uri="{FF2B5EF4-FFF2-40B4-BE49-F238E27FC236}">
                <a16:creationId xmlns:a16="http://schemas.microsoft.com/office/drawing/2014/main" id="{274C72C0-D5F1-8526-2BDA-0E6460C330CF}"/>
              </a:ext>
            </a:extLst>
          </p:cNvPr>
          <p:cNvSpPr>
            <a:spLocks noGrp="1"/>
          </p:cNvSpPr>
          <p:nvPr>
            <p:ph type="pic" sz="quarter" idx="16" hasCustomPrompt="1"/>
          </p:nvPr>
        </p:nvSpPr>
        <p:spPr>
          <a:xfrm>
            <a:off x="8064961" y="0"/>
            <a:ext cx="4114339" cy="3357563"/>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5" name="Title 4">
            <a:extLst>
              <a:ext uri="{FF2B5EF4-FFF2-40B4-BE49-F238E27FC236}">
                <a16:creationId xmlns:a16="http://schemas.microsoft.com/office/drawing/2014/main" id="{6D8318B1-25E6-EF2C-0244-43CD92F8BF97}"/>
              </a:ext>
            </a:extLst>
          </p:cNvPr>
          <p:cNvSpPr>
            <a:spLocks noGrp="1"/>
          </p:cNvSpPr>
          <p:nvPr>
            <p:ph type="title"/>
          </p:nvPr>
        </p:nvSpPr>
        <p:spPr>
          <a:xfrm>
            <a:off x="288000" y="696913"/>
            <a:ext cx="3770934" cy="1765868"/>
          </a:xfrm>
        </p:spPr>
        <p:txBody>
          <a:bodyPr/>
          <a:lstStyle>
            <a:lvl1pPr>
              <a:defRPr sz="4500"/>
            </a:lvl1pPr>
          </a:lstStyle>
          <a:p>
            <a:r>
              <a:rPr lang="zh-CN" altLang="en-US"/>
              <a:t>单击此处编辑母版标题样式</a:t>
            </a:r>
            <a:endParaRPr lang="en-GB"/>
          </a:p>
        </p:txBody>
      </p:sp>
    </p:spTree>
    <p:extLst>
      <p:ext uri="{BB962C8B-B14F-4D97-AF65-F5344CB8AC3E}">
        <p14:creationId xmlns:p14="http://schemas.microsoft.com/office/powerpoint/2010/main" val="3620334399"/>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Animated Title and Image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0" y="-1"/>
            <a:ext cx="5041900" cy="3357563"/>
          </a:xfrm>
          <a:solidFill>
            <a:schemeClr val="tx2"/>
          </a:solidFill>
        </p:spPr>
        <p:txBody>
          <a:bodyPr vert="horz" lIns="0" tIns="0" rIns="0" bIns="0" rtlCol="0">
            <a:noAutofit/>
          </a:bodyPr>
          <a:lstStyle>
            <a:lvl1pPr marL="0" marR="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6165850" y="3357563"/>
            <a:ext cx="6022552" cy="3499955"/>
          </a:xfrm>
          <a:solidFill>
            <a:schemeClr val="tx2"/>
          </a:solidFill>
        </p:spPr>
        <p:txBody>
          <a:bodyPr vert="horz" lIns="0" tIns="0" rIns="0" bIns="0" rtlCol="0">
            <a:noAutofit/>
          </a:bodyPr>
          <a:lstStyle>
            <a:lvl1pPr marL="0" marR="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2" name="Text Placeholder 5">
            <a:extLst>
              <a:ext uri="{FF2B5EF4-FFF2-40B4-BE49-F238E27FC236}">
                <a16:creationId xmlns:a16="http://schemas.microsoft.com/office/drawing/2014/main" id="{769031AD-BE5D-A3B7-1DEC-6584F4E4BF8D}"/>
              </a:ext>
            </a:extLst>
          </p:cNvPr>
          <p:cNvSpPr>
            <a:spLocks noGrp="1"/>
          </p:cNvSpPr>
          <p:nvPr>
            <p:ph type="body" sz="quarter" idx="12" hasCustomPrompt="1"/>
          </p:nvPr>
        </p:nvSpPr>
        <p:spPr>
          <a:xfrm>
            <a:off x="6165850" y="1306512"/>
            <a:ext cx="5736764" cy="911019"/>
          </a:xfrm>
        </p:spPr>
        <p:txBody>
          <a:bodyPr wrap="square" anchor="ctr">
            <a:spAutoFit/>
          </a:bodyPr>
          <a:lstStyle>
            <a:lvl1pPr>
              <a:lnSpc>
                <a:spcPct val="80000"/>
              </a:lnSpc>
              <a:defRPr sz="7400" b="0" i="0">
                <a:solidFill>
                  <a:schemeClr val="accent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GB"/>
              <a:t>Key text</a:t>
            </a:r>
          </a:p>
        </p:txBody>
      </p:sp>
      <p:sp>
        <p:nvSpPr>
          <p:cNvPr id="13" name="Text Placeholder 5">
            <a:extLst>
              <a:ext uri="{FF2B5EF4-FFF2-40B4-BE49-F238E27FC236}">
                <a16:creationId xmlns:a16="http://schemas.microsoft.com/office/drawing/2014/main" id="{C02A894D-CD72-8370-90B3-68756CDFCBE0}"/>
              </a:ext>
            </a:extLst>
          </p:cNvPr>
          <p:cNvSpPr>
            <a:spLocks noGrp="1"/>
          </p:cNvSpPr>
          <p:nvPr>
            <p:ph type="body" sz="quarter" idx="15" hasCustomPrompt="1"/>
          </p:nvPr>
        </p:nvSpPr>
        <p:spPr>
          <a:xfrm>
            <a:off x="1266825" y="4377028"/>
            <a:ext cx="4754562" cy="911019"/>
          </a:xfrm>
        </p:spPr>
        <p:txBody>
          <a:bodyPr wrap="square" anchor="ctr">
            <a:spAutoFit/>
          </a:bodyPr>
          <a:lstStyle>
            <a:lvl1pPr>
              <a:lnSpc>
                <a:spcPct val="80000"/>
              </a:lnSpc>
              <a:defRPr sz="7400" b="0" i="0">
                <a:solidFill>
                  <a:schemeClr val="accent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GB"/>
              <a:t>goes here</a:t>
            </a:r>
          </a:p>
        </p:txBody>
      </p:sp>
    </p:spTree>
    <p:extLst>
      <p:ext uri="{BB962C8B-B14F-4D97-AF65-F5344CB8AC3E}">
        <p14:creationId xmlns:p14="http://schemas.microsoft.com/office/powerpoint/2010/main" val="1317235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63" presetClass="path" presetSubtype="0" accel="50000" decel="50000" fill="hold" grpId="1" nodeType="withEffect">
                                  <p:stCondLst>
                                    <p:cond delay="0"/>
                                  </p:stCondLst>
                                  <p:childTnLst>
                                    <p:animMotion origin="layout" path="M 1.45833E-6 -4.07407E-6 L 0.03906 -4.07407E-6 " pathEditMode="relative" rAng="0" ptsTypes="AA">
                                      <p:cBhvr>
                                        <p:cTn id="9" dur="1000" spd="-100000" fill="hold"/>
                                        <p:tgtEl>
                                          <p:spTgt spid="12"/>
                                        </p:tgtEl>
                                        <p:attrNameLst>
                                          <p:attrName>ppt_x</p:attrName>
                                          <p:attrName>ppt_y</p:attrName>
                                        </p:attrNameLst>
                                      </p:cBhvr>
                                      <p:rCtr x="1953"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par>
                                <p:cTn id="17" presetID="63" presetClass="path" presetSubtype="0" accel="50000" decel="50000" fill="hold" grpId="1" nodeType="withEffect">
                                  <p:stCondLst>
                                    <p:cond delay="0"/>
                                  </p:stCondLst>
                                  <p:childTnLst>
                                    <p:animMotion origin="layout" path="M -3.33333E-6 -3.7037E-6 L -0.03437 -3.7037E-6 " pathEditMode="relative" rAng="0" ptsTypes="AA">
                                      <p:cBhvr>
                                        <p:cTn id="18" dur="1000" spd="-100000" fill="hold"/>
                                        <p:tgtEl>
                                          <p:spTgt spid="13"/>
                                        </p:tgtEl>
                                        <p:attrNameLst>
                                          <p:attrName>ppt_x</p:attrName>
                                          <p:attrName>ppt_y</p:attrName>
                                        </p:attrNameLst>
                                      </p:cBhvr>
                                      <p:rCtr x="-1719" y="0"/>
                                    </p:animMotion>
                                  </p:childTnLst>
                                </p:cTn>
                              </p:par>
                              <p:par>
                                <p:cTn id="19" presetID="10"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p:tmplLst>
          <p:tmpl>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2" grpId="1"/>
      <p:bldP spid="13" grpId="0">
        <p:tmplLst>
          <p:tmpl>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13" grpId="1"/>
    </p:bld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p:cSld name="Team Slide x 1">
    <p:bg>
      <p:bgPr>
        <a:solidFill>
          <a:schemeClr val="accent1"/>
        </a:solidFill>
        <a:effectLst/>
      </p:bgPr>
    </p:bg>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6170614" y="0"/>
            <a:ext cx="6021385" cy="6858000"/>
          </a:xfrm>
          <a:solidFill>
            <a:schemeClr val="tx2"/>
          </a:solidFill>
        </p:spPr>
        <p:txBody>
          <a:bodyPr vert="horz" lIns="0" tIns="0" rIns="0" bIns="0" rtlCol="0">
            <a:noAutofit/>
          </a:bodyPr>
          <a:lstStyle>
            <a:lvl1pPr>
              <a:defRPr lang="en-GB" dirty="0">
                <a:solidFill>
                  <a:schemeClr val="tx1"/>
                </a:solidFill>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288925" y="5394325"/>
            <a:ext cx="2795587" cy="876300"/>
          </a:xfrm>
        </p:spPr>
        <p:txBody>
          <a:bodyPr anchor="t"/>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5" name="Text Placeholder 7">
            <a:extLst>
              <a:ext uri="{FF2B5EF4-FFF2-40B4-BE49-F238E27FC236}">
                <a16:creationId xmlns:a16="http://schemas.microsoft.com/office/drawing/2014/main" id="{D8DD8F62-9521-0227-75CF-0AE636418711}"/>
              </a:ext>
            </a:extLst>
          </p:cNvPr>
          <p:cNvSpPr>
            <a:spLocks noGrp="1"/>
          </p:cNvSpPr>
          <p:nvPr>
            <p:ph type="body" sz="quarter" idx="15" hasCustomPrompt="1"/>
          </p:nvPr>
        </p:nvSpPr>
        <p:spPr>
          <a:xfrm>
            <a:off x="288925" y="2338388"/>
            <a:ext cx="3778250" cy="189388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GB"/>
              <a:t>Click to add text. Delete if not required.</a:t>
            </a:r>
          </a:p>
          <a:p>
            <a:pPr lvl="1"/>
            <a:r>
              <a:rPr lang="en-GB"/>
              <a:t>Second level</a:t>
            </a:r>
          </a:p>
          <a:p>
            <a:pPr lvl="2"/>
            <a:r>
              <a:rPr lang="en-GB"/>
              <a:t>Third level</a:t>
            </a:r>
          </a:p>
        </p:txBody>
      </p:sp>
      <p:sp>
        <p:nvSpPr>
          <p:cNvPr id="9" name="Title 7">
            <a:extLst>
              <a:ext uri="{FF2B5EF4-FFF2-40B4-BE49-F238E27FC236}">
                <a16:creationId xmlns:a16="http://schemas.microsoft.com/office/drawing/2014/main" id="{B09A4C51-350E-EA65-5ABE-B10E6D298CF1}"/>
              </a:ext>
            </a:extLst>
          </p:cNvPr>
          <p:cNvSpPr>
            <a:spLocks noGrp="1"/>
          </p:cNvSpPr>
          <p:nvPr>
            <p:ph type="title" hasCustomPrompt="1"/>
          </p:nvPr>
        </p:nvSpPr>
        <p:spPr>
          <a:xfrm>
            <a:off x="288303" y="262800"/>
            <a:ext cx="5733085" cy="468590"/>
          </a:xfrm>
        </p:spPr>
        <p:txBody>
          <a:bodyPr/>
          <a:lstStyle>
            <a:lvl1pPr>
              <a:defRPr>
                <a:solidFill>
                  <a:schemeClr val="bg1"/>
                </a:solidFill>
              </a:defRPr>
            </a:lvl1pPr>
          </a:lstStyle>
          <a:p>
            <a:r>
              <a:rPr lang="en-US"/>
              <a:t>Master title style</a:t>
            </a:r>
            <a:endParaRPr lang="en-GB"/>
          </a:p>
        </p:txBody>
      </p:sp>
      <p:sp>
        <p:nvSpPr>
          <p:cNvPr id="2" name="Subtitle 2">
            <a:extLst>
              <a:ext uri="{FF2B5EF4-FFF2-40B4-BE49-F238E27FC236}">
                <a16:creationId xmlns:a16="http://schemas.microsoft.com/office/drawing/2014/main" id="{5751BFC5-7E94-8966-6D2A-5204BCB942D2}"/>
              </a:ext>
            </a:extLst>
          </p:cNvPr>
          <p:cNvSpPr>
            <a:spLocks noGrp="1"/>
          </p:cNvSpPr>
          <p:nvPr>
            <p:ph type="subTitle" idx="16" hasCustomPrompt="1"/>
          </p:nvPr>
        </p:nvSpPr>
        <p:spPr>
          <a:xfrm>
            <a:off x="288302" y="713620"/>
            <a:ext cx="5733085" cy="292965"/>
          </a:xfrm>
        </p:spPr>
        <p:txBody>
          <a:bodyPr vert="horz" wrap="square" lIns="0" tIns="0" rIns="0" bIns="0" rtlCol="0" anchor="t">
            <a:spAutoFit/>
          </a:bodyPr>
          <a:lstStyle>
            <a:lvl1pPr>
              <a:defRPr lang="en-GB" b="1" dirty="0">
                <a:solidFill>
                  <a:schemeClr val="bg1"/>
                </a:solidFill>
              </a:defRPr>
            </a:lvl1pPr>
          </a:lstStyle>
          <a:p>
            <a:pPr lvl="0"/>
            <a:r>
              <a:rPr lang="en-GB"/>
              <a:t>Subtitle. Delete if not required.</a:t>
            </a:r>
          </a:p>
        </p:txBody>
      </p:sp>
      <p:sp>
        <p:nvSpPr>
          <p:cNvPr id="3" name="Graphic 8">
            <a:extLst>
              <a:ext uri="{FF2B5EF4-FFF2-40B4-BE49-F238E27FC236}">
                <a16:creationId xmlns:a16="http://schemas.microsoft.com/office/drawing/2014/main" id="{C40E4DC1-BB74-3975-DFE6-D6234B08E410}"/>
              </a:ext>
            </a:extLst>
          </p:cNvPr>
          <p:cNvSpPr>
            <a:spLocks noChangeAspect="1"/>
          </p:cNvSpPr>
          <p:nvPr/>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a:p>
        </p:txBody>
      </p:sp>
    </p:spTree>
    <p:extLst>
      <p:ext uri="{BB962C8B-B14F-4D97-AF65-F5344CB8AC3E}">
        <p14:creationId xmlns:p14="http://schemas.microsoft.com/office/powerpoint/2010/main" val="10365597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F7510D54-8AF6-FB56-756F-08A956F574D9}"/>
              </a:ext>
            </a:extLst>
          </p:cNvPr>
          <p:cNvSpPr>
            <a:spLocks noGrp="1"/>
          </p:cNvSpPr>
          <p:nvPr>
            <p:ph type="title"/>
          </p:nvPr>
        </p:nvSpPr>
        <p:spPr>
          <a:xfrm>
            <a:off x="288303" y="262267"/>
            <a:ext cx="6713538" cy="457818"/>
          </a:xfrm>
        </p:spPr>
        <p:txBody>
          <a:bodyPr/>
          <a:lstStyle/>
          <a:p>
            <a:r>
              <a:rPr lang="en-US"/>
              <a:t>Click to edit Master title style</a:t>
            </a:r>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822449"/>
            <a:ext cx="2793541" cy="4448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6165853" y="1822450"/>
            <a:ext cx="2795586" cy="44481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73E966BC-48D6-0237-3D83-9F8CB77DC975}"/>
              </a:ext>
            </a:extLst>
          </p:cNvPr>
          <p:cNvSpPr>
            <a:spLocks noGrp="1"/>
          </p:cNvSpPr>
          <p:nvPr>
            <p:ph idx="14"/>
          </p:nvPr>
        </p:nvSpPr>
        <p:spPr>
          <a:xfrm>
            <a:off x="3225801" y="1822450"/>
            <a:ext cx="2793542" cy="44481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2">
            <a:extLst>
              <a:ext uri="{FF2B5EF4-FFF2-40B4-BE49-F238E27FC236}">
                <a16:creationId xmlns:a16="http://schemas.microsoft.com/office/drawing/2014/main" id="{48B10B95-D320-4FA6-98CE-883417C5DC22}"/>
              </a:ext>
            </a:extLst>
          </p:cNvPr>
          <p:cNvSpPr>
            <a:spLocks noGrp="1"/>
          </p:cNvSpPr>
          <p:nvPr>
            <p:ph idx="15"/>
          </p:nvPr>
        </p:nvSpPr>
        <p:spPr>
          <a:xfrm>
            <a:off x="9104313" y="1822450"/>
            <a:ext cx="2795587" cy="44481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7">
            <a:extLst>
              <a:ext uri="{FF2B5EF4-FFF2-40B4-BE49-F238E27FC236}">
                <a16:creationId xmlns:a16="http://schemas.microsoft.com/office/drawing/2014/main" id="{E3C7D5F1-8B5D-5312-7A0B-9754F64800D3}"/>
              </a:ext>
            </a:extLst>
          </p:cNvPr>
          <p:cNvSpPr>
            <a:spLocks noGrp="1"/>
          </p:cNvSpPr>
          <p:nvPr>
            <p:ph type="body" sz="quarter" idx="16"/>
          </p:nvPr>
        </p:nvSpPr>
        <p:spPr>
          <a:xfrm>
            <a:off x="8124205" y="295200"/>
            <a:ext cx="3778870" cy="876375"/>
          </a:xfrm>
        </p:spPr>
        <p:txBody>
          <a:bodyPr/>
          <a:lstStyle>
            <a:lvl1pPr>
              <a:defRPr sz="1400"/>
            </a:lvl1pPr>
            <a:lvl2pPr>
              <a:defRPr sz="1400"/>
            </a:lvl2pPr>
            <a:lvl3pPr>
              <a:defRPr sz="1200"/>
            </a:lvl3pPr>
          </a:lstStyle>
          <a:p>
            <a:pPr lvl="0"/>
            <a:r>
              <a:rPr lang="en-US"/>
              <a:t>Click to edit Master text styles</a:t>
            </a:r>
          </a:p>
          <a:p>
            <a:pPr lvl="1"/>
            <a:r>
              <a:rPr lang="en-US"/>
              <a:t>Second level</a:t>
            </a:r>
          </a:p>
          <a:p>
            <a:pPr lvl="2"/>
            <a:r>
              <a:rPr lang="en-US"/>
              <a:t>Third level</a:t>
            </a:r>
          </a:p>
        </p:txBody>
      </p:sp>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r>
              <a:rPr lang="en-US"/>
              <a:t>Job Aid and Guidance Document still under review.</a:t>
            </a:r>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2" name="Subtitle 2">
            <a:extLst>
              <a:ext uri="{FF2B5EF4-FFF2-40B4-BE49-F238E27FC236}">
                <a16:creationId xmlns:a16="http://schemas.microsoft.com/office/drawing/2014/main" id="{722B44CB-D9B7-ACB7-EC09-74A55C85B1AA}"/>
              </a:ext>
            </a:extLst>
          </p:cNvPr>
          <p:cNvSpPr>
            <a:spLocks noGrp="1"/>
          </p:cNvSpPr>
          <p:nvPr>
            <p:ph type="subTitle" idx="17" hasCustomPrompt="1"/>
          </p:nvPr>
        </p:nvSpPr>
        <p:spPr>
          <a:xfrm>
            <a:off x="288302" y="713620"/>
            <a:ext cx="6713538"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178486293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p:cSld name="Team Slide x 1-2">
    <p:bg>
      <p:bgPr>
        <a:solidFill>
          <a:schemeClr val="accent1"/>
        </a:solidFill>
        <a:effectLst/>
      </p:bgPr>
    </p:bg>
    <p:spTree>
      <p:nvGrpSpPr>
        <p:cNvPr id="1" name=""/>
        <p:cNvGrpSpPr/>
        <p:nvPr/>
      </p:nvGrpSpPr>
      <p:grpSpPr>
        <a:xfrm>
          <a:off x="0" y="0"/>
          <a:ext cx="0" cy="0"/>
          <a:chOff x="0" y="0"/>
          <a:chExt cx="0" cy="0"/>
        </a:xfrm>
      </p:grpSpPr>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8124825" y="285158"/>
            <a:ext cx="3775075" cy="3947118"/>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8124825" y="4376739"/>
            <a:ext cx="3775075" cy="1389062"/>
          </a:xfrm>
        </p:spPr>
        <p:txBody>
          <a:bodyPr/>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 name="Text Placeholder 7">
            <a:extLst>
              <a:ext uri="{FF2B5EF4-FFF2-40B4-BE49-F238E27FC236}">
                <a16:creationId xmlns:a16="http://schemas.microsoft.com/office/drawing/2014/main" id="{AE887C0B-D804-38AD-7676-333BDBFC1AF7}"/>
              </a:ext>
            </a:extLst>
          </p:cNvPr>
          <p:cNvSpPr>
            <a:spLocks noGrp="1"/>
          </p:cNvSpPr>
          <p:nvPr>
            <p:ph type="body" sz="quarter" idx="15" hasCustomPrompt="1"/>
          </p:nvPr>
        </p:nvSpPr>
        <p:spPr>
          <a:xfrm>
            <a:off x="288925" y="4376739"/>
            <a:ext cx="3778250" cy="1389062"/>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GB"/>
              <a:t>Click to add text. Delete if not required.</a:t>
            </a:r>
          </a:p>
          <a:p>
            <a:pPr lvl="1"/>
            <a:r>
              <a:rPr lang="en-GB"/>
              <a:t>Second level</a:t>
            </a:r>
          </a:p>
          <a:p>
            <a:pPr lvl="2"/>
            <a:r>
              <a:rPr lang="en-GB"/>
              <a:t>Third level</a:t>
            </a:r>
          </a:p>
        </p:txBody>
      </p:sp>
      <p:sp>
        <p:nvSpPr>
          <p:cNvPr id="2" name="Picture Placeholder 3">
            <a:extLst>
              <a:ext uri="{FF2B5EF4-FFF2-40B4-BE49-F238E27FC236}">
                <a16:creationId xmlns:a16="http://schemas.microsoft.com/office/drawing/2014/main" id="{AE4666F2-0E72-5C8A-DFF8-2DD7C6E4BAAE}"/>
              </a:ext>
            </a:extLst>
          </p:cNvPr>
          <p:cNvSpPr>
            <a:spLocks noGrp="1"/>
          </p:cNvSpPr>
          <p:nvPr>
            <p:ph type="pic" sz="quarter" idx="25" hasCustomPrompt="1"/>
          </p:nvPr>
        </p:nvSpPr>
        <p:spPr>
          <a:xfrm>
            <a:off x="4207732" y="285158"/>
            <a:ext cx="3775075" cy="3947118"/>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4207732" y="4376739"/>
            <a:ext cx="3775075" cy="1389062"/>
          </a:xfrm>
        </p:spPr>
        <p:txBody>
          <a:bodyPr/>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0" name="Title 7">
            <a:extLst>
              <a:ext uri="{FF2B5EF4-FFF2-40B4-BE49-F238E27FC236}">
                <a16:creationId xmlns:a16="http://schemas.microsoft.com/office/drawing/2014/main" id="{E80529FD-0171-E552-588C-C152AED56261}"/>
              </a:ext>
            </a:extLst>
          </p:cNvPr>
          <p:cNvSpPr>
            <a:spLocks noGrp="1"/>
          </p:cNvSpPr>
          <p:nvPr>
            <p:ph type="title" hasCustomPrompt="1"/>
          </p:nvPr>
        </p:nvSpPr>
        <p:spPr>
          <a:xfrm>
            <a:off x="288303" y="262800"/>
            <a:ext cx="3775073" cy="454529"/>
          </a:xfrm>
        </p:spPr>
        <p:txBody>
          <a:bodyPr/>
          <a:lstStyle>
            <a:lvl1pPr>
              <a:defRPr>
                <a:solidFill>
                  <a:schemeClr val="bg1"/>
                </a:solidFill>
              </a:defRPr>
            </a:lvl1pPr>
          </a:lstStyle>
          <a:p>
            <a:r>
              <a:rPr lang="en-US"/>
              <a:t>Master title style</a:t>
            </a:r>
            <a:endParaRPr lang="en-GB"/>
          </a:p>
        </p:txBody>
      </p:sp>
      <p:sp>
        <p:nvSpPr>
          <p:cNvPr id="5" name="Subtitle 2">
            <a:extLst>
              <a:ext uri="{FF2B5EF4-FFF2-40B4-BE49-F238E27FC236}">
                <a16:creationId xmlns:a16="http://schemas.microsoft.com/office/drawing/2014/main" id="{EA79EF84-4162-265E-6156-177364480E50}"/>
              </a:ext>
            </a:extLst>
          </p:cNvPr>
          <p:cNvSpPr>
            <a:spLocks noGrp="1"/>
          </p:cNvSpPr>
          <p:nvPr>
            <p:ph type="subTitle" idx="16" hasCustomPrompt="1"/>
          </p:nvPr>
        </p:nvSpPr>
        <p:spPr>
          <a:xfrm>
            <a:off x="288302" y="713620"/>
            <a:ext cx="3775075" cy="292965"/>
          </a:xfrm>
        </p:spPr>
        <p:txBody>
          <a:bodyPr vert="horz" wrap="square" lIns="0" tIns="0" rIns="0" bIns="0" rtlCol="0" anchor="t">
            <a:spAutoFit/>
          </a:bodyPr>
          <a:lstStyle>
            <a:lvl1pPr>
              <a:defRPr lang="en-GB" b="1" dirty="0">
                <a:solidFill>
                  <a:schemeClr val="bg1"/>
                </a:solidFill>
              </a:defRPr>
            </a:lvl1pPr>
          </a:lstStyle>
          <a:p>
            <a:pPr lvl="0"/>
            <a:r>
              <a:rPr lang="en-GB"/>
              <a:t>Subtitle. Delete if not required.</a:t>
            </a:r>
          </a:p>
        </p:txBody>
      </p:sp>
      <p:sp>
        <p:nvSpPr>
          <p:cNvPr id="13" name="Footer Placeholder 4">
            <a:extLst>
              <a:ext uri="{FF2B5EF4-FFF2-40B4-BE49-F238E27FC236}">
                <a16:creationId xmlns:a16="http://schemas.microsoft.com/office/drawing/2014/main" id="{99B23211-718F-C72D-C415-24096BDEEB7A}"/>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bg1"/>
                </a:solidFill>
                <a:latin typeface="+mn-lt"/>
              </a:defRPr>
            </a:lvl1pPr>
          </a:lstStyle>
          <a:p>
            <a:pPr>
              <a:spcBef>
                <a:spcPts val="0"/>
              </a:spcBef>
              <a:spcAft>
                <a:spcPts val="300"/>
              </a:spcAft>
            </a:pPr>
            <a:r>
              <a:rPr lang="en-US"/>
              <a:t>Job Aid and Guidance Document still under review.</a:t>
            </a:r>
          </a:p>
        </p:txBody>
      </p:sp>
      <p:sp>
        <p:nvSpPr>
          <p:cNvPr id="7" name="Slide Number Placeholder 5">
            <a:extLst>
              <a:ext uri="{FF2B5EF4-FFF2-40B4-BE49-F238E27FC236}">
                <a16:creationId xmlns:a16="http://schemas.microsoft.com/office/drawing/2014/main" id="{90BAE1C4-8C53-F889-33BD-2F49ACEA13D8}"/>
              </a:ext>
            </a:extLst>
          </p:cNvPr>
          <p:cNvSpPr>
            <a:spLocks noGrp="1"/>
          </p:cNvSpPr>
          <p:nvPr>
            <p:ph type="sldNum" sz="quarter" idx="12"/>
          </p:nvPr>
        </p:nvSpPr>
        <p:spPr>
          <a:xfrm>
            <a:off x="11581942" y="6433878"/>
            <a:ext cx="320674" cy="153463"/>
          </a:xfrm>
        </p:spPr>
        <p:txBody>
          <a:bodyPr/>
          <a:lstStyle>
            <a:lvl1pPr>
              <a:defRPr>
                <a:solidFill>
                  <a:schemeClr val="bg1"/>
                </a:solidFill>
              </a:defRPr>
            </a:lvl1pPr>
          </a:lstStyle>
          <a:p>
            <a:fld id="{AEC8D767-5246-2244-A4A3-B8AFB218393C}" type="slidenum">
              <a:rPr lang="en-GB" smtClean="0"/>
              <a:pPr/>
              <a:t>‹#›</a:t>
            </a:fld>
            <a:endParaRPr lang="en-GB"/>
          </a:p>
        </p:txBody>
      </p:sp>
      <p:sp>
        <p:nvSpPr>
          <p:cNvPr id="9" name="Graphic 8">
            <a:extLst>
              <a:ext uri="{FF2B5EF4-FFF2-40B4-BE49-F238E27FC236}">
                <a16:creationId xmlns:a16="http://schemas.microsoft.com/office/drawing/2014/main" id="{482CECF5-BBCB-3C3C-5C16-98CE56519A6A}"/>
              </a:ext>
            </a:extLst>
          </p:cNvPr>
          <p:cNvSpPr>
            <a:spLocks noChangeAspect="1"/>
          </p:cNvSpPr>
          <p:nvPr/>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a:p>
        </p:txBody>
      </p:sp>
    </p:spTree>
    <p:extLst>
      <p:ext uri="{BB962C8B-B14F-4D97-AF65-F5344CB8AC3E}">
        <p14:creationId xmlns:p14="http://schemas.microsoft.com/office/powerpoint/2010/main" val="164541942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p:cSld name="Team Slide x 3">
    <p:bg>
      <p:bgPr>
        <a:solidFill>
          <a:schemeClr val="accent1"/>
        </a:solidFill>
        <a:effectLst/>
      </p:bgPr>
    </p:bg>
    <p:spTree>
      <p:nvGrpSpPr>
        <p:cNvPr id="1" name=""/>
        <p:cNvGrpSpPr/>
        <p:nvPr/>
      </p:nvGrpSpPr>
      <p:grpSpPr>
        <a:xfrm>
          <a:off x="0" y="0"/>
          <a:ext cx="0" cy="0"/>
          <a:chOff x="0" y="0"/>
          <a:chExt cx="0" cy="0"/>
        </a:xfrm>
      </p:grpSpPr>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6161089" y="1309284"/>
            <a:ext cx="2795588" cy="2922992"/>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6161088" y="4376739"/>
            <a:ext cx="2797905" cy="1389062"/>
          </a:xfrm>
        </p:spPr>
        <p:txBody>
          <a:bodyPr/>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 name="Picture Placeholder 3">
            <a:extLst>
              <a:ext uri="{FF2B5EF4-FFF2-40B4-BE49-F238E27FC236}">
                <a16:creationId xmlns:a16="http://schemas.microsoft.com/office/drawing/2014/main" id="{AE4666F2-0E72-5C8A-DFF8-2DD7C6E4BAAE}"/>
              </a:ext>
            </a:extLst>
          </p:cNvPr>
          <p:cNvSpPr>
            <a:spLocks noGrp="1"/>
          </p:cNvSpPr>
          <p:nvPr>
            <p:ph type="pic" sz="quarter" idx="25" hasCustomPrompt="1"/>
          </p:nvPr>
        </p:nvSpPr>
        <p:spPr>
          <a:xfrm>
            <a:off x="3225801" y="1309284"/>
            <a:ext cx="2795588" cy="2922992"/>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3225800" y="4376739"/>
            <a:ext cx="2794731" cy="1389062"/>
          </a:xfrm>
        </p:spPr>
        <p:txBody>
          <a:bodyPr/>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9" name="Picture Placeholder 3">
            <a:extLst>
              <a:ext uri="{FF2B5EF4-FFF2-40B4-BE49-F238E27FC236}">
                <a16:creationId xmlns:a16="http://schemas.microsoft.com/office/drawing/2014/main" id="{2D83ADDB-0799-3ABA-AFB5-0EF907EBBC1C}"/>
              </a:ext>
            </a:extLst>
          </p:cNvPr>
          <p:cNvSpPr>
            <a:spLocks noGrp="1"/>
          </p:cNvSpPr>
          <p:nvPr>
            <p:ph type="pic" sz="quarter" idx="27" hasCustomPrompt="1"/>
          </p:nvPr>
        </p:nvSpPr>
        <p:spPr>
          <a:xfrm>
            <a:off x="9119384" y="1309284"/>
            <a:ext cx="2795588" cy="2922992"/>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10" name="Text Placeholder 10">
            <a:extLst>
              <a:ext uri="{FF2B5EF4-FFF2-40B4-BE49-F238E27FC236}">
                <a16:creationId xmlns:a16="http://schemas.microsoft.com/office/drawing/2014/main" id="{5A40ED4D-9D7E-FA31-0E92-48608769B8DC}"/>
              </a:ext>
            </a:extLst>
          </p:cNvPr>
          <p:cNvSpPr>
            <a:spLocks noGrp="1"/>
          </p:cNvSpPr>
          <p:nvPr>
            <p:ph type="body" sz="quarter" idx="28" hasCustomPrompt="1"/>
          </p:nvPr>
        </p:nvSpPr>
        <p:spPr>
          <a:xfrm>
            <a:off x="9119383" y="4376739"/>
            <a:ext cx="2797905" cy="1389062"/>
          </a:xfrm>
        </p:spPr>
        <p:txBody>
          <a:bodyPr/>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8" name="Text Placeholder 7">
            <a:extLst>
              <a:ext uri="{FF2B5EF4-FFF2-40B4-BE49-F238E27FC236}">
                <a16:creationId xmlns:a16="http://schemas.microsoft.com/office/drawing/2014/main" id="{048FEEB1-636D-38E4-1003-F9C2F0009989}"/>
              </a:ext>
            </a:extLst>
          </p:cNvPr>
          <p:cNvSpPr>
            <a:spLocks noGrp="1"/>
          </p:cNvSpPr>
          <p:nvPr>
            <p:ph type="body" sz="quarter" idx="15" hasCustomPrompt="1"/>
          </p:nvPr>
        </p:nvSpPr>
        <p:spPr>
          <a:xfrm>
            <a:off x="288925" y="4376739"/>
            <a:ext cx="2776485" cy="1389062"/>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GB"/>
              <a:t>Click to add text. Delete if not required.</a:t>
            </a:r>
          </a:p>
          <a:p>
            <a:pPr lvl="1"/>
            <a:r>
              <a:rPr lang="en-GB"/>
              <a:t>Second level</a:t>
            </a:r>
          </a:p>
          <a:p>
            <a:pPr lvl="2"/>
            <a:r>
              <a:rPr lang="en-GB"/>
              <a:t>Third level</a:t>
            </a:r>
          </a:p>
        </p:txBody>
      </p:sp>
      <p:sp>
        <p:nvSpPr>
          <p:cNvPr id="12" name="Title 11">
            <a:extLst>
              <a:ext uri="{FF2B5EF4-FFF2-40B4-BE49-F238E27FC236}">
                <a16:creationId xmlns:a16="http://schemas.microsoft.com/office/drawing/2014/main" id="{C45B8B1D-DD68-528A-E1DB-9EC7F9835CC4}"/>
              </a:ext>
            </a:extLst>
          </p:cNvPr>
          <p:cNvSpPr>
            <a:spLocks noGrp="1"/>
          </p:cNvSpPr>
          <p:nvPr>
            <p:ph type="title"/>
          </p:nvPr>
        </p:nvSpPr>
        <p:spPr>
          <a:xfrm>
            <a:off x="288303" y="262800"/>
            <a:ext cx="9649446" cy="468590"/>
          </a:xfrm>
        </p:spPr>
        <p:txBody>
          <a:bodyPr/>
          <a:lstStyle>
            <a:lvl1pPr>
              <a:defRPr>
                <a:solidFill>
                  <a:schemeClr val="bg1"/>
                </a:solidFill>
              </a:defRPr>
            </a:lvl1pPr>
          </a:lstStyle>
          <a:p>
            <a:r>
              <a:rPr lang="zh-CN" altLang="en-US"/>
              <a:t>单击此处编辑母版标题样式</a:t>
            </a:r>
            <a:endParaRPr lang="en-GB"/>
          </a:p>
        </p:txBody>
      </p:sp>
      <p:sp>
        <p:nvSpPr>
          <p:cNvPr id="3" name="Subtitle 2">
            <a:extLst>
              <a:ext uri="{FF2B5EF4-FFF2-40B4-BE49-F238E27FC236}">
                <a16:creationId xmlns:a16="http://schemas.microsoft.com/office/drawing/2014/main" id="{A56CA54C-86BC-245E-8EEE-F0C02489F097}"/>
              </a:ext>
            </a:extLst>
          </p:cNvPr>
          <p:cNvSpPr>
            <a:spLocks noGrp="1"/>
          </p:cNvSpPr>
          <p:nvPr>
            <p:ph type="subTitle" idx="16" hasCustomPrompt="1"/>
          </p:nvPr>
        </p:nvSpPr>
        <p:spPr>
          <a:xfrm>
            <a:off x="288301" y="713620"/>
            <a:ext cx="9649445" cy="292965"/>
          </a:xfrm>
        </p:spPr>
        <p:txBody>
          <a:bodyPr vert="horz" wrap="square" lIns="0" tIns="0" rIns="0" bIns="0" rtlCol="0" anchor="t">
            <a:spAutoFit/>
          </a:bodyPr>
          <a:lstStyle>
            <a:lvl1pPr>
              <a:defRPr lang="en-GB" b="1" dirty="0">
                <a:solidFill>
                  <a:schemeClr val="bg1"/>
                </a:solidFill>
              </a:defRPr>
            </a:lvl1pPr>
          </a:lstStyle>
          <a:p>
            <a:pPr lvl="0"/>
            <a:r>
              <a:rPr lang="en-GB"/>
              <a:t>Subtitle. Delete if not required.</a:t>
            </a:r>
          </a:p>
        </p:txBody>
      </p:sp>
      <p:sp>
        <p:nvSpPr>
          <p:cNvPr id="15" name="Footer Placeholder 4">
            <a:extLst>
              <a:ext uri="{FF2B5EF4-FFF2-40B4-BE49-F238E27FC236}">
                <a16:creationId xmlns:a16="http://schemas.microsoft.com/office/drawing/2014/main" id="{8498F38D-E287-CD9F-9BFC-10B3256FE9BE}"/>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bg1"/>
                </a:solidFill>
                <a:latin typeface="+mn-lt"/>
              </a:defRPr>
            </a:lvl1pPr>
          </a:lstStyle>
          <a:p>
            <a:pPr>
              <a:spcBef>
                <a:spcPts val="0"/>
              </a:spcBef>
              <a:spcAft>
                <a:spcPts val="300"/>
              </a:spcAft>
            </a:pPr>
            <a:r>
              <a:rPr lang="en-US"/>
              <a:t>Job Aid and Guidance Document still under review.</a:t>
            </a:r>
          </a:p>
        </p:txBody>
      </p:sp>
      <p:sp>
        <p:nvSpPr>
          <p:cNvPr id="7" name="Slide Number Placeholder 5">
            <a:extLst>
              <a:ext uri="{FF2B5EF4-FFF2-40B4-BE49-F238E27FC236}">
                <a16:creationId xmlns:a16="http://schemas.microsoft.com/office/drawing/2014/main" id="{7429701B-BA59-63AC-184E-531FE07F601E}"/>
              </a:ext>
            </a:extLst>
          </p:cNvPr>
          <p:cNvSpPr>
            <a:spLocks noGrp="1"/>
          </p:cNvSpPr>
          <p:nvPr>
            <p:ph type="sldNum" sz="quarter" idx="12"/>
          </p:nvPr>
        </p:nvSpPr>
        <p:spPr>
          <a:xfrm>
            <a:off x="11581942" y="6433878"/>
            <a:ext cx="320674" cy="153463"/>
          </a:xfrm>
        </p:spPr>
        <p:txBody>
          <a:bodyPr/>
          <a:lstStyle>
            <a:lvl1pPr>
              <a:defRPr>
                <a:solidFill>
                  <a:schemeClr val="bg1"/>
                </a:solidFill>
              </a:defRPr>
            </a:lvl1pPr>
          </a:lstStyle>
          <a:p>
            <a:fld id="{AEC8D767-5246-2244-A4A3-B8AFB218393C}" type="slidenum">
              <a:rPr lang="en-GB" smtClean="0"/>
              <a:pPr/>
              <a:t>‹#›</a:t>
            </a:fld>
            <a:endParaRPr lang="en-GB"/>
          </a:p>
        </p:txBody>
      </p:sp>
      <p:sp>
        <p:nvSpPr>
          <p:cNvPr id="6" name="Graphic 8">
            <a:extLst>
              <a:ext uri="{FF2B5EF4-FFF2-40B4-BE49-F238E27FC236}">
                <a16:creationId xmlns:a16="http://schemas.microsoft.com/office/drawing/2014/main" id="{9E2456D6-0DCE-CB9D-60A5-2CD05AD6A4F2}"/>
              </a:ext>
            </a:extLst>
          </p:cNvPr>
          <p:cNvSpPr>
            <a:spLocks noChangeAspect="1"/>
          </p:cNvSpPr>
          <p:nvPr/>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a:p>
        </p:txBody>
      </p:sp>
    </p:spTree>
    <p:extLst>
      <p:ext uri="{BB962C8B-B14F-4D97-AF65-F5344CB8AC3E}">
        <p14:creationId xmlns:p14="http://schemas.microsoft.com/office/powerpoint/2010/main" val="96048046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eam Slide x 4">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6161089" y="1309284"/>
            <a:ext cx="2795588" cy="2922992"/>
          </a:xfrm>
          <a:solidFill>
            <a:schemeClr val="tx2"/>
          </a:solidFill>
        </p:spPr>
        <p:txBody>
          <a:bodyPr vert="horz" lIns="0" tIns="0" rIns="0" bIns="0" rtlCol="0">
            <a:noAutofit/>
          </a:bodyPr>
          <a:lstStyle>
            <a:lvl1pPr>
              <a:defRPr lang="en-GB" sz="16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6161088" y="4376739"/>
            <a:ext cx="2797905"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 name="Picture Placeholder 3">
            <a:extLst>
              <a:ext uri="{FF2B5EF4-FFF2-40B4-BE49-F238E27FC236}">
                <a16:creationId xmlns:a16="http://schemas.microsoft.com/office/drawing/2014/main" id="{AE4666F2-0E72-5C8A-DFF8-2DD7C6E4BAAE}"/>
              </a:ext>
            </a:extLst>
          </p:cNvPr>
          <p:cNvSpPr>
            <a:spLocks noGrp="1"/>
          </p:cNvSpPr>
          <p:nvPr>
            <p:ph type="pic" sz="quarter" idx="25" hasCustomPrompt="1"/>
          </p:nvPr>
        </p:nvSpPr>
        <p:spPr>
          <a:xfrm>
            <a:off x="3225801" y="1309284"/>
            <a:ext cx="2795588" cy="2922992"/>
          </a:xfrm>
          <a:solidFill>
            <a:schemeClr val="tx2"/>
          </a:solidFill>
        </p:spPr>
        <p:txBody>
          <a:bodyPr vert="horz" lIns="0" tIns="0" rIns="0" bIns="0" rtlCol="0">
            <a:noAutofit/>
          </a:bodyPr>
          <a:lstStyle>
            <a:lvl1pPr>
              <a:defRPr lang="en-GB" sz="16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3225800" y="4376739"/>
            <a:ext cx="2794731"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9" name="Picture Placeholder 3">
            <a:extLst>
              <a:ext uri="{FF2B5EF4-FFF2-40B4-BE49-F238E27FC236}">
                <a16:creationId xmlns:a16="http://schemas.microsoft.com/office/drawing/2014/main" id="{2D83ADDB-0799-3ABA-AFB5-0EF907EBBC1C}"/>
              </a:ext>
            </a:extLst>
          </p:cNvPr>
          <p:cNvSpPr>
            <a:spLocks noGrp="1"/>
          </p:cNvSpPr>
          <p:nvPr>
            <p:ph type="pic" sz="quarter" idx="27" hasCustomPrompt="1"/>
          </p:nvPr>
        </p:nvSpPr>
        <p:spPr>
          <a:xfrm>
            <a:off x="9119384" y="1309284"/>
            <a:ext cx="2795588" cy="2922992"/>
          </a:xfrm>
          <a:solidFill>
            <a:schemeClr val="tx2"/>
          </a:solidFill>
        </p:spPr>
        <p:txBody>
          <a:bodyPr vert="horz" lIns="0" tIns="0" rIns="0" bIns="0" rtlCol="0">
            <a:noAutofit/>
          </a:bodyPr>
          <a:lstStyle>
            <a:lvl1pPr>
              <a:defRPr lang="en-GB" sz="16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10" name="Text Placeholder 10">
            <a:extLst>
              <a:ext uri="{FF2B5EF4-FFF2-40B4-BE49-F238E27FC236}">
                <a16:creationId xmlns:a16="http://schemas.microsoft.com/office/drawing/2014/main" id="{5A40ED4D-9D7E-FA31-0E92-48608769B8DC}"/>
              </a:ext>
            </a:extLst>
          </p:cNvPr>
          <p:cNvSpPr>
            <a:spLocks noGrp="1"/>
          </p:cNvSpPr>
          <p:nvPr>
            <p:ph type="body" sz="quarter" idx="28" hasCustomPrompt="1"/>
          </p:nvPr>
        </p:nvSpPr>
        <p:spPr>
          <a:xfrm>
            <a:off x="9119383" y="4376739"/>
            <a:ext cx="2797905"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1" name="Picture Placeholder 3">
            <a:extLst>
              <a:ext uri="{FF2B5EF4-FFF2-40B4-BE49-F238E27FC236}">
                <a16:creationId xmlns:a16="http://schemas.microsoft.com/office/drawing/2014/main" id="{F5068F87-7E7A-B5CF-3CBC-E18B6DD0D732}"/>
              </a:ext>
            </a:extLst>
          </p:cNvPr>
          <p:cNvSpPr>
            <a:spLocks noGrp="1"/>
          </p:cNvSpPr>
          <p:nvPr>
            <p:ph type="pic" sz="quarter" idx="29" hasCustomPrompt="1"/>
          </p:nvPr>
        </p:nvSpPr>
        <p:spPr>
          <a:xfrm>
            <a:off x="291479" y="1309284"/>
            <a:ext cx="2795588" cy="2922992"/>
          </a:xfrm>
          <a:solidFill>
            <a:schemeClr val="tx2"/>
          </a:solidFill>
        </p:spPr>
        <p:txBody>
          <a:bodyPr vert="horz" lIns="0" tIns="0" rIns="0" bIns="0" rtlCol="0">
            <a:noAutofit/>
          </a:bodyPr>
          <a:lstStyle>
            <a:lvl1pPr>
              <a:defRPr lang="en-GB" sz="16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12" name="Text Placeholder 10">
            <a:extLst>
              <a:ext uri="{FF2B5EF4-FFF2-40B4-BE49-F238E27FC236}">
                <a16:creationId xmlns:a16="http://schemas.microsoft.com/office/drawing/2014/main" id="{B4F951B9-FA91-8764-4AF1-2302D32F8D5A}"/>
              </a:ext>
            </a:extLst>
          </p:cNvPr>
          <p:cNvSpPr>
            <a:spLocks noGrp="1"/>
          </p:cNvSpPr>
          <p:nvPr>
            <p:ph type="body" sz="quarter" idx="30" hasCustomPrompt="1"/>
          </p:nvPr>
        </p:nvSpPr>
        <p:spPr>
          <a:xfrm>
            <a:off x="291478" y="4376739"/>
            <a:ext cx="2794731"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 name="Text Placeholder 7">
            <a:extLst>
              <a:ext uri="{FF2B5EF4-FFF2-40B4-BE49-F238E27FC236}">
                <a16:creationId xmlns:a16="http://schemas.microsoft.com/office/drawing/2014/main" id="{5F91C3EF-5967-CDBE-EACE-2531D873C36A}"/>
              </a:ext>
            </a:extLst>
          </p:cNvPr>
          <p:cNvSpPr>
            <a:spLocks noGrp="1"/>
          </p:cNvSpPr>
          <p:nvPr>
            <p:ph type="body" sz="quarter" idx="31" hasCustomPrompt="1"/>
          </p:nvPr>
        </p:nvSpPr>
        <p:spPr>
          <a:xfrm>
            <a:off x="8125200" y="293525"/>
            <a:ext cx="3778870" cy="878050"/>
          </a:xfrm>
        </p:spPr>
        <p:txBody>
          <a:bodyPr/>
          <a:lstStyle>
            <a:lvl1pPr>
              <a:defRPr sz="1400"/>
            </a:lvl1pPr>
            <a:lvl2pPr>
              <a:defRPr sz="1400"/>
            </a:lvl2pPr>
            <a:lvl3pPr>
              <a:defRPr sz="1200"/>
            </a:lvl3pPr>
          </a:lstStyle>
          <a:p>
            <a:pPr lvl="0"/>
            <a:r>
              <a:rPr lang="en-GB"/>
              <a:t>Click to add text. Delete if not required.</a:t>
            </a:r>
          </a:p>
          <a:p>
            <a:pPr lvl="1"/>
            <a:r>
              <a:rPr lang="en-GB"/>
              <a:t>Second level</a:t>
            </a:r>
          </a:p>
          <a:p>
            <a:pPr lvl="2"/>
            <a:r>
              <a:rPr lang="en-GB"/>
              <a:t>Third level</a:t>
            </a:r>
          </a:p>
        </p:txBody>
      </p:sp>
      <p:sp>
        <p:nvSpPr>
          <p:cNvPr id="13" name="Title 7">
            <a:extLst>
              <a:ext uri="{FF2B5EF4-FFF2-40B4-BE49-F238E27FC236}">
                <a16:creationId xmlns:a16="http://schemas.microsoft.com/office/drawing/2014/main" id="{DA47195B-21A0-9A63-E4DA-58F9F29E98B6}"/>
              </a:ext>
            </a:extLst>
          </p:cNvPr>
          <p:cNvSpPr>
            <a:spLocks noGrp="1"/>
          </p:cNvSpPr>
          <p:nvPr>
            <p:ph type="title" hasCustomPrompt="1"/>
          </p:nvPr>
        </p:nvSpPr>
        <p:spPr>
          <a:xfrm>
            <a:off x="288303" y="262800"/>
            <a:ext cx="5733085" cy="468590"/>
          </a:xfrm>
        </p:spPr>
        <p:txBody>
          <a:bodyPr/>
          <a:lstStyle>
            <a:lvl1pPr>
              <a:defRPr>
                <a:solidFill>
                  <a:schemeClr val="accent1"/>
                </a:solidFill>
              </a:defRPr>
            </a:lvl1pPr>
          </a:lstStyle>
          <a:p>
            <a:r>
              <a:rPr lang="en-US"/>
              <a:t>Master title style</a:t>
            </a:r>
            <a:endParaRPr lang="en-GB"/>
          </a:p>
        </p:txBody>
      </p:sp>
      <p:sp>
        <p:nvSpPr>
          <p:cNvPr id="5" name="Subtitle 2">
            <a:extLst>
              <a:ext uri="{FF2B5EF4-FFF2-40B4-BE49-F238E27FC236}">
                <a16:creationId xmlns:a16="http://schemas.microsoft.com/office/drawing/2014/main" id="{FB220D96-C4B3-B7EB-A87A-9845F48C33C3}"/>
              </a:ext>
            </a:extLst>
          </p:cNvPr>
          <p:cNvSpPr>
            <a:spLocks noGrp="1"/>
          </p:cNvSpPr>
          <p:nvPr>
            <p:ph type="subTitle" idx="16" hasCustomPrompt="1"/>
          </p:nvPr>
        </p:nvSpPr>
        <p:spPr>
          <a:xfrm>
            <a:off x="288302" y="713620"/>
            <a:ext cx="5732229"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8" name="Footer Placeholder 4">
            <a:extLst>
              <a:ext uri="{FF2B5EF4-FFF2-40B4-BE49-F238E27FC236}">
                <a16:creationId xmlns:a16="http://schemas.microsoft.com/office/drawing/2014/main" id="{6606912E-45D9-5EEE-9496-4E85E1874A13}"/>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174870896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eam Slide x 6">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4" name="Picture Placeholder 3">
            <a:extLst>
              <a:ext uri="{FF2B5EF4-FFF2-40B4-BE49-F238E27FC236}">
                <a16:creationId xmlns:a16="http://schemas.microsoft.com/office/drawing/2014/main" id="{3DD93883-FE82-F5D7-6954-1E4205A257B6}"/>
              </a:ext>
            </a:extLst>
          </p:cNvPr>
          <p:cNvSpPr>
            <a:spLocks noGrp="1"/>
          </p:cNvSpPr>
          <p:nvPr>
            <p:ph type="pic" sz="quarter" idx="13" hasCustomPrompt="1"/>
          </p:nvPr>
        </p:nvSpPr>
        <p:spPr>
          <a:xfrm>
            <a:off x="292100" y="2338388"/>
            <a:ext cx="1811338" cy="1893887"/>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11" name="Text Placeholder 10">
            <a:extLst>
              <a:ext uri="{FF2B5EF4-FFF2-40B4-BE49-F238E27FC236}">
                <a16:creationId xmlns:a16="http://schemas.microsoft.com/office/drawing/2014/main" id="{BAF95DAC-024B-BE13-C7C3-B8E962C0E286}"/>
              </a:ext>
            </a:extLst>
          </p:cNvPr>
          <p:cNvSpPr>
            <a:spLocks noGrp="1"/>
          </p:cNvSpPr>
          <p:nvPr>
            <p:ph type="body" sz="quarter" idx="14" hasCustomPrompt="1"/>
          </p:nvPr>
        </p:nvSpPr>
        <p:spPr>
          <a:xfrm>
            <a:off x="292100" y="4376739"/>
            <a:ext cx="1811338"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2" name="Picture Placeholder 3">
            <a:extLst>
              <a:ext uri="{FF2B5EF4-FFF2-40B4-BE49-F238E27FC236}">
                <a16:creationId xmlns:a16="http://schemas.microsoft.com/office/drawing/2014/main" id="{D5C0A3F1-8272-1EE9-CC5E-D2F51E93821E}"/>
              </a:ext>
            </a:extLst>
          </p:cNvPr>
          <p:cNvSpPr>
            <a:spLocks noGrp="1"/>
          </p:cNvSpPr>
          <p:nvPr>
            <p:ph type="pic" sz="quarter" idx="15" hasCustomPrompt="1"/>
          </p:nvPr>
        </p:nvSpPr>
        <p:spPr>
          <a:xfrm>
            <a:off x="2251075" y="2338388"/>
            <a:ext cx="1811338" cy="1893887"/>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13" name="Text Placeholder 10">
            <a:extLst>
              <a:ext uri="{FF2B5EF4-FFF2-40B4-BE49-F238E27FC236}">
                <a16:creationId xmlns:a16="http://schemas.microsoft.com/office/drawing/2014/main" id="{07824833-215E-5CBF-9B67-8C5BFCFF600B}"/>
              </a:ext>
            </a:extLst>
          </p:cNvPr>
          <p:cNvSpPr>
            <a:spLocks noGrp="1"/>
          </p:cNvSpPr>
          <p:nvPr>
            <p:ph type="body" sz="quarter" idx="16" hasCustomPrompt="1"/>
          </p:nvPr>
        </p:nvSpPr>
        <p:spPr>
          <a:xfrm>
            <a:off x="2251075" y="4376739"/>
            <a:ext cx="1811338"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7" name="Picture Placeholder 3">
            <a:extLst>
              <a:ext uri="{FF2B5EF4-FFF2-40B4-BE49-F238E27FC236}">
                <a16:creationId xmlns:a16="http://schemas.microsoft.com/office/drawing/2014/main" id="{BC82D359-5E82-6645-4BA5-091395FFBE4D}"/>
              </a:ext>
            </a:extLst>
          </p:cNvPr>
          <p:cNvSpPr>
            <a:spLocks noGrp="1"/>
          </p:cNvSpPr>
          <p:nvPr>
            <p:ph type="pic" sz="quarter" idx="17" hasCustomPrompt="1"/>
          </p:nvPr>
        </p:nvSpPr>
        <p:spPr>
          <a:xfrm>
            <a:off x="4206875" y="2338388"/>
            <a:ext cx="1811338" cy="1893887"/>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18" name="Text Placeholder 10">
            <a:extLst>
              <a:ext uri="{FF2B5EF4-FFF2-40B4-BE49-F238E27FC236}">
                <a16:creationId xmlns:a16="http://schemas.microsoft.com/office/drawing/2014/main" id="{988FBE5D-B4CD-CE1A-E7E9-92C4741B19DA}"/>
              </a:ext>
            </a:extLst>
          </p:cNvPr>
          <p:cNvSpPr>
            <a:spLocks noGrp="1"/>
          </p:cNvSpPr>
          <p:nvPr>
            <p:ph type="body" sz="quarter" idx="18" hasCustomPrompt="1"/>
          </p:nvPr>
        </p:nvSpPr>
        <p:spPr>
          <a:xfrm>
            <a:off x="4206875" y="4376739"/>
            <a:ext cx="1811338"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9" name="Picture Placeholder 3">
            <a:extLst>
              <a:ext uri="{FF2B5EF4-FFF2-40B4-BE49-F238E27FC236}">
                <a16:creationId xmlns:a16="http://schemas.microsoft.com/office/drawing/2014/main" id="{AE6CF7F4-E399-5395-4477-3A071CFE8BF6}"/>
              </a:ext>
            </a:extLst>
          </p:cNvPr>
          <p:cNvSpPr>
            <a:spLocks noGrp="1"/>
          </p:cNvSpPr>
          <p:nvPr>
            <p:ph type="pic" sz="quarter" idx="19" hasCustomPrompt="1"/>
          </p:nvPr>
        </p:nvSpPr>
        <p:spPr>
          <a:xfrm>
            <a:off x="6165850" y="2338388"/>
            <a:ext cx="1811338" cy="1893887"/>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20" name="Text Placeholder 10">
            <a:extLst>
              <a:ext uri="{FF2B5EF4-FFF2-40B4-BE49-F238E27FC236}">
                <a16:creationId xmlns:a16="http://schemas.microsoft.com/office/drawing/2014/main" id="{7F69C6C1-FD43-DD7E-F8C1-DD938FA7E864}"/>
              </a:ext>
            </a:extLst>
          </p:cNvPr>
          <p:cNvSpPr>
            <a:spLocks noGrp="1"/>
          </p:cNvSpPr>
          <p:nvPr>
            <p:ph type="body" sz="quarter" idx="20" hasCustomPrompt="1"/>
          </p:nvPr>
        </p:nvSpPr>
        <p:spPr>
          <a:xfrm>
            <a:off x="6165850" y="4376739"/>
            <a:ext cx="1811338"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1" name="Picture Placeholder 3">
            <a:extLst>
              <a:ext uri="{FF2B5EF4-FFF2-40B4-BE49-F238E27FC236}">
                <a16:creationId xmlns:a16="http://schemas.microsoft.com/office/drawing/2014/main" id="{C3F6ED5E-6C41-2A6E-8284-782D115E0AC8}"/>
              </a:ext>
            </a:extLst>
          </p:cNvPr>
          <p:cNvSpPr>
            <a:spLocks noGrp="1"/>
          </p:cNvSpPr>
          <p:nvPr>
            <p:ph type="pic" sz="quarter" idx="21" hasCustomPrompt="1"/>
          </p:nvPr>
        </p:nvSpPr>
        <p:spPr>
          <a:xfrm>
            <a:off x="8129587" y="2338388"/>
            <a:ext cx="1811338" cy="1893887"/>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22" name="Text Placeholder 10">
            <a:extLst>
              <a:ext uri="{FF2B5EF4-FFF2-40B4-BE49-F238E27FC236}">
                <a16:creationId xmlns:a16="http://schemas.microsoft.com/office/drawing/2014/main" id="{DE4654D5-A3A7-62DC-42E2-4450D8FF9149}"/>
              </a:ext>
            </a:extLst>
          </p:cNvPr>
          <p:cNvSpPr>
            <a:spLocks noGrp="1"/>
          </p:cNvSpPr>
          <p:nvPr>
            <p:ph type="body" sz="quarter" idx="22" hasCustomPrompt="1"/>
          </p:nvPr>
        </p:nvSpPr>
        <p:spPr>
          <a:xfrm>
            <a:off x="8129587" y="4376739"/>
            <a:ext cx="1811338"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10088562" y="2338388"/>
            <a:ext cx="1811338" cy="1893887"/>
          </a:xfrm>
          <a:solidFill>
            <a:schemeClr val="tx2"/>
          </a:solidFill>
        </p:spPr>
        <p:txBody>
          <a:bodyPr vert="horz" lIns="0" tIns="0" rIns="0" bIns="0" rtlCol="0">
            <a:noAutofit/>
          </a:bodyPr>
          <a:lstStyle>
            <a:lvl1pPr>
              <a:defRPr lang="en-GB" sz="12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10088562" y="4376739"/>
            <a:ext cx="1811338" cy="1389062"/>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 name="Text Placeholder 7">
            <a:extLst>
              <a:ext uri="{FF2B5EF4-FFF2-40B4-BE49-F238E27FC236}">
                <a16:creationId xmlns:a16="http://schemas.microsoft.com/office/drawing/2014/main" id="{7BD20165-AAB7-7FF2-32A4-4043B7F5215A}"/>
              </a:ext>
            </a:extLst>
          </p:cNvPr>
          <p:cNvSpPr>
            <a:spLocks noGrp="1"/>
          </p:cNvSpPr>
          <p:nvPr>
            <p:ph type="body" sz="quarter" idx="25" hasCustomPrompt="1"/>
          </p:nvPr>
        </p:nvSpPr>
        <p:spPr>
          <a:xfrm>
            <a:off x="8124205" y="295200"/>
            <a:ext cx="3778870" cy="876375"/>
          </a:xfrm>
        </p:spPr>
        <p:txBody>
          <a:bodyPr/>
          <a:lstStyle>
            <a:lvl1pPr>
              <a:defRPr sz="1400"/>
            </a:lvl1pPr>
            <a:lvl2pPr>
              <a:defRPr sz="1400"/>
            </a:lvl2pPr>
            <a:lvl3pPr>
              <a:defRPr sz="1200"/>
            </a:lvl3pPr>
          </a:lstStyle>
          <a:p>
            <a:pPr lvl="0"/>
            <a:r>
              <a:rPr lang="en-GB"/>
              <a:t>Click to add text. Delete if not required.</a:t>
            </a:r>
          </a:p>
          <a:p>
            <a:pPr lvl="1"/>
            <a:r>
              <a:rPr lang="en-GB"/>
              <a:t>Second level</a:t>
            </a:r>
          </a:p>
          <a:p>
            <a:pPr lvl="2"/>
            <a:r>
              <a:rPr lang="en-GB"/>
              <a:t>Third level</a:t>
            </a:r>
          </a:p>
        </p:txBody>
      </p:sp>
      <p:sp>
        <p:nvSpPr>
          <p:cNvPr id="9" name="Title 7">
            <a:extLst>
              <a:ext uri="{FF2B5EF4-FFF2-40B4-BE49-F238E27FC236}">
                <a16:creationId xmlns:a16="http://schemas.microsoft.com/office/drawing/2014/main" id="{604F17DC-3526-6523-F6A2-A614A5877E66}"/>
              </a:ext>
            </a:extLst>
          </p:cNvPr>
          <p:cNvSpPr>
            <a:spLocks noGrp="1"/>
          </p:cNvSpPr>
          <p:nvPr>
            <p:ph type="title" hasCustomPrompt="1"/>
          </p:nvPr>
        </p:nvSpPr>
        <p:spPr>
          <a:xfrm>
            <a:off x="288303" y="262800"/>
            <a:ext cx="6710984" cy="468590"/>
          </a:xfrm>
        </p:spPr>
        <p:txBody>
          <a:bodyPr/>
          <a:lstStyle>
            <a:lvl1pPr>
              <a:defRPr>
                <a:solidFill>
                  <a:schemeClr val="accent1"/>
                </a:solidFill>
              </a:defRPr>
            </a:lvl1pPr>
          </a:lstStyle>
          <a:p>
            <a:r>
              <a:rPr lang="en-US"/>
              <a:t>Master title style</a:t>
            </a:r>
            <a:endParaRPr lang="en-GB"/>
          </a:p>
        </p:txBody>
      </p:sp>
      <p:sp>
        <p:nvSpPr>
          <p:cNvPr id="5" name="Subtitle 2">
            <a:extLst>
              <a:ext uri="{FF2B5EF4-FFF2-40B4-BE49-F238E27FC236}">
                <a16:creationId xmlns:a16="http://schemas.microsoft.com/office/drawing/2014/main" id="{C2B84ACE-520E-A875-5184-5F9EE6A46C07}"/>
              </a:ext>
            </a:extLst>
          </p:cNvPr>
          <p:cNvSpPr>
            <a:spLocks noGrp="1"/>
          </p:cNvSpPr>
          <p:nvPr>
            <p:ph type="subTitle" idx="26"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3" name="Footer Placeholder 4">
            <a:extLst>
              <a:ext uri="{FF2B5EF4-FFF2-40B4-BE49-F238E27FC236}">
                <a16:creationId xmlns:a16="http://schemas.microsoft.com/office/drawing/2014/main" id="{3736E8E3-26E6-DF9F-264A-BFE1AD9B09BE}"/>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409418242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eam Slide x 12">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4" name="Picture Placeholder 3">
            <a:extLst>
              <a:ext uri="{FF2B5EF4-FFF2-40B4-BE49-F238E27FC236}">
                <a16:creationId xmlns:a16="http://schemas.microsoft.com/office/drawing/2014/main" id="{3DD93883-FE82-F5D7-6954-1E4205A257B6}"/>
              </a:ext>
            </a:extLst>
          </p:cNvPr>
          <p:cNvSpPr>
            <a:spLocks noGrp="1"/>
          </p:cNvSpPr>
          <p:nvPr>
            <p:ph type="pic" sz="quarter" idx="13" hasCustomPrompt="1"/>
          </p:nvPr>
        </p:nvSpPr>
        <p:spPr>
          <a:xfrm>
            <a:off x="292100" y="1325991"/>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11" name="Text Placeholder 10">
            <a:extLst>
              <a:ext uri="{FF2B5EF4-FFF2-40B4-BE49-F238E27FC236}">
                <a16:creationId xmlns:a16="http://schemas.microsoft.com/office/drawing/2014/main" id="{BAF95DAC-024B-BE13-C7C3-B8E962C0E286}"/>
              </a:ext>
            </a:extLst>
          </p:cNvPr>
          <p:cNvSpPr>
            <a:spLocks noGrp="1"/>
          </p:cNvSpPr>
          <p:nvPr>
            <p:ph type="body" sz="quarter" idx="14" hasCustomPrompt="1"/>
          </p:nvPr>
        </p:nvSpPr>
        <p:spPr>
          <a:xfrm>
            <a:off x="292100"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2" name="Picture Placeholder 3">
            <a:extLst>
              <a:ext uri="{FF2B5EF4-FFF2-40B4-BE49-F238E27FC236}">
                <a16:creationId xmlns:a16="http://schemas.microsoft.com/office/drawing/2014/main" id="{D5C0A3F1-8272-1EE9-CC5E-D2F51E93821E}"/>
              </a:ext>
            </a:extLst>
          </p:cNvPr>
          <p:cNvSpPr>
            <a:spLocks noGrp="1"/>
          </p:cNvSpPr>
          <p:nvPr>
            <p:ph type="pic" sz="quarter" idx="15" hasCustomPrompt="1"/>
          </p:nvPr>
        </p:nvSpPr>
        <p:spPr>
          <a:xfrm>
            <a:off x="2251075" y="1325991"/>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13" name="Text Placeholder 10">
            <a:extLst>
              <a:ext uri="{FF2B5EF4-FFF2-40B4-BE49-F238E27FC236}">
                <a16:creationId xmlns:a16="http://schemas.microsoft.com/office/drawing/2014/main" id="{07824833-215E-5CBF-9B67-8C5BFCFF600B}"/>
              </a:ext>
            </a:extLst>
          </p:cNvPr>
          <p:cNvSpPr>
            <a:spLocks noGrp="1"/>
          </p:cNvSpPr>
          <p:nvPr>
            <p:ph type="body" sz="quarter" idx="16" hasCustomPrompt="1"/>
          </p:nvPr>
        </p:nvSpPr>
        <p:spPr>
          <a:xfrm>
            <a:off x="2251075"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7" name="Picture Placeholder 3">
            <a:extLst>
              <a:ext uri="{FF2B5EF4-FFF2-40B4-BE49-F238E27FC236}">
                <a16:creationId xmlns:a16="http://schemas.microsoft.com/office/drawing/2014/main" id="{BC82D359-5E82-6645-4BA5-091395FFBE4D}"/>
              </a:ext>
            </a:extLst>
          </p:cNvPr>
          <p:cNvSpPr>
            <a:spLocks noGrp="1"/>
          </p:cNvSpPr>
          <p:nvPr>
            <p:ph type="pic" sz="quarter" idx="17" hasCustomPrompt="1"/>
          </p:nvPr>
        </p:nvSpPr>
        <p:spPr>
          <a:xfrm>
            <a:off x="4206875" y="1325991"/>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18" name="Text Placeholder 10">
            <a:extLst>
              <a:ext uri="{FF2B5EF4-FFF2-40B4-BE49-F238E27FC236}">
                <a16:creationId xmlns:a16="http://schemas.microsoft.com/office/drawing/2014/main" id="{988FBE5D-B4CD-CE1A-E7E9-92C4741B19DA}"/>
              </a:ext>
            </a:extLst>
          </p:cNvPr>
          <p:cNvSpPr>
            <a:spLocks noGrp="1"/>
          </p:cNvSpPr>
          <p:nvPr>
            <p:ph type="body" sz="quarter" idx="18" hasCustomPrompt="1"/>
          </p:nvPr>
        </p:nvSpPr>
        <p:spPr>
          <a:xfrm>
            <a:off x="4206875"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9" name="Picture Placeholder 3">
            <a:extLst>
              <a:ext uri="{FF2B5EF4-FFF2-40B4-BE49-F238E27FC236}">
                <a16:creationId xmlns:a16="http://schemas.microsoft.com/office/drawing/2014/main" id="{AE6CF7F4-E399-5395-4477-3A071CFE8BF6}"/>
              </a:ext>
            </a:extLst>
          </p:cNvPr>
          <p:cNvSpPr>
            <a:spLocks noGrp="1"/>
          </p:cNvSpPr>
          <p:nvPr>
            <p:ph type="pic" sz="quarter" idx="19" hasCustomPrompt="1"/>
          </p:nvPr>
        </p:nvSpPr>
        <p:spPr>
          <a:xfrm>
            <a:off x="6165850" y="1325991"/>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20" name="Text Placeholder 10">
            <a:extLst>
              <a:ext uri="{FF2B5EF4-FFF2-40B4-BE49-F238E27FC236}">
                <a16:creationId xmlns:a16="http://schemas.microsoft.com/office/drawing/2014/main" id="{7F69C6C1-FD43-DD7E-F8C1-DD938FA7E864}"/>
              </a:ext>
            </a:extLst>
          </p:cNvPr>
          <p:cNvSpPr>
            <a:spLocks noGrp="1"/>
          </p:cNvSpPr>
          <p:nvPr>
            <p:ph type="body" sz="quarter" idx="20" hasCustomPrompt="1"/>
          </p:nvPr>
        </p:nvSpPr>
        <p:spPr>
          <a:xfrm>
            <a:off x="6165850"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1" name="Picture Placeholder 3">
            <a:extLst>
              <a:ext uri="{FF2B5EF4-FFF2-40B4-BE49-F238E27FC236}">
                <a16:creationId xmlns:a16="http://schemas.microsoft.com/office/drawing/2014/main" id="{C3F6ED5E-6C41-2A6E-8284-782D115E0AC8}"/>
              </a:ext>
            </a:extLst>
          </p:cNvPr>
          <p:cNvSpPr>
            <a:spLocks noGrp="1"/>
          </p:cNvSpPr>
          <p:nvPr>
            <p:ph type="pic" sz="quarter" idx="21" hasCustomPrompt="1"/>
          </p:nvPr>
        </p:nvSpPr>
        <p:spPr>
          <a:xfrm>
            <a:off x="8129587" y="1325991"/>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22" name="Text Placeholder 10">
            <a:extLst>
              <a:ext uri="{FF2B5EF4-FFF2-40B4-BE49-F238E27FC236}">
                <a16:creationId xmlns:a16="http://schemas.microsoft.com/office/drawing/2014/main" id="{DE4654D5-A3A7-62DC-42E2-4450D8FF9149}"/>
              </a:ext>
            </a:extLst>
          </p:cNvPr>
          <p:cNvSpPr>
            <a:spLocks noGrp="1"/>
          </p:cNvSpPr>
          <p:nvPr>
            <p:ph type="body" sz="quarter" idx="22" hasCustomPrompt="1"/>
          </p:nvPr>
        </p:nvSpPr>
        <p:spPr>
          <a:xfrm>
            <a:off x="8129587"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10088562" y="1325991"/>
            <a:ext cx="1810800" cy="1742358"/>
          </a:xfrm>
          <a:solidFill>
            <a:schemeClr val="tx2"/>
          </a:solidFill>
        </p:spPr>
        <p:txBody>
          <a:bodyPr vert="horz" lIns="0" tIns="0" rIns="0" bIns="0" rtlCol="0">
            <a:noAutofit/>
          </a:bodyPr>
          <a:lstStyle>
            <a:lvl1pPr>
              <a:defRPr lang="en-GB" sz="12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10088562"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 name="Text Placeholder 7">
            <a:extLst>
              <a:ext uri="{FF2B5EF4-FFF2-40B4-BE49-F238E27FC236}">
                <a16:creationId xmlns:a16="http://schemas.microsoft.com/office/drawing/2014/main" id="{7BD20165-AAB7-7FF2-32A4-4043B7F5215A}"/>
              </a:ext>
            </a:extLst>
          </p:cNvPr>
          <p:cNvSpPr>
            <a:spLocks noGrp="1"/>
          </p:cNvSpPr>
          <p:nvPr>
            <p:ph type="body" sz="quarter" idx="25" hasCustomPrompt="1"/>
          </p:nvPr>
        </p:nvSpPr>
        <p:spPr>
          <a:xfrm>
            <a:off x="8124205" y="295200"/>
            <a:ext cx="3778870" cy="876375"/>
          </a:xfrm>
        </p:spPr>
        <p:txBody>
          <a:bodyPr/>
          <a:lstStyle>
            <a:lvl1pPr>
              <a:defRPr sz="1400"/>
            </a:lvl1pPr>
            <a:lvl2pPr>
              <a:defRPr sz="1400"/>
            </a:lvl2pPr>
            <a:lvl3pPr>
              <a:defRPr sz="1200"/>
            </a:lvl3pPr>
          </a:lstStyle>
          <a:p>
            <a:pPr lvl="0"/>
            <a:r>
              <a:rPr lang="en-GB"/>
              <a:t>Click to add text. Delete if not required.</a:t>
            </a:r>
          </a:p>
          <a:p>
            <a:pPr lvl="1"/>
            <a:r>
              <a:rPr lang="en-GB"/>
              <a:t>Second level</a:t>
            </a:r>
          </a:p>
          <a:p>
            <a:pPr lvl="2"/>
            <a:r>
              <a:rPr lang="en-GB"/>
              <a:t>Third level</a:t>
            </a:r>
          </a:p>
        </p:txBody>
      </p:sp>
      <p:sp>
        <p:nvSpPr>
          <p:cNvPr id="30" name="Picture Placeholder 3">
            <a:extLst>
              <a:ext uri="{FF2B5EF4-FFF2-40B4-BE49-F238E27FC236}">
                <a16:creationId xmlns:a16="http://schemas.microsoft.com/office/drawing/2014/main" id="{1E351EF8-8286-87AC-38C6-7E9DC74AA5D5}"/>
              </a:ext>
            </a:extLst>
          </p:cNvPr>
          <p:cNvSpPr>
            <a:spLocks noGrp="1"/>
          </p:cNvSpPr>
          <p:nvPr>
            <p:ph type="pic" sz="quarter" idx="26" hasCustomPrompt="1"/>
          </p:nvPr>
        </p:nvSpPr>
        <p:spPr>
          <a:xfrm>
            <a:off x="292100" y="3832986"/>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31" name="Text Placeholder 10">
            <a:extLst>
              <a:ext uri="{FF2B5EF4-FFF2-40B4-BE49-F238E27FC236}">
                <a16:creationId xmlns:a16="http://schemas.microsoft.com/office/drawing/2014/main" id="{7D881FA5-55EC-F926-2B2E-C6A382AF84D6}"/>
              </a:ext>
            </a:extLst>
          </p:cNvPr>
          <p:cNvSpPr>
            <a:spLocks noGrp="1"/>
          </p:cNvSpPr>
          <p:nvPr>
            <p:ph type="body" sz="quarter" idx="27" hasCustomPrompt="1"/>
          </p:nvPr>
        </p:nvSpPr>
        <p:spPr>
          <a:xfrm>
            <a:off x="292100"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2" name="Picture Placeholder 3">
            <a:extLst>
              <a:ext uri="{FF2B5EF4-FFF2-40B4-BE49-F238E27FC236}">
                <a16:creationId xmlns:a16="http://schemas.microsoft.com/office/drawing/2014/main" id="{BBC82E01-F7FE-2EAB-B8E7-5960A7A58603}"/>
              </a:ext>
            </a:extLst>
          </p:cNvPr>
          <p:cNvSpPr>
            <a:spLocks noGrp="1"/>
          </p:cNvSpPr>
          <p:nvPr>
            <p:ph type="pic" sz="quarter" idx="28" hasCustomPrompt="1"/>
          </p:nvPr>
        </p:nvSpPr>
        <p:spPr>
          <a:xfrm>
            <a:off x="2251075" y="3832986"/>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33" name="Text Placeholder 10">
            <a:extLst>
              <a:ext uri="{FF2B5EF4-FFF2-40B4-BE49-F238E27FC236}">
                <a16:creationId xmlns:a16="http://schemas.microsoft.com/office/drawing/2014/main" id="{AF3DAD82-5491-5A1C-AF05-DBECB12413C0}"/>
              </a:ext>
            </a:extLst>
          </p:cNvPr>
          <p:cNvSpPr>
            <a:spLocks noGrp="1"/>
          </p:cNvSpPr>
          <p:nvPr>
            <p:ph type="body" sz="quarter" idx="29" hasCustomPrompt="1"/>
          </p:nvPr>
        </p:nvSpPr>
        <p:spPr>
          <a:xfrm>
            <a:off x="2251075"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4" name="Picture Placeholder 3">
            <a:extLst>
              <a:ext uri="{FF2B5EF4-FFF2-40B4-BE49-F238E27FC236}">
                <a16:creationId xmlns:a16="http://schemas.microsoft.com/office/drawing/2014/main" id="{D56B49B1-E5CE-83C1-0D25-0898269814D0}"/>
              </a:ext>
            </a:extLst>
          </p:cNvPr>
          <p:cNvSpPr>
            <a:spLocks noGrp="1"/>
          </p:cNvSpPr>
          <p:nvPr>
            <p:ph type="pic" sz="quarter" idx="30" hasCustomPrompt="1"/>
          </p:nvPr>
        </p:nvSpPr>
        <p:spPr>
          <a:xfrm>
            <a:off x="4206875" y="3832986"/>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35" name="Text Placeholder 10">
            <a:extLst>
              <a:ext uri="{FF2B5EF4-FFF2-40B4-BE49-F238E27FC236}">
                <a16:creationId xmlns:a16="http://schemas.microsoft.com/office/drawing/2014/main" id="{0D879563-9332-8DE6-BC2B-72B716864FC8}"/>
              </a:ext>
            </a:extLst>
          </p:cNvPr>
          <p:cNvSpPr>
            <a:spLocks noGrp="1"/>
          </p:cNvSpPr>
          <p:nvPr>
            <p:ph type="body" sz="quarter" idx="31" hasCustomPrompt="1"/>
          </p:nvPr>
        </p:nvSpPr>
        <p:spPr>
          <a:xfrm>
            <a:off x="4206875"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6" name="Picture Placeholder 3">
            <a:extLst>
              <a:ext uri="{FF2B5EF4-FFF2-40B4-BE49-F238E27FC236}">
                <a16:creationId xmlns:a16="http://schemas.microsoft.com/office/drawing/2014/main" id="{34E06054-2590-E998-043B-8F545070935C}"/>
              </a:ext>
            </a:extLst>
          </p:cNvPr>
          <p:cNvSpPr>
            <a:spLocks noGrp="1"/>
          </p:cNvSpPr>
          <p:nvPr>
            <p:ph type="pic" sz="quarter" idx="32" hasCustomPrompt="1"/>
          </p:nvPr>
        </p:nvSpPr>
        <p:spPr>
          <a:xfrm>
            <a:off x="6165850" y="3832986"/>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37" name="Text Placeholder 10">
            <a:extLst>
              <a:ext uri="{FF2B5EF4-FFF2-40B4-BE49-F238E27FC236}">
                <a16:creationId xmlns:a16="http://schemas.microsoft.com/office/drawing/2014/main" id="{B2E849EB-3C88-7D18-ED79-F55E7AB9250D}"/>
              </a:ext>
            </a:extLst>
          </p:cNvPr>
          <p:cNvSpPr>
            <a:spLocks noGrp="1"/>
          </p:cNvSpPr>
          <p:nvPr>
            <p:ph type="body" sz="quarter" idx="33" hasCustomPrompt="1"/>
          </p:nvPr>
        </p:nvSpPr>
        <p:spPr>
          <a:xfrm>
            <a:off x="6165850"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8" name="Picture Placeholder 3">
            <a:extLst>
              <a:ext uri="{FF2B5EF4-FFF2-40B4-BE49-F238E27FC236}">
                <a16:creationId xmlns:a16="http://schemas.microsoft.com/office/drawing/2014/main" id="{3A8CC4AE-06AB-5A91-10DC-6C53FFB4A23A}"/>
              </a:ext>
            </a:extLst>
          </p:cNvPr>
          <p:cNvSpPr>
            <a:spLocks noGrp="1"/>
          </p:cNvSpPr>
          <p:nvPr>
            <p:ph type="pic" sz="quarter" idx="34" hasCustomPrompt="1"/>
          </p:nvPr>
        </p:nvSpPr>
        <p:spPr>
          <a:xfrm>
            <a:off x="8129587" y="3832986"/>
            <a:ext cx="1810800" cy="1742358"/>
          </a:xfrm>
          <a:solidFill>
            <a:schemeClr val="tx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39" name="Text Placeholder 10">
            <a:extLst>
              <a:ext uri="{FF2B5EF4-FFF2-40B4-BE49-F238E27FC236}">
                <a16:creationId xmlns:a16="http://schemas.microsoft.com/office/drawing/2014/main" id="{5B2ACD70-936B-5D18-96B7-1BF64FC6E214}"/>
              </a:ext>
            </a:extLst>
          </p:cNvPr>
          <p:cNvSpPr>
            <a:spLocks noGrp="1"/>
          </p:cNvSpPr>
          <p:nvPr>
            <p:ph type="body" sz="quarter" idx="35" hasCustomPrompt="1"/>
          </p:nvPr>
        </p:nvSpPr>
        <p:spPr>
          <a:xfrm>
            <a:off x="8129587"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40" name="Picture Placeholder 3">
            <a:extLst>
              <a:ext uri="{FF2B5EF4-FFF2-40B4-BE49-F238E27FC236}">
                <a16:creationId xmlns:a16="http://schemas.microsoft.com/office/drawing/2014/main" id="{96B65B4A-309C-6AFF-3233-21C6FE13D295}"/>
              </a:ext>
            </a:extLst>
          </p:cNvPr>
          <p:cNvSpPr>
            <a:spLocks noGrp="1"/>
          </p:cNvSpPr>
          <p:nvPr>
            <p:ph type="pic" sz="quarter" idx="36" hasCustomPrompt="1"/>
          </p:nvPr>
        </p:nvSpPr>
        <p:spPr>
          <a:xfrm>
            <a:off x="10088562" y="3832986"/>
            <a:ext cx="1810800" cy="1742358"/>
          </a:xfrm>
          <a:solidFill>
            <a:schemeClr val="tx2"/>
          </a:solidFill>
        </p:spPr>
        <p:txBody>
          <a:bodyPr vert="horz" lIns="0" tIns="0" rIns="0" bIns="0" rtlCol="0">
            <a:noAutofit/>
          </a:bodyPr>
          <a:lstStyle>
            <a:lvl1pPr>
              <a:defRPr lang="en-GB" sz="12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r>
              <a:rPr lang="en-GB"/>
              <a:t> Delete if not required.</a:t>
            </a:r>
            <a:endParaRPr lang="en-US"/>
          </a:p>
        </p:txBody>
      </p:sp>
      <p:sp>
        <p:nvSpPr>
          <p:cNvPr id="41" name="Text Placeholder 10">
            <a:extLst>
              <a:ext uri="{FF2B5EF4-FFF2-40B4-BE49-F238E27FC236}">
                <a16:creationId xmlns:a16="http://schemas.microsoft.com/office/drawing/2014/main" id="{56786C68-DCD8-DE01-5F52-6FF88150DD6E}"/>
              </a:ext>
            </a:extLst>
          </p:cNvPr>
          <p:cNvSpPr>
            <a:spLocks noGrp="1"/>
          </p:cNvSpPr>
          <p:nvPr>
            <p:ph type="body" sz="quarter" idx="37" hasCustomPrompt="1"/>
          </p:nvPr>
        </p:nvSpPr>
        <p:spPr>
          <a:xfrm>
            <a:off x="10088562"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5" name="Title 7">
            <a:extLst>
              <a:ext uri="{FF2B5EF4-FFF2-40B4-BE49-F238E27FC236}">
                <a16:creationId xmlns:a16="http://schemas.microsoft.com/office/drawing/2014/main" id="{520EE9D3-6988-A53A-4B71-0F5506C1DB6D}"/>
              </a:ext>
            </a:extLst>
          </p:cNvPr>
          <p:cNvSpPr>
            <a:spLocks noGrp="1"/>
          </p:cNvSpPr>
          <p:nvPr>
            <p:ph type="title" hasCustomPrompt="1"/>
          </p:nvPr>
        </p:nvSpPr>
        <p:spPr>
          <a:xfrm>
            <a:off x="288303" y="262800"/>
            <a:ext cx="6710984" cy="468590"/>
          </a:xfrm>
        </p:spPr>
        <p:txBody>
          <a:bodyPr/>
          <a:lstStyle>
            <a:lvl1pPr>
              <a:defRPr>
                <a:solidFill>
                  <a:schemeClr val="accent1"/>
                </a:solidFill>
              </a:defRPr>
            </a:lvl1pPr>
          </a:lstStyle>
          <a:p>
            <a:r>
              <a:rPr lang="en-US"/>
              <a:t>Master title style</a:t>
            </a:r>
            <a:endParaRPr lang="en-GB"/>
          </a:p>
        </p:txBody>
      </p:sp>
      <p:sp>
        <p:nvSpPr>
          <p:cNvPr id="8" name="Subtitle 2">
            <a:extLst>
              <a:ext uri="{FF2B5EF4-FFF2-40B4-BE49-F238E27FC236}">
                <a16:creationId xmlns:a16="http://schemas.microsoft.com/office/drawing/2014/main" id="{A29A91CD-56E3-1B05-9890-3FE2231364A5}"/>
              </a:ext>
            </a:extLst>
          </p:cNvPr>
          <p:cNvSpPr>
            <a:spLocks noGrp="1"/>
          </p:cNvSpPr>
          <p:nvPr>
            <p:ph type="subTitle" idx="38"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3" name="Footer Placeholder 4">
            <a:extLst>
              <a:ext uri="{FF2B5EF4-FFF2-40B4-BE49-F238E27FC236}">
                <a16:creationId xmlns:a16="http://schemas.microsoft.com/office/drawing/2014/main" id="{2FD0E279-D09C-E44C-0FD5-7AAE367C5D97}"/>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136456693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p:cSld name="End Slid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F71E3-AC39-2207-0CC4-1E2486610795}"/>
              </a:ext>
            </a:extLst>
          </p:cNvPr>
          <p:cNvSpPr>
            <a:spLocks noGrp="1"/>
          </p:cNvSpPr>
          <p:nvPr>
            <p:ph type="ctrTitle"/>
          </p:nvPr>
        </p:nvSpPr>
        <p:spPr>
          <a:xfrm>
            <a:off x="291593" y="280800"/>
            <a:ext cx="5734050" cy="2620397"/>
          </a:xfrm>
        </p:spPr>
        <p:txBody>
          <a:bodyPr wrap="square" anchor="t">
            <a:spAutoFit/>
          </a:bodyPr>
          <a:lstStyle>
            <a:lvl1pPr algn="l">
              <a:lnSpc>
                <a:spcPct val="80000"/>
              </a:lnSpc>
              <a:defRPr sz="7000" b="0" i="0" spc="0" baseline="0">
                <a:solidFill>
                  <a:schemeClr val="bg1"/>
                </a:solidFill>
                <a:latin typeface="+mj-lt"/>
              </a:defRPr>
            </a:lvl1pPr>
          </a:lstStyle>
          <a:p>
            <a:r>
              <a:rPr lang="zh-CN" altLang="en-US"/>
              <a:t>单击此处编辑母版标题样式</a:t>
            </a:r>
            <a:endParaRPr lang="en-GB"/>
          </a:p>
        </p:txBody>
      </p:sp>
      <p:sp>
        <p:nvSpPr>
          <p:cNvPr id="7" name="Text Placeholder 31">
            <a:extLst>
              <a:ext uri="{FF2B5EF4-FFF2-40B4-BE49-F238E27FC236}">
                <a16:creationId xmlns:a16="http://schemas.microsoft.com/office/drawing/2014/main" id="{B7E02200-51E6-11EB-F9C2-B25EC78CCA31}"/>
              </a:ext>
            </a:extLst>
          </p:cNvPr>
          <p:cNvSpPr>
            <a:spLocks noGrp="1"/>
          </p:cNvSpPr>
          <p:nvPr>
            <p:ph type="body" sz="quarter" idx="10" hasCustomPrompt="1"/>
          </p:nvPr>
        </p:nvSpPr>
        <p:spPr>
          <a:xfrm>
            <a:off x="287338" y="5035735"/>
            <a:ext cx="2795587" cy="717180"/>
          </a:xfrm>
        </p:spPr>
        <p:txBody>
          <a:bodyPr anchor="b"/>
          <a:lstStyle>
            <a:lvl1pPr>
              <a:lnSpc>
                <a:spcPct val="100000"/>
              </a:lnSpc>
              <a:spcBef>
                <a:spcPts val="0"/>
              </a:spcBef>
              <a:spcAft>
                <a:spcPts val="0"/>
              </a:spcAft>
              <a:defRPr sz="1000">
                <a:solidFill>
                  <a:schemeClr val="bg1"/>
                </a:solidFill>
              </a:defRPr>
            </a:lvl1pPr>
          </a:lstStyle>
          <a:p>
            <a:r>
              <a:rPr lang="en-GB"/>
              <a:t>Supporting details – delete if not required</a:t>
            </a:r>
          </a:p>
        </p:txBody>
      </p:sp>
      <p:sp>
        <p:nvSpPr>
          <p:cNvPr id="4" name="Graphic 2">
            <a:extLst>
              <a:ext uri="{FF2B5EF4-FFF2-40B4-BE49-F238E27FC236}">
                <a16:creationId xmlns:a16="http://schemas.microsoft.com/office/drawing/2014/main" id="{596B4D9D-1962-9920-7F5F-A7A616FD4C77}"/>
              </a:ext>
            </a:extLst>
          </p:cNvPr>
          <p:cNvSpPr>
            <a:spLocks noChangeAspect="1"/>
          </p:cNvSpPr>
          <p:nvPr/>
        </p:nvSpPr>
        <p:spPr>
          <a:xfrm>
            <a:off x="290513" y="6377853"/>
            <a:ext cx="2034000" cy="187309"/>
          </a:xfrm>
          <a:custGeom>
            <a:avLst/>
            <a:gdLst>
              <a:gd name="connsiteX0" fmla="*/ 542692 w 5487431"/>
              <a:gd name="connsiteY0" fmla="*/ 463149 h 505330"/>
              <a:gd name="connsiteX1" fmla="*/ 458967 w 5487431"/>
              <a:gd name="connsiteY1" fmla="*/ 321634 h 505330"/>
              <a:gd name="connsiteX2" fmla="*/ 542692 w 5487431"/>
              <a:gd name="connsiteY2" fmla="*/ 180119 h 505330"/>
              <a:gd name="connsiteX3" fmla="*/ 626417 w 5487431"/>
              <a:gd name="connsiteY3" fmla="*/ 321634 h 505330"/>
              <a:gd name="connsiteX4" fmla="*/ 542692 w 5487431"/>
              <a:gd name="connsiteY4" fmla="*/ 463149 h 505330"/>
              <a:gd name="connsiteX5" fmla="*/ 542692 w 5487431"/>
              <a:gd name="connsiteY5" fmla="*/ 142174 h 505330"/>
              <a:gd name="connsiteX6" fmla="*/ 372482 w 5487431"/>
              <a:gd name="connsiteY6" fmla="*/ 321634 h 505330"/>
              <a:gd name="connsiteX7" fmla="*/ 542692 w 5487431"/>
              <a:gd name="connsiteY7" fmla="*/ 501094 h 505330"/>
              <a:gd name="connsiteX8" fmla="*/ 712902 w 5487431"/>
              <a:gd name="connsiteY8" fmla="*/ 321634 h 505330"/>
              <a:gd name="connsiteX9" fmla="*/ 542692 w 5487431"/>
              <a:gd name="connsiteY9" fmla="*/ 142174 h 505330"/>
              <a:gd name="connsiteX10" fmla="*/ 1303641 w 5487431"/>
              <a:gd name="connsiteY10" fmla="*/ 142174 h 505330"/>
              <a:gd name="connsiteX11" fmla="*/ 1207357 w 5487431"/>
              <a:gd name="connsiteY11" fmla="*/ 192547 h 505330"/>
              <a:gd name="connsiteX12" fmla="*/ 1203170 w 5487431"/>
              <a:gd name="connsiteY12" fmla="*/ 192547 h 505330"/>
              <a:gd name="connsiteX13" fmla="*/ 1203170 w 5487431"/>
              <a:gd name="connsiteY13" fmla="*/ 149048 h 505330"/>
              <a:gd name="connsiteX14" fmla="*/ 1120872 w 5487431"/>
              <a:gd name="connsiteY14" fmla="*/ 149048 h 505330"/>
              <a:gd name="connsiteX15" fmla="*/ 1120872 w 5487431"/>
              <a:gd name="connsiteY15" fmla="*/ 494221 h 505330"/>
              <a:gd name="connsiteX16" fmla="*/ 1203170 w 5487431"/>
              <a:gd name="connsiteY16" fmla="*/ 494221 h 505330"/>
              <a:gd name="connsiteX17" fmla="*/ 1203170 w 5487431"/>
              <a:gd name="connsiteY17" fmla="*/ 271261 h 505330"/>
              <a:gd name="connsiteX18" fmla="*/ 1272244 w 5487431"/>
              <a:gd name="connsiteY18" fmla="*/ 190476 h 505330"/>
              <a:gd name="connsiteX19" fmla="*/ 1331518 w 5487431"/>
              <a:gd name="connsiteY19" fmla="*/ 258173 h 505330"/>
              <a:gd name="connsiteX20" fmla="*/ 1331518 w 5487431"/>
              <a:gd name="connsiteY20" fmla="*/ 494221 h 505330"/>
              <a:gd name="connsiteX21" fmla="*/ 1413816 w 5487431"/>
              <a:gd name="connsiteY21" fmla="*/ 494221 h 505330"/>
              <a:gd name="connsiteX22" fmla="*/ 1413816 w 5487431"/>
              <a:gd name="connsiteY22" fmla="*/ 257420 h 505330"/>
              <a:gd name="connsiteX23" fmla="*/ 1303641 w 5487431"/>
              <a:gd name="connsiteY23" fmla="*/ 142174 h 505330"/>
              <a:gd name="connsiteX24" fmla="*/ 1600771 w 5487431"/>
              <a:gd name="connsiteY24" fmla="*/ 142174 h 505330"/>
              <a:gd name="connsiteX25" fmla="*/ 1467571 w 5487431"/>
              <a:gd name="connsiteY25" fmla="*/ 241602 h 505330"/>
              <a:gd name="connsiteX26" fmla="*/ 1551962 w 5487431"/>
              <a:gd name="connsiteY26" fmla="*/ 341030 h 505330"/>
              <a:gd name="connsiteX27" fmla="*/ 1621702 w 5487431"/>
              <a:gd name="connsiteY27" fmla="*/ 358260 h 505330"/>
              <a:gd name="connsiteX28" fmla="*/ 1675457 w 5487431"/>
              <a:gd name="connsiteY28" fmla="*/ 409387 h 505330"/>
              <a:gd name="connsiteX29" fmla="*/ 1606384 w 5487431"/>
              <a:gd name="connsiteY29" fmla="*/ 464656 h 505330"/>
              <a:gd name="connsiteX30" fmla="*/ 1526845 w 5487431"/>
              <a:gd name="connsiteY30" fmla="*/ 384624 h 505330"/>
              <a:gd name="connsiteX31" fmla="*/ 1452919 w 5487431"/>
              <a:gd name="connsiteY31" fmla="*/ 405338 h 505330"/>
              <a:gd name="connsiteX32" fmla="*/ 1597345 w 5487431"/>
              <a:gd name="connsiteY32" fmla="*/ 501282 h 505330"/>
              <a:gd name="connsiteX33" fmla="*/ 1742438 w 5487431"/>
              <a:gd name="connsiteY33" fmla="*/ 388767 h 505330"/>
              <a:gd name="connsiteX34" fmla="*/ 1649674 w 5487431"/>
              <a:gd name="connsiteY34" fmla="*/ 285196 h 505330"/>
              <a:gd name="connsiteX35" fmla="*/ 1582693 w 5487431"/>
              <a:gd name="connsiteY35" fmla="*/ 268625 h 505330"/>
              <a:gd name="connsiteX36" fmla="*/ 1534551 w 5487431"/>
              <a:gd name="connsiteY36" fmla="*/ 223054 h 505330"/>
              <a:gd name="connsiteX37" fmla="*/ 1593825 w 5487431"/>
              <a:gd name="connsiteY37" fmla="*/ 178895 h 505330"/>
              <a:gd name="connsiteX38" fmla="*/ 1664992 w 5487431"/>
              <a:gd name="connsiteY38" fmla="*/ 245180 h 505330"/>
              <a:gd name="connsiteX39" fmla="*/ 1734731 w 5487431"/>
              <a:gd name="connsiteY39" fmla="*/ 224466 h 505330"/>
              <a:gd name="connsiteX40" fmla="*/ 1600771 w 5487431"/>
              <a:gd name="connsiteY40" fmla="*/ 142174 h 505330"/>
              <a:gd name="connsiteX41" fmla="*/ 1946803 w 5487431"/>
              <a:gd name="connsiteY41" fmla="*/ 463149 h 505330"/>
              <a:gd name="connsiteX42" fmla="*/ 1863078 w 5487431"/>
              <a:gd name="connsiteY42" fmla="*/ 321634 h 505330"/>
              <a:gd name="connsiteX43" fmla="*/ 1946803 w 5487431"/>
              <a:gd name="connsiteY43" fmla="*/ 180119 h 505330"/>
              <a:gd name="connsiteX44" fmla="*/ 2030529 w 5487431"/>
              <a:gd name="connsiteY44" fmla="*/ 321634 h 505330"/>
              <a:gd name="connsiteX45" fmla="*/ 1946803 w 5487431"/>
              <a:gd name="connsiteY45" fmla="*/ 463149 h 505330"/>
              <a:gd name="connsiteX46" fmla="*/ 1946803 w 5487431"/>
              <a:gd name="connsiteY46" fmla="*/ 142174 h 505330"/>
              <a:gd name="connsiteX47" fmla="*/ 1776594 w 5487431"/>
              <a:gd name="connsiteY47" fmla="*/ 321634 h 505330"/>
              <a:gd name="connsiteX48" fmla="*/ 1946803 w 5487431"/>
              <a:gd name="connsiteY48" fmla="*/ 501094 h 505330"/>
              <a:gd name="connsiteX49" fmla="*/ 2117013 w 5487431"/>
              <a:gd name="connsiteY49" fmla="*/ 321634 h 505330"/>
              <a:gd name="connsiteX50" fmla="*/ 1946803 w 5487431"/>
              <a:gd name="connsiteY50" fmla="*/ 142174 h 505330"/>
              <a:gd name="connsiteX51" fmla="*/ 2348590 w 5487431"/>
              <a:gd name="connsiteY51" fmla="*/ 142174 h 505330"/>
              <a:gd name="connsiteX52" fmla="*/ 2252306 w 5487431"/>
              <a:gd name="connsiteY52" fmla="*/ 192547 h 505330"/>
              <a:gd name="connsiteX53" fmla="*/ 2248119 w 5487431"/>
              <a:gd name="connsiteY53" fmla="*/ 192547 h 505330"/>
              <a:gd name="connsiteX54" fmla="*/ 2248119 w 5487431"/>
              <a:gd name="connsiteY54" fmla="*/ 149048 h 505330"/>
              <a:gd name="connsiteX55" fmla="*/ 2165821 w 5487431"/>
              <a:gd name="connsiteY55" fmla="*/ 149048 h 505330"/>
              <a:gd name="connsiteX56" fmla="*/ 2165821 w 5487431"/>
              <a:gd name="connsiteY56" fmla="*/ 494221 h 505330"/>
              <a:gd name="connsiteX57" fmla="*/ 2248119 w 5487431"/>
              <a:gd name="connsiteY57" fmla="*/ 494221 h 505330"/>
              <a:gd name="connsiteX58" fmla="*/ 2248119 w 5487431"/>
              <a:gd name="connsiteY58" fmla="*/ 271261 h 505330"/>
              <a:gd name="connsiteX59" fmla="*/ 2317193 w 5487431"/>
              <a:gd name="connsiteY59" fmla="*/ 190476 h 505330"/>
              <a:gd name="connsiteX60" fmla="*/ 2376466 w 5487431"/>
              <a:gd name="connsiteY60" fmla="*/ 258173 h 505330"/>
              <a:gd name="connsiteX61" fmla="*/ 2376466 w 5487431"/>
              <a:gd name="connsiteY61" fmla="*/ 494221 h 505330"/>
              <a:gd name="connsiteX62" fmla="*/ 2458764 w 5487431"/>
              <a:gd name="connsiteY62" fmla="*/ 494221 h 505330"/>
              <a:gd name="connsiteX63" fmla="*/ 2458764 w 5487431"/>
              <a:gd name="connsiteY63" fmla="*/ 257420 h 505330"/>
              <a:gd name="connsiteX64" fmla="*/ 2348590 w 5487431"/>
              <a:gd name="connsiteY64" fmla="*/ 142174 h 505330"/>
              <a:gd name="connsiteX65" fmla="*/ 3571359 w 5487431"/>
              <a:gd name="connsiteY65" fmla="*/ 463149 h 505330"/>
              <a:gd name="connsiteX66" fmla="*/ 3487634 w 5487431"/>
              <a:gd name="connsiteY66" fmla="*/ 321634 h 505330"/>
              <a:gd name="connsiteX67" fmla="*/ 3571359 w 5487431"/>
              <a:gd name="connsiteY67" fmla="*/ 180119 h 505330"/>
              <a:gd name="connsiteX68" fmla="*/ 3655085 w 5487431"/>
              <a:gd name="connsiteY68" fmla="*/ 321634 h 505330"/>
              <a:gd name="connsiteX69" fmla="*/ 3571359 w 5487431"/>
              <a:gd name="connsiteY69" fmla="*/ 463149 h 505330"/>
              <a:gd name="connsiteX70" fmla="*/ 3571359 w 5487431"/>
              <a:gd name="connsiteY70" fmla="*/ 142174 h 505330"/>
              <a:gd name="connsiteX71" fmla="*/ 3401150 w 5487431"/>
              <a:gd name="connsiteY71" fmla="*/ 321634 h 505330"/>
              <a:gd name="connsiteX72" fmla="*/ 3571359 w 5487431"/>
              <a:gd name="connsiteY72" fmla="*/ 501094 h 505330"/>
              <a:gd name="connsiteX73" fmla="*/ 3741569 w 5487431"/>
              <a:gd name="connsiteY73" fmla="*/ 321634 h 505330"/>
              <a:gd name="connsiteX74" fmla="*/ 3571359 w 5487431"/>
              <a:gd name="connsiteY74" fmla="*/ 142174 h 505330"/>
              <a:gd name="connsiteX75" fmla="*/ 4332308 w 5487431"/>
              <a:gd name="connsiteY75" fmla="*/ 142174 h 505330"/>
              <a:gd name="connsiteX76" fmla="*/ 4236024 w 5487431"/>
              <a:gd name="connsiteY76" fmla="*/ 192547 h 505330"/>
              <a:gd name="connsiteX77" fmla="*/ 4231838 w 5487431"/>
              <a:gd name="connsiteY77" fmla="*/ 192547 h 505330"/>
              <a:gd name="connsiteX78" fmla="*/ 4231838 w 5487431"/>
              <a:gd name="connsiteY78" fmla="*/ 149048 h 505330"/>
              <a:gd name="connsiteX79" fmla="*/ 4149539 w 5487431"/>
              <a:gd name="connsiteY79" fmla="*/ 149048 h 505330"/>
              <a:gd name="connsiteX80" fmla="*/ 4149539 w 5487431"/>
              <a:gd name="connsiteY80" fmla="*/ 494221 h 505330"/>
              <a:gd name="connsiteX81" fmla="*/ 4231838 w 5487431"/>
              <a:gd name="connsiteY81" fmla="*/ 494221 h 505330"/>
              <a:gd name="connsiteX82" fmla="*/ 4231838 w 5487431"/>
              <a:gd name="connsiteY82" fmla="*/ 271261 h 505330"/>
              <a:gd name="connsiteX83" fmla="*/ 4300911 w 5487431"/>
              <a:gd name="connsiteY83" fmla="*/ 190476 h 505330"/>
              <a:gd name="connsiteX84" fmla="*/ 4360185 w 5487431"/>
              <a:gd name="connsiteY84" fmla="*/ 258173 h 505330"/>
              <a:gd name="connsiteX85" fmla="*/ 4360185 w 5487431"/>
              <a:gd name="connsiteY85" fmla="*/ 494221 h 505330"/>
              <a:gd name="connsiteX86" fmla="*/ 4442483 w 5487431"/>
              <a:gd name="connsiteY86" fmla="*/ 494221 h 505330"/>
              <a:gd name="connsiteX87" fmla="*/ 4442483 w 5487431"/>
              <a:gd name="connsiteY87" fmla="*/ 257420 h 505330"/>
              <a:gd name="connsiteX88" fmla="*/ 4332308 w 5487431"/>
              <a:gd name="connsiteY88" fmla="*/ 142174 h 505330"/>
              <a:gd name="connsiteX89" fmla="*/ 4629533 w 5487431"/>
              <a:gd name="connsiteY89" fmla="*/ 142174 h 505330"/>
              <a:gd name="connsiteX90" fmla="*/ 4496334 w 5487431"/>
              <a:gd name="connsiteY90" fmla="*/ 241602 h 505330"/>
              <a:gd name="connsiteX91" fmla="*/ 4580725 w 5487431"/>
              <a:gd name="connsiteY91" fmla="*/ 341030 h 505330"/>
              <a:gd name="connsiteX92" fmla="*/ 4650464 w 5487431"/>
              <a:gd name="connsiteY92" fmla="*/ 358260 h 505330"/>
              <a:gd name="connsiteX93" fmla="*/ 4704220 w 5487431"/>
              <a:gd name="connsiteY93" fmla="*/ 409387 h 505330"/>
              <a:gd name="connsiteX94" fmla="*/ 4635146 w 5487431"/>
              <a:gd name="connsiteY94" fmla="*/ 464656 h 505330"/>
              <a:gd name="connsiteX95" fmla="*/ 4555607 w 5487431"/>
              <a:gd name="connsiteY95" fmla="*/ 384624 h 505330"/>
              <a:gd name="connsiteX96" fmla="*/ 4481682 w 5487431"/>
              <a:gd name="connsiteY96" fmla="*/ 405338 h 505330"/>
              <a:gd name="connsiteX97" fmla="*/ 4626108 w 5487431"/>
              <a:gd name="connsiteY97" fmla="*/ 501282 h 505330"/>
              <a:gd name="connsiteX98" fmla="*/ 4771200 w 5487431"/>
              <a:gd name="connsiteY98" fmla="*/ 388767 h 505330"/>
              <a:gd name="connsiteX99" fmla="*/ 4678436 w 5487431"/>
              <a:gd name="connsiteY99" fmla="*/ 285196 h 505330"/>
              <a:gd name="connsiteX100" fmla="*/ 4611456 w 5487431"/>
              <a:gd name="connsiteY100" fmla="*/ 268625 h 505330"/>
              <a:gd name="connsiteX101" fmla="*/ 4563314 w 5487431"/>
              <a:gd name="connsiteY101" fmla="*/ 223054 h 505330"/>
              <a:gd name="connsiteX102" fmla="*/ 4622588 w 5487431"/>
              <a:gd name="connsiteY102" fmla="*/ 178895 h 505330"/>
              <a:gd name="connsiteX103" fmla="*/ 4693754 w 5487431"/>
              <a:gd name="connsiteY103" fmla="*/ 245180 h 505330"/>
              <a:gd name="connsiteX104" fmla="*/ 4763493 w 5487431"/>
              <a:gd name="connsiteY104" fmla="*/ 224466 h 505330"/>
              <a:gd name="connsiteX105" fmla="*/ 4629533 w 5487431"/>
              <a:gd name="connsiteY105" fmla="*/ 142174 h 505330"/>
              <a:gd name="connsiteX106" fmla="*/ 4975471 w 5487431"/>
              <a:gd name="connsiteY106" fmla="*/ 463149 h 505330"/>
              <a:gd name="connsiteX107" fmla="*/ 4891745 w 5487431"/>
              <a:gd name="connsiteY107" fmla="*/ 321634 h 505330"/>
              <a:gd name="connsiteX108" fmla="*/ 4975471 w 5487431"/>
              <a:gd name="connsiteY108" fmla="*/ 180119 h 505330"/>
              <a:gd name="connsiteX109" fmla="*/ 5059196 w 5487431"/>
              <a:gd name="connsiteY109" fmla="*/ 321634 h 505330"/>
              <a:gd name="connsiteX110" fmla="*/ 4975471 w 5487431"/>
              <a:gd name="connsiteY110" fmla="*/ 463149 h 505330"/>
              <a:gd name="connsiteX111" fmla="*/ 4975471 w 5487431"/>
              <a:gd name="connsiteY111" fmla="*/ 142174 h 505330"/>
              <a:gd name="connsiteX112" fmla="*/ 4805261 w 5487431"/>
              <a:gd name="connsiteY112" fmla="*/ 321634 h 505330"/>
              <a:gd name="connsiteX113" fmla="*/ 4975471 w 5487431"/>
              <a:gd name="connsiteY113" fmla="*/ 501094 h 505330"/>
              <a:gd name="connsiteX114" fmla="*/ 5145680 w 5487431"/>
              <a:gd name="connsiteY114" fmla="*/ 321634 h 505330"/>
              <a:gd name="connsiteX115" fmla="*/ 4975471 w 5487431"/>
              <a:gd name="connsiteY115" fmla="*/ 142174 h 505330"/>
              <a:gd name="connsiteX116" fmla="*/ 5377257 w 5487431"/>
              <a:gd name="connsiteY116" fmla="*/ 142174 h 505330"/>
              <a:gd name="connsiteX117" fmla="*/ 5280973 w 5487431"/>
              <a:gd name="connsiteY117" fmla="*/ 192547 h 505330"/>
              <a:gd name="connsiteX118" fmla="*/ 5276787 w 5487431"/>
              <a:gd name="connsiteY118" fmla="*/ 192547 h 505330"/>
              <a:gd name="connsiteX119" fmla="*/ 5276787 w 5487431"/>
              <a:gd name="connsiteY119" fmla="*/ 149048 h 505330"/>
              <a:gd name="connsiteX120" fmla="*/ 5194488 w 5487431"/>
              <a:gd name="connsiteY120" fmla="*/ 149048 h 505330"/>
              <a:gd name="connsiteX121" fmla="*/ 5194488 w 5487431"/>
              <a:gd name="connsiteY121" fmla="*/ 494221 h 505330"/>
              <a:gd name="connsiteX122" fmla="*/ 5276787 w 5487431"/>
              <a:gd name="connsiteY122" fmla="*/ 494221 h 505330"/>
              <a:gd name="connsiteX123" fmla="*/ 5276787 w 5487431"/>
              <a:gd name="connsiteY123" fmla="*/ 271261 h 505330"/>
              <a:gd name="connsiteX124" fmla="*/ 5345860 w 5487431"/>
              <a:gd name="connsiteY124" fmla="*/ 190476 h 505330"/>
              <a:gd name="connsiteX125" fmla="*/ 5405134 w 5487431"/>
              <a:gd name="connsiteY125" fmla="*/ 258173 h 505330"/>
              <a:gd name="connsiteX126" fmla="*/ 5405134 w 5487431"/>
              <a:gd name="connsiteY126" fmla="*/ 494221 h 505330"/>
              <a:gd name="connsiteX127" fmla="*/ 5487432 w 5487431"/>
              <a:gd name="connsiteY127" fmla="*/ 494221 h 505330"/>
              <a:gd name="connsiteX128" fmla="*/ 5487432 w 5487431"/>
              <a:gd name="connsiteY128" fmla="*/ 257420 h 505330"/>
              <a:gd name="connsiteX129" fmla="*/ 5377257 w 5487431"/>
              <a:gd name="connsiteY129" fmla="*/ 142174 h 505330"/>
              <a:gd name="connsiteX130" fmla="*/ 323674 w 5487431"/>
              <a:gd name="connsiteY130" fmla="*/ 11016 h 505330"/>
              <a:gd name="connsiteX131" fmla="*/ 237190 w 5487431"/>
              <a:gd name="connsiteY131" fmla="*/ 11016 h 505330"/>
              <a:gd name="connsiteX132" fmla="*/ 237190 w 5487431"/>
              <a:gd name="connsiteY132" fmla="*/ 367864 h 505330"/>
              <a:gd name="connsiteX133" fmla="*/ 161837 w 5487431"/>
              <a:gd name="connsiteY133" fmla="*/ 460325 h 505330"/>
              <a:gd name="connsiteX134" fmla="*/ 86484 w 5487431"/>
              <a:gd name="connsiteY134" fmla="*/ 360897 h 505330"/>
              <a:gd name="connsiteX135" fmla="*/ 86484 w 5487431"/>
              <a:gd name="connsiteY135" fmla="*/ 294612 h 505330"/>
              <a:gd name="connsiteX136" fmla="*/ 0 w 5487431"/>
              <a:gd name="connsiteY136" fmla="*/ 315985 h 505330"/>
              <a:gd name="connsiteX137" fmla="*/ 0 w 5487431"/>
              <a:gd name="connsiteY137" fmla="*/ 345644 h 505330"/>
              <a:gd name="connsiteX138" fmla="*/ 161837 w 5487431"/>
              <a:gd name="connsiteY138" fmla="*/ 505143 h 505330"/>
              <a:gd name="connsiteX139" fmla="*/ 323674 w 5487431"/>
              <a:gd name="connsiteY139" fmla="*/ 345644 h 505330"/>
              <a:gd name="connsiteX140" fmla="*/ 323674 w 5487431"/>
              <a:gd name="connsiteY140" fmla="*/ 11016 h 505330"/>
              <a:gd name="connsiteX141" fmla="*/ 844008 w 5487431"/>
              <a:gd name="connsiteY141" fmla="*/ 11016 h 505330"/>
              <a:gd name="connsiteX142" fmla="*/ 761710 w 5487431"/>
              <a:gd name="connsiteY142" fmla="*/ 11016 h 505330"/>
              <a:gd name="connsiteX143" fmla="*/ 761710 w 5487431"/>
              <a:gd name="connsiteY143" fmla="*/ 494221 h 505330"/>
              <a:gd name="connsiteX144" fmla="*/ 844008 w 5487431"/>
              <a:gd name="connsiteY144" fmla="*/ 494221 h 505330"/>
              <a:gd name="connsiteX145" fmla="*/ 844008 w 5487431"/>
              <a:gd name="connsiteY145" fmla="*/ 271261 h 505330"/>
              <a:gd name="connsiteX146" fmla="*/ 913081 w 5487431"/>
              <a:gd name="connsiteY146" fmla="*/ 190476 h 505330"/>
              <a:gd name="connsiteX147" fmla="*/ 972355 w 5487431"/>
              <a:gd name="connsiteY147" fmla="*/ 258173 h 505330"/>
              <a:gd name="connsiteX148" fmla="*/ 972355 w 5487431"/>
              <a:gd name="connsiteY148" fmla="*/ 494221 h 505330"/>
              <a:gd name="connsiteX149" fmla="*/ 1054653 w 5487431"/>
              <a:gd name="connsiteY149" fmla="*/ 494221 h 505330"/>
              <a:gd name="connsiteX150" fmla="*/ 1054653 w 5487431"/>
              <a:gd name="connsiteY150" fmla="*/ 257420 h 505330"/>
              <a:gd name="connsiteX151" fmla="*/ 944478 w 5487431"/>
              <a:gd name="connsiteY151" fmla="*/ 142174 h 505330"/>
              <a:gd name="connsiteX152" fmla="*/ 848194 w 5487431"/>
              <a:gd name="connsiteY152" fmla="*/ 192547 h 505330"/>
              <a:gd name="connsiteX153" fmla="*/ 844008 w 5487431"/>
              <a:gd name="connsiteY153" fmla="*/ 192547 h 505330"/>
              <a:gd name="connsiteX154" fmla="*/ 844008 w 5487431"/>
              <a:gd name="connsiteY154" fmla="*/ 11016 h 505330"/>
              <a:gd name="connsiteX155" fmla="*/ 3352342 w 5487431"/>
              <a:gd name="connsiteY155" fmla="*/ 11016 h 505330"/>
              <a:gd name="connsiteX156" fmla="*/ 3265857 w 5487431"/>
              <a:gd name="connsiteY156" fmla="*/ 11016 h 505330"/>
              <a:gd name="connsiteX157" fmla="*/ 3265857 w 5487431"/>
              <a:gd name="connsiteY157" fmla="*/ 367864 h 505330"/>
              <a:gd name="connsiteX158" fmla="*/ 3190504 w 5487431"/>
              <a:gd name="connsiteY158" fmla="*/ 460325 h 505330"/>
              <a:gd name="connsiteX159" fmla="*/ 3115152 w 5487431"/>
              <a:gd name="connsiteY159" fmla="*/ 360897 h 505330"/>
              <a:gd name="connsiteX160" fmla="*/ 3115152 w 5487431"/>
              <a:gd name="connsiteY160" fmla="*/ 294612 h 505330"/>
              <a:gd name="connsiteX161" fmla="*/ 3028667 w 5487431"/>
              <a:gd name="connsiteY161" fmla="*/ 315985 h 505330"/>
              <a:gd name="connsiteX162" fmla="*/ 3028667 w 5487431"/>
              <a:gd name="connsiteY162" fmla="*/ 345644 h 505330"/>
              <a:gd name="connsiteX163" fmla="*/ 3190504 w 5487431"/>
              <a:gd name="connsiteY163" fmla="*/ 505143 h 505330"/>
              <a:gd name="connsiteX164" fmla="*/ 3352342 w 5487431"/>
              <a:gd name="connsiteY164" fmla="*/ 345644 h 505330"/>
              <a:gd name="connsiteX165" fmla="*/ 3352342 w 5487431"/>
              <a:gd name="connsiteY165" fmla="*/ 11016 h 505330"/>
              <a:gd name="connsiteX166" fmla="*/ 3872675 w 5487431"/>
              <a:gd name="connsiteY166" fmla="*/ 11016 h 505330"/>
              <a:gd name="connsiteX167" fmla="*/ 3790377 w 5487431"/>
              <a:gd name="connsiteY167" fmla="*/ 11016 h 505330"/>
              <a:gd name="connsiteX168" fmla="*/ 3790377 w 5487431"/>
              <a:gd name="connsiteY168" fmla="*/ 494221 h 505330"/>
              <a:gd name="connsiteX169" fmla="*/ 3872675 w 5487431"/>
              <a:gd name="connsiteY169" fmla="*/ 494221 h 505330"/>
              <a:gd name="connsiteX170" fmla="*/ 3872675 w 5487431"/>
              <a:gd name="connsiteY170" fmla="*/ 271261 h 505330"/>
              <a:gd name="connsiteX171" fmla="*/ 3941749 w 5487431"/>
              <a:gd name="connsiteY171" fmla="*/ 190476 h 505330"/>
              <a:gd name="connsiteX172" fmla="*/ 4001022 w 5487431"/>
              <a:gd name="connsiteY172" fmla="*/ 258173 h 505330"/>
              <a:gd name="connsiteX173" fmla="*/ 4001022 w 5487431"/>
              <a:gd name="connsiteY173" fmla="*/ 494221 h 505330"/>
              <a:gd name="connsiteX174" fmla="*/ 4083320 w 5487431"/>
              <a:gd name="connsiteY174" fmla="*/ 494221 h 505330"/>
              <a:gd name="connsiteX175" fmla="*/ 4083320 w 5487431"/>
              <a:gd name="connsiteY175" fmla="*/ 257420 h 505330"/>
              <a:gd name="connsiteX176" fmla="*/ 3973146 w 5487431"/>
              <a:gd name="connsiteY176" fmla="*/ 142174 h 505330"/>
              <a:gd name="connsiteX177" fmla="*/ 3876861 w 5487431"/>
              <a:gd name="connsiteY177" fmla="*/ 192547 h 505330"/>
              <a:gd name="connsiteX178" fmla="*/ 3872675 w 5487431"/>
              <a:gd name="connsiteY178" fmla="*/ 192547 h 505330"/>
              <a:gd name="connsiteX179" fmla="*/ 3872675 w 5487431"/>
              <a:gd name="connsiteY179" fmla="*/ 11016 h 505330"/>
              <a:gd name="connsiteX180" fmla="*/ 2730110 w 5487431"/>
              <a:gd name="connsiteY180" fmla="*/ 454864 h 505330"/>
              <a:gd name="connsiteX181" fmla="*/ 2622029 w 5487431"/>
              <a:gd name="connsiteY181" fmla="*/ 343761 h 505330"/>
              <a:gd name="connsiteX182" fmla="*/ 2664557 w 5487431"/>
              <a:gd name="connsiteY182" fmla="*/ 256102 h 505330"/>
              <a:gd name="connsiteX183" fmla="*/ 2822208 w 5487431"/>
              <a:gd name="connsiteY183" fmla="*/ 426617 h 505330"/>
              <a:gd name="connsiteX184" fmla="*/ 2730110 w 5487431"/>
              <a:gd name="connsiteY184" fmla="*/ 454864 h 505330"/>
              <a:gd name="connsiteX185" fmla="*/ 2883575 w 5487431"/>
              <a:gd name="connsiteY185" fmla="*/ 369936 h 505330"/>
              <a:gd name="connsiteX186" fmla="*/ 2746856 w 5487431"/>
              <a:gd name="connsiteY186" fmla="*/ 220794 h 505330"/>
              <a:gd name="connsiteX187" fmla="*/ 2814502 w 5487431"/>
              <a:gd name="connsiteY187" fmla="*/ 207706 h 505330"/>
              <a:gd name="connsiteX188" fmla="*/ 2905838 w 5487431"/>
              <a:gd name="connsiteY188" fmla="*/ 296118 h 505330"/>
              <a:gd name="connsiteX189" fmla="*/ 2883575 w 5487431"/>
              <a:gd name="connsiteY189" fmla="*/ 369936 h 505330"/>
              <a:gd name="connsiteX190" fmla="*/ 2728017 w 5487431"/>
              <a:gd name="connsiteY190" fmla="*/ 200833 h 505330"/>
              <a:gd name="connsiteX191" fmla="*/ 2698047 w 5487431"/>
              <a:gd name="connsiteY191" fmla="*/ 167690 h 505330"/>
              <a:gd name="connsiteX192" fmla="*/ 2663891 w 5487431"/>
              <a:gd name="connsiteY192" fmla="*/ 99334 h 505330"/>
              <a:gd name="connsiteX193" fmla="*/ 2730110 w 5487431"/>
              <a:gd name="connsiteY193" fmla="*/ 36532 h 505330"/>
              <a:gd name="connsiteX194" fmla="*/ 2795664 w 5487431"/>
              <a:gd name="connsiteY194" fmla="*/ 102817 h 505330"/>
              <a:gd name="connsiteX195" fmla="*/ 2728017 w 5487431"/>
              <a:gd name="connsiteY195" fmla="*/ 200833 h 505330"/>
              <a:gd name="connsiteX196" fmla="*/ 2732204 w 5487431"/>
              <a:gd name="connsiteY196" fmla="*/ 0 h 505330"/>
              <a:gd name="connsiteX197" fmla="*/ 2588539 w 5487431"/>
              <a:gd name="connsiteY197" fmla="*/ 119389 h 505330"/>
              <a:gd name="connsiteX198" fmla="*/ 2644387 w 5487431"/>
              <a:gd name="connsiteY198" fmla="*/ 234635 h 505330"/>
              <a:gd name="connsiteX199" fmla="*/ 2645053 w 5487431"/>
              <a:gd name="connsiteY199" fmla="*/ 236047 h 505330"/>
              <a:gd name="connsiteX200" fmla="*/ 2545344 w 5487431"/>
              <a:gd name="connsiteY200" fmla="*/ 374832 h 505330"/>
              <a:gd name="connsiteX201" fmla="*/ 2685584 w 5487431"/>
              <a:gd name="connsiteY201" fmla="*/ 505331 h 505330"/>
              <a:gd name="connsiteX202" fmla="*/ 2843235 w 5487431"/>
              <a:gd name="connsiteY202" fmla="*/ 449403 h 505330"/>
              <a:gd name="connsiteX203" fmla="*/ 2885097 w 5487431"/>
              <a:gd name="connsiteY203" fmla="*/ 494315 h 505330"/>
              <a:gd name="connsiteX204" fmla="*/ 2994606 w 5487431"/>
              <a:gd name="connsiteY204" fmla="*/ 494315 h 505330"/>
              <a:gd name="connsiteX205" fmla="*/ 2994606 w 5487431"/>
              <a:gd name="connsiteY205" fmla="*/ 490831 h 505330"/>
              <a:gd name="connsiteX206" fmla="*/ 2905363 w 5487431"/>
              <a:gd name="connsiteY206" fmla="*/ 393474 h 505330"/>
              <a:gd name="connsiteX207" fmla="*/ 2964637 w 5487431"/>
              <a:gd name="connsiteY207" fmla="*/ 258833 h 505330"/>
              <a:gd name="connsiteX208" fmla="*/ 2873300 w 5487431"/>
              <a:gd name="connsiteY208" fmla="*/ 171174 h 505330"/>
              <a:gd name="connsiteX209" fmla="*/ 2789574 w 5487431"/>
              <a:gd name="connsiteY209" fmla="*/ 187745 h 505330"/>
              <a:gd name="connsiteX210" fmla="*/ 2788147 w 5487431"/>
              <a:gd name="connsiteY210" fmla="*/ 185015 h 505330"/>
              <a:gd name="connsiteX211" fmla="*/ 2863500 w 5487431"/>
              <a:gd name="connsiteY211" fmla="*/ 93873 h 505330"/>
              <a:gd name="connsiteX212" fmla="*/ 2732204 w 5487431"/>
              <a:gd name="connsiteY212" fmla="*/ 0 h 50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5487431" h="505330">
                <a:moveTo>
                  <a:pt x="542692" y="463149"/>
                </a:moveTo>
                <a:cubicBezTo>
                  <a:pt x="488937" y="463149"/>
                  <a:pt x="458967" y="412776"/>
                  <a:pt x="458967" y="321634"/>
                </a:cubicBezTo>
                <a:cubicBezTo>
                  <a:pt x="458967" y="229080"/>
                  <a:pt x="488937" y="180119"/>
                  <a:pt x="542692" y="180119"/>
                </a:cubicBezTo>
                <a:cubicBezTo>
                  <a:pt x="596448" y="180119"/>
                  <a:pt x="626417" y="229833"/>
                  <a:pt x="626417" y="321634"/>
                </a:cubicBezTo>
                <a:cubicBezTo>
                  <a:pt x="626322" y="414189"/>
                  <a:pt x="596352" y="463149"/>
                  <a:pt x="542692" y="463149"/>
                </a:cubicBezTo>
                <a:moveTo>
                  <a:pt x="542692" y="142174"/>
                </a:moveTo>
                <a:cubicBezTo>
                  <a:pt x="433183" y="142174"/>
                  <a:pt x="372482" y="222959"/>
                  <a:pt x="372482" y="321634"/>
                </a:cubicBezTo>
                <a:cubicBezTo>
                  <a:pt x="372482" y="420309"/>
                  <a:pt x="433183" y="501094"/>
                  <a:pt x="542692" y="501094"/>
                </a:cubicBezTo>
                <a:cubicBezTo>
                  <a:pt x="652201" y="501094"/>
                  <a:pt x="712902" y="420309"/>
                  <a:pt x="712902" y="321634"/>
                </a:cubicBezTo>
                <a:cubicBezTo>
                  <a:pt x="712902" y="222959"/>
                  <a:pt x="652201" y="142174"/>
                  <a:pt x="542692" y="142174"/>
                </a:cubicBezTo>
                <a:moveTo>
                  <a:pt x="1303641" y="142174"/>
                </a:moveTo>
                <a:cubicBezTo>
                  <a:pt x="1251979" y="142174"/>
                  <a:pt x="1223436" y="164301"/>
                  <a:pt x="1207357" y="192547"/>
                </a:cubicBezTo>
                <a:lnTo>
                  <a:pt x="1203170" y="192547"/>
                </a:lnTo>
                <a:lnTo>
                  <a:pt x="1203170" y="149048"/>
                </a:lnTo>
                <a:lnTo>
                  <a:pt x="1120872" y="149048"/>
                </a:lnTo>
                <a:lnTo>
                  <a:pt x="1120872" y="494221"/>
                </a:lnTo>
                <a:lnTo>
                  <a:pt x="1203170" y="494221"/>
                </a:lnTo>
                <a:lnTo>
                  <a:pt x="1203170" y="271261"/>
                </a:lnTo>
                <a:cubicBezTo>
                  <a:pt x="1203170" y="220229"/>
                  <a:pt x="1229715" y="190476"/>
                  <a:pt x="1272244" y="190476"/>
                </a:cubicBezTo>
                <a:cubicBezTo>
                  <a:pt x="1313440" y="190476"/>
                  <a:pt x="1331518" y="217404"/>
                  <a:pt x="1331518" y="258173"/>
                </a:cubicBezTo>
                <a:lnTo>
                  <a:pt x="1331518" y="494221"/>
                </a:lnTo>
                <a:lnTo>
                  <a:pt x="1413816" y="494221"/>
                </a:lnTo>
                <a:lnTo>
                  <a:pt x="1413816" y="257420"/>
                </a:lnTo>
                <a:cubicBezTo>
                  <a:pt x="1413911" y="186333"/>
                  <a:pt x="1376234" y="142174"/>
                  <a:pt x="1303641" y="142174"/>
                </a:cubicBezTo>
                <a:moveTo>
                  <a:pt x="1600771" y="142174"/>
                </a:moveTo>
                <a:cubicBezTo>
                  <a:pt x="1524752" y="142174"/>
                  <a:pt x="1467571" y="173905"/>
                  <a:pt x="1467571" y="241602"/>
                </a:cubicBezTo>
                <a:cubicBezTo>
                  <a:pt x="1467571" y="298943"/>
                  <a:pt x="1507341" y="330014"/>
                  <a:pt x="1551962" y="341030"/>
                </a:cubicBezTo>
                <a:lnTo>
                  <a:pt x="1621702" y="358260"/>
                </a:lnTo>
                <a:cubicBezTo>
                  <a:pt x="1658712" y="367205"/>
                  <a:pt x="1675457" y="380387"/>
                  <a:pt x="1675457" y="409387"/>
                </a:cubicBezTo>
                <a:cubicBezTo>
                  <a:pt x="1675457" y="444601"/>
                  <a:pt x="1650340" y="464656"/>
                  <a:pt x="1606384" y="464656"/>
                </a:cubicBezTo>
                <a:cubicBezTo>
                  <a:pt x="1558908" y="464656"/>
                  <a:pt x="1534551" y="441870"/>
                  <a:pt x="1526845" y="384624"/>
                </a:cubicBezTo>
                <a:lnTo>
                  <a:pt x="1452919" y="405338"/>
                </a:lnTo>
                <a:cubicBezTo>
                  <a:pt x="1457106" y="464750"/>
                  <a:pt x="1512954" y="501282"/>
                  <a:pt x="1597345" y="501282"/>
                </a:cubicBezTo>
                <a:cubicBezTo>
                  <a:pt x="1691536" y="501282"/>
                  <a:pt x="1742438" y="457782"/>
                  <a:pt x="1742438" y="388767"/>
                </a:cubicBezTo>
                <a:cubicBezTo>
                  <a:pt x="1742438" y="323894"/>
                  <a:pt x="1697055" y="296965"/>
                  <a:pt x="1649674" y="285196"/>
                </a:cubicBezTo>
                <a:lnTo>
                  <a:pt x="1582693" y="268625"/>
                </a:lnTo>
                <a:cubicBezTo>
                  <a:pt x="1549203" y="260339"/>
                  <a:pt x="1534551" y="245180"/>
                  <a:pt x="1534551" y="223054"/>
                </a:cubicBezTo>
                <a:cubicBezTo>
                  <a:pt x="1534551" y="195466"/>
                  <a:pt x="1558242" y="178895"/>
                  <a:pt x="1593825" y="178895"/>
                </a:cubicBezTo>
                <a:cubicBezTo>
                  <a:pt x="1635688" y="178895"/>
                  <a:pt x="1661471" y="201680"/>
                  <a:pt x="1664992" y="245180"/>
                </a:cubicBezTo>
                <a:lnTo>
                  <a:pt x="1734731" y="224466"/>
                </a:lnTo>
                <a:cubicBezTo>
                  <a:pt x="1726358" y="175976"/>
                  <a:pt x="1678216" y="142174"/>
                  <a:pt x="1600771" y="142174"/>
                </a:cubicBezTo>
                <a:moveTo>
                  <a:pt x="1946803" y="463149"/>
                </a:moveTo>
                <a:cubicBezTo>
                  <a:pt x="1893048" y="463149"/>
                  <a:pt x="1863078" y="412776"/>
                  <a:pt x="1863078" y="321634"/>
                </a:cubicBezTo>
                <a:cubicBezTo>
                  <a:pt x="1863078" y="229080"/>
                  <a:pt x="1893048" y="180119"/>
                  <a:pt x="1946803" y="180119"/>
                </a:cubicBezTo>
                <a:cubicBezTo>
                  <a:pt x="2000559" y="180119"/>
                  <a:pt x="2030529" y="229833"/>
                  <a:pt x="2030529" y="321634"/>
                </a:cubicBezTo>
                <a:cubicBezTo>
                  <a:pt x="2030529" y="414189"/>
                  <a:pt x="2000464" y="463149"/>
                  <a:pt x="1946803" y="463149"/>
                </a:cubicBezTo>
                <a:moveTo>
                  <a:pt x="1946803" y="142174"/>
                </a:moveTo>
                <a:cubicBezTo>
                  <a:pt x="1837294" y="142174"/>
                  <a:pt x="1776594" y="222959"/>
                  <a:pt x="1776594" y="321634"/>
                </a:cubicBezTo>
                <a:cubicBezTo>
                  <a:pt x="1776594" y="420309"/>
                  <a:pt x="1837294" y="501094"/>
                  <a:pt x="1946803" y="501094"/>
                </a:cubicBezTo>
                <a:cubicBezTo>
                  <a:pt x="2056312" y="501094"/>
                  <a:pt x="2117013" y="420309"/>
                  <a:pt x="2117013" y="321634"/>
                </a:cubicBezTo>
                <a:cubicBezTo>
                  <a:pt x="2117013" y="222959"/>
                  <a:pt x="2056312" y="142174"/>
                  <a:pt x="1946803" y="142174"/>
                </a:cubicBezTo>
                <a:moveTo>
                  <a:pt x="2348590" y="142174"/>
                </a:moveTo>
                <a:cubicBezTo>
                  <a:pt x="2296927" y="142174"/>
                  <a:pt x="2268385" y="164301"/>
                  <a:pt x="2252306" y="192547"/>
                </a:cubicBezTo>
                <a:lnTo>
                  <a:pt x="2248119" y="192547"/>
                </a:lnTo>
                <a:lnTo>
                  <a:pt x="2248119" y="149048"/>
                </a:lnTo>
                <a:lnTo>
                  <a:pt x="2165821" y="149048"/>
                </a:lnTo>
                <a:lnTo>
                  <a:pt x="2165821" y="494221"/>
                </a:lnTo>
                <a:lnTo>
                  <a:pt x="2248119" y="494221"/>
                </a:lnTo>
                <a:lnTo>
                  <a:pt x="2248119" y="271261"/>
                </a:lnTo>
                <a:cubicBezTo>
                  <a:pt x="2248119" y="220229"/>
                  <a:pt x="2274664" y="190476"/>
                  <a:pt x="2317193" y="190476"/>
                </a:cubicBezTo>
                <a:cubicBezTo>
                  <a:pt x="2358389" y="190476"/>
                  <a:pt x="2376466" y="217404"/>
                  <a:pt x="2376466" y="258173"/>
                </a:cubicBezTo>
                <a:lnTo>
                  <a:pt x="2376466" y="494221"/>
                </a:lnTo>
                <a:lnTo>
                  <a:pt x="2458764" y="494221"/>
                </a:lnTo>
                <a:lnTo>
                  <a:pt x="2458764" y="257420"/>
                </a:lnTo>
                <a:cubicBezTo>
                  <a:pt x="2458764" y="186333"/>
                  <a:pt x="2421088" y="142174"/>
                  <a:pt x="2348590" y="142174"/>
                </a:cubicBezTo>
                <a:moveTo>
                  <a:pt x="3571359" y="463149"/>
                </a:moveTo>
                <a:cubicBezTo>
                  <a:pt x="3517604" y="463149"/>
                  <a:pt x="3487634" y="412776"/>
                  <a:pt x="3487634" y="321634"/>
                </a:cubicBezTo>
                <a:cubicBezTo>
                  <a:pt x="3487634" y="229080"/>
                  <a:pt x="3517604" y="180119"/>
                  <a:pt x="3571359" y="180119"/>
                </a:cubicBezTo>
                <a:cubicBezTo>
                  <a:pt x="3625115" y="180119"/>
                  <a:pt x="3655085" y="229833"/>
                  <a:pt x="3655085" y="321634"/>
                </a:cubicBezTo>
                <a:cubicBezTo>
                  <a:pt x="3655085" y="414189"/>
                  <a:pt x="3625020" y="463149"/>
                  <a:pt x="3571359" y="463149"/>
                </a:cubicBezTo>
                <a:moveTo>
                  <a:pt x="3571359" y="142174"/>
                </a:moveTo>
                <a:cubicBezTo>
                  <a:pt x="3461850" y="142174"/>
                  <a:pt x="3401150" y="222959"/>
                  <a:pt x="3401150" y="321634"/>
                </a:cubicBezTo>
                <a:cubicBezTo>
                  <a:pt x="3401150" y="420309"/>
                  <a:pt x="3461850" y="501094"/>
                  <a:pt x="3571359" y="501094"/>
                </a:cubicBezTo>
                <a:cubicBezTo>
                  <a:pt x="3680868" y="501094"/>
                  <a:pt x="3741569" y="420309"/>
                  <a:pt x="3741569" y="321634"/>
                </a:cubicBezTo>
                <a:cubicBezTo>
                  <a:pt x="3741569" y="222959"/>
                  <a:pt x="3680868" y="142174"/>
                  <a:pt x="3571359" y="142174"/>
                </a:cubicBezTo>
                <a:moveTo>
                  <a:pt x="4332308" y="142174"/>
                </a:moveTo>
                <a:cubicBezTo>
                  <a:pt x="4280646" y="142174"/>
                  <a:pt x="4252103" y="164301"/>
                  <a:pt x="4236024" y="192547"/>
                </a:cubicBezTo>
                <a:lnTo>
                  <a:pt x="4231838" y="192547"/>
                </a:lnTo>
                <a:lnTo>
                  <a:pt x="4231838" y="149048"/>
                </a:lnTo>
                <a:lnTo>
                  <a:pt x="4149539" y="149048"/>
                </a:lnTo>
                <a:lnTo>
                  <a:pt x="4149539" y="494221"/>
                </a:lnTo>
                <a:lnTo>
                  <a:pt x="4231838" y="494221"/>
                </a:lnTo>
                <a:lnTo>
                  <a:pt x="4231838" y="271261"/>
                </a:lnTo>
                <a:cubicBezTo>
                  <a:pt x="4231838" y="220229"/>
                  <a:pt x="4258383" y="190476"/>
                  <a:pt x="4300911" y="190476"/>
                </a:cubicBezTo>
                <a:cubicBezTo>
                  <a:pt x="4342108" y="190476"/>
                  <a:pt x="4360185" y="217404"/>
                  <a:pt x="4360185" y="258173"/>
                </a:cubicBezTo>
                <a:lnTo>
                  <a:pt x="4360185" y="494221"/>
                </a:lnTo>
                <a:lnTo>
                  <a:pt x="4442483" y="494221"/>
                </a:lnTo>
                <a:lnTo>
                  <a:pt x="4442483" y="257420"/>
                </a:lnTo>
                <a:cubicBezTo>
                  <a:pt x="4442578" y="186333"/>
                  <a:pt x="4404902" y="142174"/>
                  <a:pt x="4332308" y="142174"/>
                </a:cubicBezTo>
                <a:moveTo>
                  <a:pt x="4629533" y="142174"/>
                </a:moveTo>
                <a:cubicBezTo>
                  <a:pt x="4553514" y="142174"/>
                  <a:pt x="4496334" y="173905"/>
                  <a:pt x="4496334" y="241602"/>
                </a:cubicBezTo>
                <a:cubicBezTo>
                  <a:pt x="4496334" y="298943"/>
                  <a:pt x="4536103" y="330014"/>
                  <a:pt x="4580725" y="341030"/>
                </a:cubicBezTo>
                <a:lnTo>
                  <a:pt x="4650464" y="358260"/>
                </a:lnTo>
                <a:cubicBezTo>
                  <a:pt x="4687475" y="367205"/>
                  <a:pt x="4704220" y="380387"/>
                  <a:pt x="4704220" y="409387"/>
                </a:cubicBezTo>
                <a:cubicBezTo>
                  <a:pt x="4704220" y="444601"/>
                  <a:pt x="4679102" y="464656"/>
                  <a:pt x="4635146" y="464656"/>
                </a:cubicBezTo>
                <a:cubicBezTo>
                  <a:pt x="4587670" y="464656"/>
                  <a:pt x="4563314" y="441870"/>
                  <a:pt x="4555607" y="384624"/>
                </a:cubicBezTo>
                <a:lnTo>
                  <a:pt x="4481682" y="405338"/>
                </a:lnTo>
                <a:cubicBezTo>
                  <a:pt x="4485868" y="464750"/>
                  <a:pt x="4541716" y="501282"/>
                  <a:pt x="4626108" y="501282"/>
                </a:cubicBezTo>
                <a:cubicBezTo>
                  <a:pt x="4720299" y="501282"/>
                  <a:pt x="4771200" y="457782"/>
                  <a:pt x="4771200" y="388767"/>
                </a:cubicBezTo>
                <a:cubicBezTo>
                  <a:pt x="4771200" y="323894"/>
                  <a:pt x="4725817" y="296965"/>
                  <a:pt x="4678436" y="285196"/>
                </a:cubicBezTo>
                <a:lnTo>
                  <a:pt x="4611456" y="268625"/>
                </a:lnTo>
                <a:cubicBezTo>
                  <a:pt x="4577966" y="260339"/>
                  <a:pt x="4563314" y="245180"/>
                  <a:pt x="4563314" y="223054"/>
                </a:cubicBezTo>
                <a:cubicBezTo>
                  <a:pt x="4563314" y="195466"/>
                  <a:pt x="4587004" y="178895"/>
                  <a:pt x="4622588" y="178895"/>
                </a:cubicBezTo>
                <a:cubicBezTo>
                  <a:pt x="4664450" y="178895"/>
                  <a:pt x="4690234" y="201680"/>
                  <a:pt x="4693754" y="245180"/>
                </a:cubicBezTo>
                <a:lnTo>
                  <a:pt x="4763493" y="224466"/>
                </a:lnTo>
                <a:cubicBezTo>
                  <a:pt x="4755026" y="175976"/>
                  <a:pt x="4706884" y="142174"/>
                  <a:pt x="4629533" y="142174"/>
                </a:cubicBezTo>
                <a:moveTo>
                  <a:pt x="4975471" y="463149"/>
                </a:moveTo>
                <a:cubicBezTo>
                  <a:pt x="4921715" y="463149"/>
                  <a:pt x="4891745" y="412776"/>
                  <a:pt x="4891745" y="321634"/>
                </a:cubicBezTo>
                <a:cubicBezTo>
                  <a:pt x="4891745" y="229080"/>
                  <a:pt x="4921715" y="180119"/>
                  <a:pt x="4975471" y="180119"/>
                </a:cubicBezTo>
                <a:cubicBezTo>
                  <a:pt x="5029226" y="180119"/>
                  <a:pt x="5059196" y="229833"/>
                  <a:pt x="5059196" y="321634"/>
                </a:cubicBezTo>
                <a:cubicBezTo>
                  <a:pt x="5059196" y="414189"/>
                  <a:pt x="5029131" y="463149"/>
                  <a:pt x="4975471" y="463149"/>
                </a:cubicBezTo>
                <a:moveTo>
                  <a:pt x="4975471" y="142174"/>
                </a:moveTo>
                <a:cubicBezTo>
                  <a:pt x="4865962" y="142174"/>
                  <a:pt x="4805261" y="222959"/>
                  <a:pt x="4805261" y="321634"/>
                </a:cubicBezTo>
                <a:cubicBezTo>
                  <a:pt x="4805261" y="420309"/>
                  <a:pt x="4865962" y="501094"/>
                  <a:pt x="4975471" y="501094"/>
                </a:cubicBezTo>
                <a:cubicBezTo>
                  <a:pt x="5084980" y="501094"/>
                  <a:pt x="5145680" y="420309"/>
                  <a:pt x="5145680" y="321634"/>
                </a:cubicBezTo>
                <a:cubicBezTo>
                  <a:pt x="5145680" y="222959"/>
                  <a:pt x="5084980" y="142174"/>
                  <a:pt x="4975471" y="142174"/>
                </a:cubicBezTo>
                <a:moveTo>
                  <a:pt x="5377257" y="142174"/>
                </a:moveTo>
                <a:cubicBezTo>
                  <a:pt x="5325595" y="142174"/>
                  <a:pt x="5297052" y="164301"/>
                  <a:pt x="5280973" y="192547"/>
                </a:cubicBezTo>
                <a:lnTo>
                  <a:pt x="5276787" y="192547"/>
                </a:lnTo>
                <a:lnTo>
                  <a:pt x="5276787" y="149048"/>
                </a:lnTo>
                <a:lnTo>
                  <a:pt x="5194488" y="149048"/>
                </a:lnTo>
                <a:lnTo>
                  <a:pt x="5194488" y="494221"/>
                </a:lnTo>
                <a:lnTo>
                  <a:pt x="5276787" y="494221"/>
                </a:lnTo>
                <a:lnTo>
                  <a:pt x="5276787" y="271261"/>
                </a:lnTo>
                <a:cubicBezTo>
                  <a:pt x="5276787" y="220229"/>
                  <a:pt x="5303331" y="190476"/>
                  <a:pt x="5345860" y="190476"/>
                </a:cubicBezTo>
                <a:cubicBezTo>
                  <a:pt x="5387057" y="190476"/>
                  <a:pt x="5405134" y="217404"/>
                  <a:pt x="5405134" y="258173"/>
                </a:cubicBezTo>
                <a:lnTo>
                  <a:pt x="5405134" y="494221"/>
                </a:lnTo>
                <a:lnTo>
                  <a:pt x="5487432" y="494221"/>
                </a:lnTo>
                <a:lnTo>
                  <a:pt x="5487432" y="257420"/>
                </a:lnTo>
                <a:cubicBezTo>
                  <a:pt x="5487432" y="186333"/>
                  <a:pt x="5449755" y="142174"/>
                  <a:pt x="5377257" y="142174"/>
                </a:cubicBezTo>
                <a:moveTo>
                  <a:pt x="323674" y="11016"/>
                </a:moveTo>
                <a:lnTo>
                  <a:pt x="237190" y="11016"/>
                </a:lnTo>
                <a:lnTo>
                  <a:pt x="237190" y="367864"/>
                </a:lnTo>
                <a:cubicBezTo>
                  <a:pt x="237190" y="425864"/>
                  <a:pt x="214831" y="460325"/>
                  <a:pt x="161837" y="460325"/>
                </a:cubicBezTo>
                <a:cubicBezTo>
                  <a:pt x="109509" y="460325"/>
                  <a:pt x="86484" y="423698"/>
                  <a:pt x="86484" y="360897"/>
                </a:cubicBezTo>
                <a:lnTo>
                  <a:pt x="86484" y="294612"/>
                </a:lnTo>
                <a:lnTo>
                  <a:pt x="0" y="315985"/>
                </a:lnTo>
                <a:lnTo>
                  <a:pt x="0" y="345644"/>
                </a:lnTo>
                <a:cubicBezTo>
                  <a:pt x="0" y="436033"/>
                  <a:pt x="45383" y="505143"/>
                  <a:pt x="161837" y="505143"/>
                </a:cubicBezTo>
                <a:cubicBezTo>
                  <a:pt x="278291" y="505143"/>
                  <a:pt x="323674" y="436127"/>
                  <a:pt x="323674" y="345644"/>
                </a:cubicBezTo>
                <a:lnTo>
                  <a:pt x="323674" y="11016"/>
                </a:lnTo>
                <a:moveTo>
                  <a:pt x="844008" y="11016"/>
                </a:moveTo>
                <a:lnTo>
                  <a:pt x="761710" y="11016"/>
                </a:lnTo>
                <a:lnTo>
                  <a:pt x="761710" y="494221"/>
                </a:lnTo>
                <a:lnTo>
                  <a:pt x="844008" y="494221"/>
                </a:lnTo>
                <a:lnTo>
                  <a:pt x="844008" y="271261"/>
                </a:lnTo>
                <a:cubicBezTo>
                  <a:pt x="844008" y="220229"/>
                  <a:pt x="870553" y="190476"/>
                  <a:pt x="913081" y="190476"/>
                </a:cubicBezTo>
                <a:cubicBezTo>
                  <a:pt x="954278" y="190476"/>
                  <a:pt x="972355" y="217404"/>
                  <a:pt x="972355" y="258173"/>
                </a:cubicBezTo>
                <a:lnTo>
                  <a:pt x="972355" y="494221"/>
                </a:lnTo>
                <a:lnTo>
                  <a:pt x="1054653" y="494221"/>
                </a:lnTo>
                <a:lnTo>
                  <a:pt x="1054653" y="257420"/>
                </a:lnTo>
                <a:cubicBezTo>
                  <a:pt x="1054653" y="186333"/>
                  <a:pt x="1016977" y="142174"/>
                  <a:pt x="944478" y="142174"/>
                </a:cubicBezTo>
                <a:cubicBezTo>
                  <a:pt x="892816" y="142174"/>
                  <a:pt x="864273" y="164301"/>
                  <a:pt x="848194" y="192547"/>
                </a:cubicBezTo>
                <a:lnTo>
                  <a:pt x="844008" y="192547"/>
                </a:lnTo>
                <a:lnTo>
                  <a:pt x="844008" y="11016"/>
                </a:lnTo>
                <a:moveTo>
                  <a:pt x="3352342" y="11016"/>
                </a:moveTo>
                <a:lnTo>
                  <a:pt x="3265857" y="11016"/>
                </a:lnTo>
                <a:lnTo>
                  <a:pt x="3265857" y="367864"/>
                </a:lnTo>
                <a:cubicBezTo>
                  <a:pt x="3265857" y="425864"/>
                  <a:pt x="3243499" y="460325"/>
                  <a:pt x="3190504" y="460325"/>
                </a:cubicBezTo>
                <a:cubicBezTo>
                  <a:pt x="3138176" y="460325"/>
                  <a:pt x="3115152" y="423698"/>
                  <a:pt x="3115152" y="360897"/>
                </a:cubicBezTo>
                <a:lnTo>
                  <a:pt x="3115152" y="294612"/>
                </a:lnTo>
                <a:lnTo>
                  <a:pt x="3028667" y="315985"/>
                </a:lnTo>
                <a:lnTo>
                  <a:pt x="3028667" y="345644"/>
                </a:lnTo>
                <a:cubicBezTo>
                  <a:pt x="3028667" y="436033"/>
                  <a:pt x="3074050" y="505143"/>
                  <a:pt x="3190504" y="505143"/>
                </a:cubicBezTo>
                <a:cubicBezTo>
                  <a:pt x="3306959" y="505143"/>
                  <a:pt x="3352342" y="436127"/>
                  <a:pt x="3352342" y="345644"/>
                </a:cubicBezTo>
                <a:lnTo>
                  <a:pt x="3352342" y="11016"/>
                </a:lnTo>
                <a:moveTo>
                  <a:pt x="3872675" y="11016"/>
                </a:moveTo>
                <a:lnTo>
                  <a:pt x="3790377" y="11016"/>
                </a:lnTo>
                <a:lnTo>
                  <a:pt x="3790377" y="494221"/>
                </a:lnTo>
                <a:lnTo>
                  <a:pt x="3872675" y="494221"/>
                </a:lnTo>
                <a:lnTo>
                  <a:pt x="3872675" y="271261"/>
                </a:lnTo>
                <a:cubicBezTo>
                  <a:pt x="3872675" y="220229"/>
                  <a:pt x="3899220" y="190476"/>
                  <a:pt x="3941749" y="190476"/>
                </a:cubicBezTo>
                <a:cubicBezTo>
                  <a:pt x="3982945" y="190476"/>
                  <a:pt x="4001022" y="217404"/>
                  <a:pt x="4001022" y="258173"/>
                </a:cubicBezTo>
                <a:lnTo>
                  <a:pt x="4001022" y="494221"/>
                </a:lnTo>
                <a:lnTo>
                  <a:pt x="4083320" y="494221"/>
                </a:lnTo>
                <a:lnTo>
                  <a:pt x="4083320" y="257420"/>
                </a:lnTo>
                <a:cubicBezTo>
                  <a:pt x="4083320" y="186333"/>
                  <a:pt x="4045644" y="142174"/>
                  <a:pt x="3973146" y="142174"/>
                </a:cubicBezTo>
                <a:cubicBezTo>
                  <a:pt x="3921483" y="142174"/>
                  <a:pt x="3892941" y="164301"/>
                  <a:pt x="3876861" y="192547"/>
                </a:cubicBezTo>
                <a:lnTo>
                  <a:pt x="3872675" y="192547"/>
                </a:lnTo>
                <a:lnTo>
                  <a:pt x="3872675" y="11016"/>
                </a:lnTo>
                <a:moveTo>
                  <a:pt x="2730110" y="454864"/>
                </a:moveTo>
                <a:cubicBezTo>
                  <a:pt x="2663130" y="454864"/>
                  <a:pt x="2622029" y="401007"/>
                  <a:pt x="2622029" y="343761"/>
                </a:cubicBezTo>
                <a:cubicBezTo>
                  <a:pt x="2622029" y="307887"/>
                  <a:pt x="2638108" y="274745"/>
                  <a:pt x="2664557" y="256102"/>
                </a:cubicBezTo>
                <a:lnTo>
                  <a:pt x="2822208" y="426617"/>
                </a:lnTo>
                <a:cubicBezTo>
                  <a:pt x="2792904" y="443848"/>
                  <a:pt x="2760080" y="454864"/>
                  <a:pt x="2730110" y="454864"/>
                </a:cubicBezTo>
                <a:moveTo>
                  <a:pt x="2883575" y="369936"/>
                </a:moveTo>
                <a:lnTo>
                  <a:pt x="2746856" y="220794"/>
                </a:lnTo>
                <a:cubicBezTo>
                  <a:pt x="2771307" y="211096"/>
                  <a:pt x="2794998" y="207706"/>
                  <a:pt x="2814502" y="207706"/>
                </a:cubicBezTo>
                <a:cubicBezTo>
                  <a:pt x="2871016" y="207706"/>
                  <a:pt x="2905838" y="240190"/>
                  <a:pt x="2905838" y="296118"/>
                </a:cubicBezTo>
                <a:cubicBezTo>
                  <a:pt x="2905934" y="320975"/>
                  <a:pt x="2898893" y="346491"/>
                  <a:pt x="2883575" y="369936"/>
                </a:cubicBezTo>
                <a:moveTo>
                  <a:pt x="2728017" y="200833"/>
                </a:moveTo>
                <a:lnTo>
                  <a:pt x="2698047" y="167690"/>
                </a:lnTo>
                <a:cubicBezTo>
                  <a:pt x="2671503" y="138691"/>
                  <a:pt x="2663891" y="120707"/>
                  <a:pt x="2663891" y="99334"/>
                </a:cubicBezTo>
                <a:cubicBezTo>
                  <a:pt x="2663891" y="59318"/>
                  <a:pt x="2689675" y="36532"/>
                  <a:pt x="2730110" y="36532"/>
                </a:cubicBezTo>
                <a:cubicBezTo>
                  <a:pt x="2771307" y="36532"/>
                  <a:pt x="2795664" y="59977"/>
                  <a:pt x="2795664" y="102817"/>
                </a:cubicBezTo>
                <a:cubicBezTo>
                  <a:pt x="2795664" y="142174"/>
                  <a:pt x="2776159" y="179460"/>
                  <a:pt x="2728017" y="200833"/>
                </a:cubicBezTo>
                <a:moveTo>
                  <a:pt x="2732204" y="0"/>
                </a:moveTo>
                <a:cubicBezTo>
                  <a:pt x="2635920" y="0"/>
                  <a:pt x="2588539" y="53198"/>
                  <a:pt x="2588539" y="119389"/>
                </a:cubicBezTo>
                <a:cubicBezTo>
                  <a:pt x="2588539" y="155262"/>
                  <a:pt x="2603857" y="191229"/>
                  <a:pt x="2644387" y="234635"/>
                </a:cubicBezTo>
                <a:lnTo>
                  <a:pt x="2645053" y="236047"/>
                </a:lnTo>
                <a:cubicBezTo>
                  <a:pt x="2576741" y="268531"/>
                  <a:pt x="2545344" y="320975"/>
                  <a:pt x="2545344" y="374832"/>
                </a:cubicBezTo>
                <a:cubicBezTo>
                  <a:pt x="2545344" y="445919"/>
                  <a:pt x="2600432" y="505331"/>
                  <a:pt x="2685584" y="505331"/>
                </a:cubicBezTo>
                <a:cubicBezTo>
                  <a:pt x="2734392" y="505331"/>
                  <a:pt x="2791573" y="485276"/>
                  <a:pt x="2843235" y="449403"/>
                </a:cubicBezTo>
                <a:lnTo>
                  <a:pt x="2885097" y="494315"/>
                </a:lnTo>
                <a:lnTo>
                  <a:pt x="2994606" y="494315"/>
                </a:lnTo>
                <a:lnTo>
                  <a:pt x="2994606" y="490831"/>
                </a:lnTo>
                <a:lnTo>
                  <a:pt x="2905363" y="393474"/>
                </a:lnTo>
                <a:cubicBezTo>
                  <a:pt x="2943039" y="349316"/>
                  <a:pt x="2964637" y="301014"/>
                  <a:pt x="2964637" y="258833"/>
                </a:cubicBezTo>
                <a:cubicBezTo>
                  <a:pt x="2964637" y="206388"/>
                  <a:pt x="2929053" y="171174"/>
                  <a:pt x="2873300" y="171174"/>
                </a:cubicBezTo>
                <a:cubicBezTo>
                  <a:pt x="2843996" y="171174"/>
                  <a:pt x="2811172" y="179460"/>
                  <a:pt x="2789574" y="187745"/>
                </a:cubicBezTo>
                <a:lnTo>
                  <a:pt x="2788147" y="185015"/>
                </a:lnTo>
                <a:cubicBezTo>
                  <a:pt x="2841142" y="156674"/>
                  <a:pt x="2863500" y="130499"/>
                  <a:pt x="2863500" y="93873"/>
                </a:cubicBezTo>
                <a:cubicBezTo>
                  <a:pt x="2863310" y="41428"/>
                  <a:pt x="2815929" y="0"/>
                  <a:pt x="2732204" y="0"/>
                </a:cubicBezTo>
              </a:path>
            </a:pathLst>
          </a:custGeom>
          <a:solidFill>
            <a:schemeClr val="bg1"/>
          </a:solidFill>
          <a:ln w="9509" cap="flat">
            <a:noFill/>
            <a:prstDash val="solid"/>
            <a:miter/>
          </a:ln>
        </p:spPr>
        <p:txBody>
          <a:bodyPr rtlCol="0" anchor="ctr"/>
          <a:lstStyle/>
          <a:p>
            <a:endParaRPr lang="en-GB"/>
          </a:p>
        </p:txBody>
      </p:sp>
    </p:spTree>
    <p:extLst>
      <p:ext uri="{BB962C8B-B14F-4D97-AF65-F5344CB8AC3E}">
        <p14:creationId xmlns:p14="http://schemas.microsoft.com/office/powerpoint/2010/main" val="337898111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p:cSld name="End Slide [Accessible Version]">
    <p:bg>
      <p:bgPr>
        <a:solidFill>
          <a:schemeClr val="bg1"/>
        </a:solidFill>
        <a:effectLst/>
      </p:bgPr>
    </p:bg>
    <p:spTree>
      <p:nvGrpSpPr>
        <p:cNvPr id="1" name=""/>
        <p:cNvGrpSpPr/>
        <p:nvPr/>
      </p:nvGrpSpPr>
      <p:grpSpPr>
        <a:xfrm>
          <a:off x="0" y="0"/>
          <a:ext cx="0" cy="0"/>
          <a:chOff x="0" y="0"/>
          <a:chExt cx="0" cy="0"/>
        </a:xfrm>
      </p:grpSpPr>
      <p:sp>
        <p:nvSpPr>
          <p:cNvPr id="10" name="Text Placeholder 31">
            <a:extLst>
              <a:ext uri="{FF2B5EF4-FFF2-40B4-BE49-F238E27FC236}">
                <a16:creationId xmlns:a16="http://schemas.microsoft.com/office/drawing/2014/main" id="{938BB031-45ED-95FB-C1C5-66605571CD90}"/>
              </a:ext>
            </a:extLst>
          </p:cNvPr>
          <p:cNvSpPr>
            <a:spLocks noGrp="1"/>
          </p:cNvSpPr>
          <p:nvPr>
            <p:ph type="body" sz="quarter" idx="10" hasCustomPrompt="1"/>
          </p:nvPr>
        </p:nvSpPr>
        <p:spPr>
          <a:xfrm>
            <a:off x="287338" y="5035735"/>
            <a:ext cx="2795587" cy="717180"/>
          </a:xfrm>
        </p:spPr>
        <p:txBody>
          <a:bodyPr anchor="b"/>
          <a:lstStyle>
            <a:lvl1pPr>
              <a:lnSpc>
                <a:spcPct val="100000"/>
              </a:lnSpc>
              <a:spcBef>
                <a:spcPts val="0"/>
              </a:spcBef>
              <a:spcAft>
                <a:spcPts val="0"/>
              </a:spcAft>
              <a:defRPr sz="1000">
                <a:solidFill>
                  <a:schemeClr val="tx1"/>
                </a:solidFill>
              </a:defRPr>
            </a:lvl1pPr>
          </a:lstStyle>
          <a:p>
            <a:r>
              <a:rPr lang="en-GB"/>
              <a:t>Supporting details – delete if not required</a:t>
            </a:r>
          </a:p>
        </p:txBody>
      </p:sp>
      <p:sp>
        <p:nvSpPr>
          <p:cNvPr id="2" name="Title 1">
            <a:extLst>
              <a:ext uri="{FF2B5EF4-FFF2-40B4-BE49-F238E27FC236}">
                <a16:creationId xmlns:a16="http://schemas.microsoft.com/office/drawing/2014/main" id="{241F71E3-AC39-2207-0CC4-1E2486610795}"/>
              </a:ext>
            </a:extLst>
          </p:cNvPr>
          <p:cNvSpPr>
            <a:spLocks noGrp="1"/>
          </p:cNvSpPr>
          <p:nvPr>
            <p:ph type="ctrTitle"/>
          </p:nvPr>
        </p:nvSpPr>
        <p:spPr>
          <a:xfrm>
            <a:off x="291593" y="280800"/>
            <a:ext cx="5734050" cy="2620397"/>
          </a:xfrm>
        </p:spPr>
        <p:txBody>
          <a:bodyPr wrap="square" anchor="t">
            <a:spAutoFit/>
          </a:bodyPr>
          <a:lstStyle>
            <a:lvl1pPr algn="l">
              <a:lnSpc>
                <a:spcPct val="80000"/>
              </a:lnSpc>
              <a:defRPr sz="7000" b="0" i="0" spc="0" baseline="0">
                <a:solidFill>
                  <a:schemeClr val="accent1"/>
                </a:solidFill>
                <a:latin typeface="+mj-lt"/>
              </a:defRPr>
            </a:lvl1pPr>
          </a:lstStyle>
          <a:p>
            <a:r>
              <a:rPr lang="zh-CN" altLang="en-US"/>
              <a:t>单击此处编辑母版标题样式</a:t>
            </a:r>
            <a:endParaRPr lang="en-GB"/>
          </a:p>
        </p:txBody>
      </p:sp>
      <p:sp>
        <p:nvSpPr>
          <p:cNvPr id="4" name="Graphic 2">
            <a:extLst>
              <a:ext uri="{FF2B5EF4-FFF2-40B4-BE49-F238E27FC236}">
                <a16:creationId xmlns:a16="http://schemas.microsoft.com/office/drawing/2014/main" id="{EA53A9D8-7E77-B7F4-501A-731F65EFB066}"/>
              </a:ext>
            </a:extLst>
          </p:cNvPr>
          <p:cNvSpPr>
            <a:spLocks noChangeAspect="1"/>
          </p:cNvSpPr>
          <p:nvPr/>
        </p:nvSpPr>
        <p:spPr>
          <a:xfrm>
            <a:off x="290513" y="6377853"/>
            <a:ext cx="2034000" cy="187309"/>
          </a:xfrm>
          <a:custGeom>
            <a:avLst/>
            <a:gdLst>
              <a:gd name="connsiteX0" fmla="*/ 542692 w 5487431"/>
              <a:gd name="connsiteY0" fmla="*/ 463149 h 505330"/>
              <a:gd name="connsiteX1" fmla="*/ 458967 w 5487431"/>
              <a:gd name="connsiteY1" fmla="*/ 321634 h 505330"/>
              <a:gd name="connsiteX2" fmla="*/ 542692 w 5487431"/>
              <a:gd name="connsiteY2" fmla="*/ 180119 h 505330"/>
              <a:gd name="connsiteX3" fmla="*/ 626417 w 5487431"/>
              <a:gd name="connsiteY3" fmla="*/ 321634 h 505330"/>
              <a:gd name="connsiteX4" fmla="*/ 542692 w 5487431"/>
              <a:gd name="connsiteY4" fmla="*/ 463149 h 505330"/>
              <a:gd name="connsiteX5" fmla="*/ 542692 w 5487431"/>
              <a:gd name="connsiteY5" fmla="*/ 142174 h 505330"/>
              <a:gd name="connsiteX6" fmla="*/ 372482 w 5487431"/>
              <a:gd name="connsiteY6" fmla="*/ 321634 h 505330"/>
              <a:gd name="connsiteX7" fmla="*/ 542692 w 5487431"/>
              <a:gd name="connsiteY7" fmla="*/ 501094 h 505330"/>
              <a:gd name="connsiteX8" fmla="*/ 712902 w 5487431"/>
              <a:gd name="connsiteY8" fmla="*/ 321634 h 505330"/>
              <a:gd name="connsiteX9" fmla="*/ 542692 w 5487431"/>
              <a:gd name="connsiteY9" fmla="*/ 142174 h 505330"/>
              <a:gd name="connsiteX10" fmla="*/ 1303641 w 5487431"/>
              <a:gd name="connsiteY10" fmla="*/ 142174 h 505330"/>
              <a:gd name="connsiteX11" fmla="*/ 1207357 w 5487431"/>
              <a:gd name="connsiteY11" fmla="*/ 192547 h 505330"/>
              <a:gd name="connsiteX12" fmla="*/ 1203170 w 5487431"/>
              <a:gd name="connsiteY12" fmla="*/ 192547 h 505330"/>
              <a:gd name="connsiteX13" fmla="*/ 1203170 w 5487431"/>
              <a:gd name="connsiteY13" fmla="*/ 149048 h 505330"/>
              <a:gd name="connsiteX14" fmla="*/ 1120872 w 5487431"/>
              <a:gd name="connsiteY14" fmla="*/ 149048 h 505330"/>
              <a:gd name="connsiteX15" fmla="*/ 1120872 w 5487431"/>
              <a:gd name="connsiteY15" fmla="*/ 494221 h 505330"/>
              <a:gd name="connsiteX16" fmla="*/ 1203170 w 5487431"/>
              <a:gd name="connsiteY16" fmla="*/ 494221 h 505330"/>
              <a:gd name="connsiteX17" fmla="*/ 1203170 w 5487431"/>
              <a:gd name="connsiteY17" fmla="*/ 271261 h 505330"/>
              <a:gd name="connsiteX18" fmla="*/ 1272244 w 5487431"/>
              <a:gd name="connsiteY18" fmla="*/ 190476 h 505330"/>
              <a:gd name="connsiteX19" fmla="*/ 1331518 w 5487431"/>
              <a:gd name="connsiteY19" fmla="*/ 258173 h 505330"/>
              <a:gd name="connsiteX20" fmla="*/ 1331518 w 5487431"/>
              <a:gd name="connsiteY20" fmla="*/ 494221 h 505330"/>
              <a:gd name="connsiteX21" fmla="*/ 1413816 w 5487431"/>
              <a:gd name="connsiteY21" fmla="*/ 494221 h 505330"/>
              <a:gd name="connsiteX22" fmla="*/ 1413816 w 5487431"/>
              <a:gd name="connsiteY22" fmla="*/ 257420 h 505330"/>
              <a:gd name="connsiteX23" fmla="*/ 1303641 w 5487431"/>
              <a:gd name="connsiteY23" fmla="*/ 142174 h 505330"/>
              <a:gd name="connsiteX24" fmla="*/ 1600771 w 5487431"/>
              <a:gd name="connsiteY24" fmla="*/ 142174 h 505330"/>
              <a:gd name="connsiteX25" fmla="*/ 1467571 w 5487431"/>
              <a:gd name="connsiteY25" fmla="*/ 241602 h 505330"/>
              <a:gd name="connsiteX26" fmla="*/ 1551962 w 5487431"/>
              <a:gd name="connsiteY26" fmla="*/ 341030 h 505330"/>
              <a:gd name="connsiteX27" fmla="*/ 1621702 w 5487431"/>
              <a:gd name="connsiteY27" fmla="*/ 358260 h 505330"/>
              <a:gd name="connsiteX28" fmla="*/ 1675457 w 5487431"/>
              <a:gd name="connsiteY28" fmla="*/ 409387 h 505330"/>
              <a:gd name="connsiteX29" fmla="*/ 1606384 w 5487431"/>
              <a:gd name="connsiteY29" fmla="*/ 464656 h 505330"/>
              <a:gd name="connsiteX30" fmla="*/ 1526845 w 5487431"/>
              <a:gd name="connsiteY30" fmla="*/ 384624 h 505330"/>
              <a:gd name="connsiteX31" fmla="*/ 1452919 w 5487431"/>
              <a:gd name="connsiteY31" fmla="*/ 405338 h 505330"/>
              <a:gd name="connsiteX32" fmla="*/ 1597345 w 5487431"/>
              <a:gd name="connsiteY32" fmla="*/ 501282 h 505330"/>
              <a:gd name="connsiteX33" fmla="*/ 1742438 w 5487431"/>
              <a:gd name="connsiteY33" fmla="*/ 388767 h 505330"/>
              <a:gd name="connsiteX34" fmla="*/ 1649674 w 5487431"/>
              <a:gd name="connsiteY34" fmla="*/ 285196 h 505330"/>
              <a:gd name="connsiteX35" fmla="*/ 1582693 w 5487431"/>
              <a:gd name="connsiteY35" fmla="*/ 268625 h 505330"/>
              <a:gd name="connsiteX36" fmla="*/ 1534551 w 5487431"/>
              <a:gd name="connsiteY36" fmla="*/ 223054 h 505330"/>
              <a:gd name="connsiteX37" fmla="*/ 1593825 w 5487431"/>
              <a:gd name="connsiteY37" fmla="*/ 178895 h 505330"/>
              <a:gd name="connsiteX38" fmla="*/ 1664992 w 5487431"/>
              <a:gd name="connsiteY38" fmla="*/ 245180 h 505330"/>
              <a:gd name="connsiteX39" fmla="*/ 1734731 w 5487431"/>
              <a:gd name="connsiteY39" fmla="*/ 224466 h 505330"/>
              <a:gd name="connsiteX40" fmla="*/ 1600771 w 5487431"/>
              <a:gd name="connsiteY40" fmla="*/ 142174 h 505330"/>
              <a:gd name="connsiteX41" fmla="*/ 1946803 w 5487431"/>
              <a:gd name="connsiteY41" fmla="*/ 463149 h 505330"/>
              <a:gd name="connsiteX42" fmla="*/ 1863078 w 5487431"/>
              <a:gd name="connsiteY42" fmla="*/ 321634 h 505330"/>
              <a:gd name="connsiteX43" fmla="*/ 1946803 w 5487431"/>
              <a:gd name="connsiteY43" fmla="*/ 180119 h 505330"/>
              <a:gd name="connsiteX44" fmla="*/ 2030529 w 5487431"/>
              <a:gd name="connsiteY44" fmla="*/ 321634 h 505330"/>
              <a:gd name="connsiteX45" fmla="*/ 1946803 w 5487431"/>
              <a:gd name="connsiteY45" fmla="*/ 463149 h 505330"/>
              <a:gd name="connsiteX46" fmla="*/ 1946803 w 5487431"/>
              <a:gd name="connsiteY46" fmla="*/ 142174 h 505330"/>
              <a:gd name="connsiteX47" fmla="*/ 1776594 w 5487431"/>
              <a:gd name="connsiteY47" fmla="*/ 321634 h 505330"/>
              <a:gd name="connsiteX48" fmla="*/ 1946803 w 5487431"/>
              <a:gd name="connsiteY48" fmla="*/ 501094 h 505330"/>
              <a:gd name="connsiteX49" fmla="*/ 2117013 w 5487431"/>
              <a:gd name="connsiteY49" fmla="*/ 321634 h 505330"/>
              <a:gd name="connsiteX50" fmla="*/ 1946803 w 5487431"/>
              <a:gd name="connsiteY50" fmla="*/ 142174 h 505330"/>
              <a:gd name="connsiteX51" fmla="*/ 2348590 w 5487431"/>
              <a:gd name="connsiteY51" fmla="*/ 142174 h 505330"/>
              <a:gd name="connsiteX52" fmla="*/ 2252306 w 5487431"/>
              <a:gd name="connsiteY52" fmla="*/ 192547 h 505330"/>
              <a:gd name="connsiteX53" fmla="*/ 2248119 w 5487431"/>
              <a:gd name="connsiteY53" fmla="*/ 192547 h 505330"/>
              <a:gd name="connsiteX54" fmla="*/ 2248119 w 5487431"/>
              <a:gd name="connsiteY54" fmla="*/ 149048 h 505330"/>
              <a:gd name="connsiteX55" fmla="*/ 2165821 w 5487431"/>
              <a:gd name="connsiteY55" fmla="*/ 149048 h 505330"/>
              <a:gd name="connsiteX56" fmla="*/ 2165821 w 5487431"/>
              <a:gd name="connsiteY56" fmla="*/ 494221 h 505330"/>
              <a:gd name="connsiteX57" fmla="*/ 2248119 w 5487431"/>
              <a:gd name="connsiteY57" fmla="*/ 494221 h 505330"/>
              <a:gd name="connsiteX58" fmla="*/ 2248119 w 5487431"/>
              <a:gd name="connsiteY58" fmla="*/ 271261 h 505330"/>
              <a:gd name="connsiteX59" fmla="*/ 2317193 w 5487431"/>
              <a:gd name="connsiteY59" fmla="*/ 190476 h 505330"/>
              <a:gd name="connsiteX60" fmla="*/ 2376466 w 5487431"/>
              <a:gd name="connsiteY60" fmla="*/ 258173 h 505330"/>
              <a:gd name="connsiteX61" fmla="*/ 2376466 w 5487431"/>
              <a:gd name="connsiteY61" fmla="*/ 494221 h 505330"/>
              <a:gd name="connsiteX62" fmla="*/ 2458764 w 5487431"/>
              <a:gd name="connsiteY62" fmla="*/ 494221 h 505330"/>
              <a:gd name="connsiteX63" fmla="*/ 2458764 w 5487431"/>
              <a:gd name="connsiteY63" fmla="*/ 257420 h 505330"/>
              <a:gd name="connsiteX64" fmla="*/ 2348590 w 5487431"/>
              <a:gd name="connsiteY64" fmla="*/ 142174 h 505330"/>
              <a:gd name="connsiteX65" fmla="*/ 3571359 w 5487431"/>
              <a:gd name="connsiteY65" fmla="*/ 463149 h 505330"/>
              <a:gd name="connsiteX66" fmla="*/ 3487634 w 5487431"/>
              <a:gd name="connsiteY66" fmla="*/ 321634 h 505330"/>
              <a:gd name="connsiteX67" fmla="*/ 3571359 w 5487431"/>
              <a:gd name="connsiteY67" fmla="*/ 180119 h 505330"/>
              <a:gd name="connsiteX68" fmla="*/ 3655085 w 5487431"/>
              <a:gd name="connsiteY68" fmla="*/ 321634 h 505330"/>
              <a:gd name="connsiteX69" fmla="*/ 3571359 w 5487431"/>
              <a:gd name="connsiteY69" fmla="*/ 463149 h 505330"/>
              <a:gd name="connsiteX70" fmla="*/ 3571359 w 5487431"/>
              <a:gd name="connsiteY70" fmla="*/ 142174 h 505330"/>
              <a:gd name="connsiteX71" fmla="*/ 3401150 w 5487431"/>
              <a:gd name="connsiteY71" fmla="*/ 321634 h 505330"/>
              <a:gd name="connsiteX72" fmla="*/ 3571359 w 5487431"/>
              <a:gd name="connsiteY72" fmla="*/ 501094 h 505330"/>
              <a:gd name="connsiteX73" fmla="*/ 3741569 w 5487431"/>
              <a:gd name="connsiteY73" fmla="*/ 321634 h 505330"/>
              <a:gd name="connsiteX74" fmla="*/ 3571359 w 5487431"/>
              <a:gd name="connsiteY74" fmla="*/ 142174 h 505330"/>
              <a:gd name="connsiteX75" fmla="*/ 4332308 w 5487431"/>
              <a:gd name="connsiteY75" fmla="*/ 142174 h 505330"/>
              <a:gd name="connsiteX76" fmla="*/ 4236024 w 5487431"/>
              <a:gd name="connsiteY76" fmla="*/ 192547 h 505330"/>
              <a:gd name="connsiteX77" fmla="*/ 4231838 w 5487431"/>
              <a:gd name="connsiteY77" fmla="*/ 192547 h 505330"/>
              <a:gd name="connsiteX78" fmla="*/ 4231838 w 5487431"/>
              <a:gd name="connsiteY78" fmla="*/ 149048 h 505330"/>
              <a:gd name="connsiteX79" fmla="*/ 4149539 w 5487431"/>
              <a:gd name="connsiteY79" fmla="*/ 149048 h 505330"/>
              <a:gd name="connsiteX80" fmla="*/ 4149539 w 5487431"/>
              <a:gd name="connsiteY80" fmla="*/ 494221 h 505330"/>
              <a:gd name="connsiteX81" fmla="*/ 4231838 w 5487431"/>
              <a:gd name="connsiteY81" fmla="*/ 494221 h 505330"/>
              <a:gd name="connsiteX82" fmla="*/ 4231838 w 5487431"/>
              <a:gd name="connsiteY82" fmla="*/ 271261 h 505330"/>
              <a:gd name="connsiteX83" fmla="*/ 4300911 w 5487431"/>
              <a:gd name="connsiteY83" fmla="*/ 190476 h 505330"/>
              <a:gd name="connsiteX84" fmla="*/ 4360185 w 5487431"/>
              <a:gd name="connsiteY84" fmla="*/ 258173 h 505330"/>
              <a:gd name="connsiteX85" fmla="*/ 4360185 w 5487431"/>
              <a:gd name="connsiteY85" fmla="*/ 494221 h 505330"/>
              <a:gd name="connsiteX86" fmla="*/ 4442483 w 5487431"/>
              <a:gd name="connsiteY86" fmla="*/ 494221 h 505330"/>
              <a:gd name="connsiteX87" fmla="*/ 4442483 w 5487431"/>
              <a:gd name="connsiteY87" fmla="*/ 257420 h 505330"/>
              <a:gd name="connsiteX88" fmla="*/ 4332308 w 5487431"/>
              <a:gd name="connsiteY88" fmla="*/ 142174 h 505330"/>
              <a:gd name="connsiteX89" fmla="*/ 4629533 w 5487431"/>
              <a:gd name="connsiteY89" fmla="*/ 142174 h 505330"/>
              <a:gd name="connsiteX90" fmla="*/ 4496334 w 5487431"/>
              <a:gd name="connsiteY90" fmla="*/ 241602 h 505330"/>
              <a:gd name="connsiteX91" fmla="*/ 4580725 w 5487431"/>
              <a:gd name="connsiteY91" fmla="*/ 341030 h 505330"/>
              <a:gd name="connsiteX92" fmla="*/ 4650464 w 5487431"/>
              <a:gd name="connsiteY92" fmla="*/ 358260 h 505330"/>
              <a:gd name="connsiteX93" fmla="*/ 4704220 w 5487431"/>
              <a:gd name="connsiteY93" fmla="*/ 409387 h 505330"/>
              <a:gd name="connsiteX94" fmla="*/ 4635146 w 5487431"/>
              <a:gd name="connsiteY94" fmla="*/ 464656 h 505330"/>
              <a:gd name="connsiteX95" fmla="*/ 4555607 w 5487431"/>
              <a:gd name="connsiteY95" fmla="*/ 384624 h 505330"/>
              <a:gd name="connsiteX96" fmla="*/ 4481682 w 5487431"/>
              <a:gd name="connsiteY96" fmla="*/ 405338 h 505330"/>
              <a:gd name="connsiteX97" fmla="*/ 4626108 w 5487431"/>
              <a:gd name="connsiteY97" fmla="*/ 501282 h 505330"/>
              <a:gd name="connsiteX98" fmla="*/ 4771200 w 5487431"/>
              <a:gd name="connsiteY98" fmla="*/ 388767 h 505330"/>
              <a:gd name="connsiteX99" fmla="*/ 4678436 w 5487431"/>
              <a:gd name="connsiteY99" fmla="*/ 285196 h 505330"/>
              <a:gd name="connsiteX100" fmla="*/ 4611456 w 5487431"/>
              <a:gd name="connsiteY100" fmla="*/ 268625 h 505330"/>
              <a:gd name="connsiteX101" fmla="*/ 4563314 w 5487431"/>
              <a:gd name="connsiteY101" fmla="*/ 223054 h 505330"/>
              <a:gd name="connsiteX102" fmla="*/ 4622588 w 5487431"/>
              <a:gd name="connsiteY102" fmla="*/ 178895 h 505330"/>
              <a:gd name="connsiteX103" fmla="*/ 4693754 w 5487431"/>
              <a:gd name="connsiteY103" fmla="*/ 245180 h 505330"/>
              <a:gd name="connsiteX104" fmla="*/ 4763493 w 5487431"/>
              <a:gd name="connsiteY104" fmla="*/ 224466 h 505330"/>
              <a:gd name="connsiteX105" fmla="*/ 4629533 w 5487431"/>
              <a:gd name="connsiteY105" fmla="*/ 142174 h 505330"/>
              <a:gd name="connsiteX106" fmla="*/ 4975471 w 5487431"/>
              <a:gd name="connsiteY106" fmla="*/ 463149 h 505330"/>
              <a:gd name="connsiteX107" fmla="*/ 4891745 w 5487431"/>
              <a:gd name="connsiteY107" fmla="*/ 321634 h 505330"/>
              <a:gd name="connsiteX108" fmla="*/ 4975471 w 5487431"/>
              <a:gd name="connsiteY108" fmla="*/ 180119 h 505330"/>
              <a:gd name="connsiteX109" fmla="*/ 5059196 w 5487431"/>
              <a:gd name="connsiteY109" fmla="*/ 321634 h 505330"/>
              <a:gd name="connsiteX110" fmla="*/ 4975471 w 5487431"/>
              <a:gd name="connsiteY110" fmla="*/ 463149 h 505330"/>
              <a:gd name="connsiteX111" fmla="*/ 4975471 w 5487431"/>
              <a:gd name="connsiteY111" fmla="*/ 142174 h 505330"/>
              <a:gd name="connsiteX112" fmla="*/ 4805261 w 5487431"/>
              <a:gd name="connsiteY112" fmla="*/ 321634 h 505330"/>
              <a:gd name="connsiteX113" fmla="*/ 4975471 w 5487431"/>
              <a:gd name="connsiteY113" fmla="*/ 501094 h 505330"/>
              <a:gd name="connsiteX114" fmla="*/ 5145680 w 5487431"/>
              <a:gd name="connsiteY114" fmla="*/ 321634 h 505330"/>
              <a:gd name="connsiteX115" fmla="*/ 4975471 w 5487431"/>
              <a:gd name="connsiteY115" fmla="*/ 142174 h 505330"/>
              <a:gd name="connsiteX116" fmla="*/ 5377257 w 5487431"/>
              <a:gd name="connsiteY116" fmla="*/ 142174 h 505330"/>
              <a:gd name="connsiteX117" fmla="*/ 5280973 w 5487431"/>
              <a:gd name="connsiteY117" fmla="*/ 192547 h 505330"/>
              <a:gd name="connsiteX118" fmla="*/ 5276787 w 5487431"/>
              <a:gd name="connsiteY118" fmla="*/ 192547 h 505330"/>
              <a:gd name="connsiteX119" fmla="*/ 5276787 w 5487431"/>
              <a:gd name="connsiteY119" fmla="*/ 149048 h 505330"/>
              <a:gd name="connsiteX120" fmla="*/ 5194488 w 5487431"/>
              <a:gd name="connsiteY120" fmla="*/ 149048 h 505330"/>
              <a:gd name="connsiteX121" fmla="*/ 5194488 w 5487431"/>
              <a:gd name="connsiteY121" fmla="*/ 494221 h 505330"/>
              <a:gd name="connsiteX122" fmla="*/ 5276787 w 5487431"/>
              <a:gd name="connsiteY122" fmla="*/ 494221 h 505330"/>
              <a:gd name="connsiteX123" fmla="*/ 5276787 w 5487431"/>
              <a:gd name="connsiteY123" fmla="*/ 271261 h 505330"/>
              <a:gd name="connsiteX124" fmla="*/ 5345860 w 5487431"/>
              <a:gd name="connsiteY124" fmla="*/ 190476 h 505330"/>
              <a:gd name="connsiteX125" fmla="*/ 5405134 w 5487431"/>
              <a:gd name="connsiteY125" fmla="*/ 258173 h 505330"/>
              <a:gd name="connsiteX126" fmla="*/ 5405134 w 5487431"/>
              <a:gd name="connsiteY126" fmla="*/ 494221 h 505330"/>
              <a:gd name="connsiteX127" fmla="*/ 5487432 w 5487431"/>
              <a:gd name="connsiteY127" fmla="*/ 494221 h 505330"/>
              <a:gd name="connsiteX128" fmla="*/ 5487432 w 5487431"/>
              <a:gd name="connsiteY128" fmla="*/ 257420 h 505330"/>
              <a:gd name="connsiteX129" fmla="*/ 5377257 w 5487431"/>
              <a:gd name="connsiteY129" fmla="*/ 142174 h 505330"/>
              <a:gd name="connsiteX130" fmla="*/ 323674 w 5487431"/>
              <a:gd name="connsiteY130" fmla="*/ 11016 h 505330"/>
              <a:gd name="connsiteX131" fmla="*/ 237190 w 5487431"/>
              <a:gd name="connsiteY131" fmla="*/ 11016 h 505330"/>
              <a:gd name="connsiteX132" fmla="*/ 237190 w 5487431"/>
              <a:gd name="connsiteY132" fmla="*/ 367864 h 505330"/>
              <a:gd name="connsiteX133" fmla="*/ 161837 w 5487431"/>
              <a:gd name="connsiteY133" fmla="*/ 460325 h 505330"/>
              <a:gd name="connsiteX134" fmla="*/ 86484 w 5487431"/>
              <a:gd name="connsiteY134" fmla="*/ 360897 h 505330"/>
              <a:gd name="connsiteX135" fmla="*/ 86484 w 5487431"/>
              <a:gd name="connsiteY135" fmla="*/ 294612 h 505330"/>
              <a:gd name="connsiteX136" fmla="*/ 0 w 5487431"/>
              <a:gd name="connsiteY136" fmla="*/ 315985 h 505330"/>
              <a:gd name="connsiteX137" fmla="*/ 0 w 5487431"/>
              <a:gd name="connsiteY137" fmla="*/ 345644 h 505330"/>
              <a:gd name="connsiteX138" fmla="*/ 161837 w 5487431"/>
              <a:gd name="connsiteY138" fmla="*/ 505143 h 505330"/>
              <a:gd name="connsiteX139" fmla="*/ 323674 w 5487431"/>
              <a:gd name="connsiteY139" fmla="*/ 345644 h 505330"/>
              <a:gd name="connsiteX140" fmla="*/ 323674 w 5487431"/>
              <a:gd name="connsiteY140" fmla="*/ 11016 h 505330"/>
              <a:gd name="connsiteX141" fmla="*/ 844008 w 5487431"/>
              <a:gd name="connsiteY141" fmla="*/ 11016 h 505330"/>
              <a:gd name="connsiteX142" fmla="*/ 761710 w 5487431"/>
              <a:gd name="connsiteY142" fmla="*/ 11016 h 505330"/>
              <a:gd name="connsiteX143" fmla="*/ 761710 w 5487431"/>
              <a:gd name="connsiteY143" fmla="*/ 494221 h 505330"/>
              <a:gd name="connsiteX144" fmla="*/ 844008 w 5487431"/>
              <a:gd name="connsiteY144" fmla="*/ 494221 h 505330"/>
              <a:gd name="connsiteX145" fmla="*/ 844008 w 5487431"/>
              <a:gd name="connsiteY145" fmla="*/ 271261 h 505330"/>
              <a:gd name="connsiteX146" fmla="*/ 913081 w 5487431"/>
              <a:gd name="connsiteY146" fmla="*/ 190476 h 505330"/>
              <a:gd name="connsiteX147" fmla="*/ 972355 w 5487431"/>
              <a:gd name="connsiteY147" fmla="*/ 258173 h 505330"/>
              <a:gd name="connsiteX148" fmla="*/ 972355 w 5487431"/>
              <a:gd name="connsiteY148" fmla="*/ 494221 h 505330"/>
              <a:gd name="connsiteX149" fmla="*/ 1054653 w 5487431"/>
              <a:gd name="connsiteY149" fmla="*/ 494221 h 505330"/>
              <a:gd name="connsiteX150" fmla="*/ 1054653 w 5487431"/>
              <a:gd name="connsiteY150" fmla="*/ 257420 h 505330"/>
              <a:gd name="connsiteX151" fmla="*/ 944478 w 5487431"/>
              <a:gd name="connsiteY151" fmla="*/ 142174 h 505330"/>
              <a:gd name="connsiteX152" fmla="*/ 848194 w 5487431"/>
              <a:gd name="connsiteY152" fmla="*/ 192547 h 505330"/>
              <a:gd name="connsiteX153" fmla="*/ 844008 w 5487431"/>
              <a:gd name="connsiteY153" fmla="*/ 192547 h 505330"/>
              <a:gd name="connsiteX154" fmla="*/ 844008 w 5487431"/>
              <a:gd name="connsiteY154" fmla="*/ 11016 h 505330"/>
              <a:gd name="connsiteX155" fmla="*/ 3352342 w 5487431"/>
              <a:gd name="connsiteY155" fmla="*/ 11016 h 505330"/>
              <a:gd name="connsiteX156" fmla="*/ 3265857 w 5487431"/>
              <a:gd name="connsiteY156" fmla="*/ 11016 h 505330"/>
              <a:gd name="connsiteX157" fmla="*/ 3265857 w 5487431"/>
              <a:gd name="connsiteY157" fmla="*/ 367864 h 505330"/>
              <a:gd name="connsiteX158" fmla="*/ 3190504 w 5487431"/>
              <a:gd name="connsiteY158" fmla="*/ 460325 h 505330"/>
              <a:gd name="connsiteX159" fmla="*/ 3115152 w 5487431"/>
              <a:gd name="connsiteY159" fmla="*/ 360897 h 505330"/>
              <a:gd name="connsiteX160" fmla="*/ 3115152 w 5487431"/>
              <a:gd name="connsiteY160" fmla="*/ 294612 h 505330"/>
              <a:gd name="connsiteX161" fmla="*/ 3028667 w 5487431"/>
              <a:gd name="connsiteY161" fmla="*/ 315985 h 505330"/>
              <a:gd name="connsiteX162" fmla="*/ 3028667 w 5487431"/>
              <a:gd name="connsiteY162" fmla="*/ 345644 h 505330"/>
              <a:gd name="connsiteX163" fmla="*/ 3190504 w 5487431"/>
              <a:gd name="connsiteY163" fmla="*/ 505143 h 505330"/>
              <a:gd name="connsiteX164" fmla="*/ 3352342 w 5487431"/>
              <a:gd name="connsiteY164" fmla="*/ 345644 h 505330"/>
              <a:gd name="connsiteX165" fmla="*/ 3352342 w 5487431"/>
              <a:gd name="connsiteY165" fmla="*/ 11016 h 505330"/>
              <a:gd name="connsiteX166" fmla="*/ 3872675 w 5487431"/>
              <a:gd name="connsiteY166" fmla="*/ 11016 h 505330"/>
              <a:gd name="connsiteX167" fmla="*/ 3790377 w 5487431"/>
              <a:gd name="connsiteY167" fmla="*/ 11016 h 505330"/>
              <a:gd name="connsiteX168" fmla="*/ 3790377 w 5487431"/>
              <a:gd name="connsiteY168" fmla="*/ 494221 h 505330"/>
              <a:gd name="connsiteX169" fmla="*/ 3872675 w 5487431"/>
              <a:gd name="connsiteY169" fmla="*/ 494221 h 505330"/>
              <a:gd name="connsiteX170" fmla="*/ 3872675 w 5487431"/>
              <a:gd name="connsiteY170" fmla="*/ 271261 h 505330"/>
              <a:gd name="connsiteX171" fmla="*/ 3941749 w 5487431"/>
              <a:gd name="connsiteY171" fmla="*/ 190476 h 505330"/>
              <a:gd name="connsiteX172" fmla="*/ 4001022 w 5487431"/>
              <a:gd name="connsiteY172" fmla="*/ 258173 h 505330"/>
              <a:gd name="connsiteX173" fmla="*/ 4001022 w 5487431"/>
              <a:gd name="connsiteY173" fmla="*/ 494221 h 505330"/>
              <a:gd name="connsiteX174" fmla="*/ 4083320 w 5487431"/>
              <a:gd name="connsiteY174" fmla="*/ 494221 h 505330"/>
              <a:gd name="connsiteX175" fmla="*/ 4083320 w 5487431"/>
              <a:gd name="connsiteY175" fmla="*/ 257420 h 505330"/>
              <a:gd name="connsiteX176" fmla="*/ 3973146 w 5487431"/>
              <a:gd name="connsiteY176" fmla="*/ 142174 h 505330"/>
              <a:gd name="connsiteX177" fmla="*/ 3876861 w 5487431"/>
              <a:gd name="connsiteY177" fmla="*/ 192547 h 505330"/>
              <a:gd name="connsiteX178" fmla="*/ 3872675 w 5487431"/>
              <a:gd name="connsiteY178" fmla="*/ 192547 h 505330"/>
              <a:gd name="connsiteX179" fmla="*/ 3872675 w 5487431"/>
              <a:gd name="connsiteY179" fmla="*/ 11016 h 505330"/>
              <a:gd name="connsiteX180" fmla="*/ 2730110 w 5487431"/>
              <a:gd name="connsiteY180" fmla="*/ 454864 h 505330"/>
              <a:gd name="connsiteX181" fmla="*/ 2622029 w 5487431"/>
              <a:gd name="connsiteY181" fmla="*/ 343761 h 505330"/>
              <a:gd name="connsiteX182" fmla="*/ 2664557 w 5487431"/>
              <a:gd name="connsiteY182" fmla="*/ 256102 h 505330"/>
              <a:gd name="connsiteX183" fmla="*/ 2822208 w 5487431"/>
              <a:gd name="connsiteY183" fmla="*/ 426617 h 505330"/>
              <a:gd name="connsiteX184" fmla="*/ 2730110 w 5487431"/>
              <a:gd name="connsiteY184" fmla="*/ 454864 h 505330"/>
              <a:gd name="connsiteX185" fmla="*/ 2883575 w 5487431"/>
              <a:gd name="connsiteY185" fmla="*/ 369936 h 505330"/>
              <a:gd name="connsiteX186" fmla="*/ 2746856 w 5487431"/>
              <a:gd name="connsiteY186" fmla="*/ 220794 h 505330"/>
              <a:gd name="connsiteX187" fmla="*/ 2814502 w 5487431"/>
              <a:gd name="connsiteY187" fmla="*/ 207706 h 505330"/>
              <a:gd name="connsiteX188" fmla="*/ 2905838 w 5487431"/>
              <a:gd name="connsiteY188" fmla="*/ 296118 h 505330"/>
              <a:gd name="connsiteX189" fmla="*/ 2883575 w 5487431"/>
              <a:gd name="connsiteY189" fmla="*/ 369936 h 505330"/>
              <a:gd name="connsiteX190" fmla="*/ 2728017 w 5487431"/>
              <a:gd name="connsiteY190" fmla="*/ 200833 h 505330"/>
              <a:gd name="connsiteX191" fmla="*/ 2698047 w 5487431"/>
              <a:gd name="connsiteY191" fmla="*/ 167690 h 505330"/>
              <a:gd name="connsiteX192" fmla="*/ 2663891 w 5487431"/>
              <a:gd name="connsiteY192" fmla="*/ 99334 h 505330"/>
              <a:gd name="connsiteX193" fmla="*/ 2730110 w 5487431"/>
              <a:gd name="connsiteY193" fmla="*/ 36532 h 505330"/>
              <a:gd name="connsiteX194" fmla="*/ 2795664 w 5487431"/>
              <a:gd name="connsiteY194" fmla="*/ 102817 h 505330"/>
              <a:gd name="connsiteX195" fmla="*/ 2728017 w 5487431"/>
              <a:gd name="connsiteY195" fmla="*/ 200833 h 505330"/>
              <a:gd name="connsiteX196" fmla="*/ 2732204 w 5487431"/>
              <a:gd name="connsiteY196" fmla="*/ 0 h 505330"/>
              <a:gd name="connsiteX197" fmla="*/ 2588539 w 5487431"/>
              <a:gd name="connsiteY197" fmla="*/ 119389 h 505330"/>
              <a:gd name="connsiteX198" fmla="*/ 2644387 w 5487431"/>
              <a:gd name="connsiteY198" fmla="*/ 234635 h 505330"/>
              <a:gd name="connsiteX199" fmla="*/ 2645053 w 5487431"/>
              <a:gd name="connsiteY199" fmla="*/ 236047 h 505330"/>
              <a:gd name="connsiteX200" fmla="*/ 2545344 w 5487431"/>
              <a:gd name="connsiteY200" fmla="*/ 374832 h 505330"/>
              <a:gd name="connsiteX201" fmla="*/ 2685584 w 5487431"/>
              <a:gd name="connsiteY201" fmla="*/ 505331 h 505330"/>
              <a:gd name="connsiteX202" fmla="*/ 2843235 w 5487431"/>
              <a:gd name="connsiteY202" fmla="*/ 449403 h 505330"/>
              <a:gd name="connsiteX203" fmla="*/ 2885097 w 5487431"/>
              <a:gd name="connsiteY203" fmla="*/ 494315 h 505330"/>
              <a:gd name="connsiteX204" fmla="*/ 2994606 w 5487431"/>
              <a:gd name="connsiteY204" fmla="*/ 494315 h 505330"/>
              <a:gd name="connsiteX205" fmla="*/ 2994606 w 5487431"/>
              <a:gd name="connsiteY205" fmla="*/ 490831 h 505330"/>
              <a:gd name="connsiteX206" fmla="*/ 2905363 w 5487431"/>
              <a:gd name="connsiteY206" fmla="*/ 393474 h 505330"/>
              <a:gd name="connsiteX207" fmla="*/ 2964637 w 5487431"/>
              <a:gd name="connsiteY207" fmla="*/ 258833 h 505330"/>
              <a:gd name="connsiteX208" fmla="*/ 2873300 w 5487431"/>
              <a:gd name="connsiteY208" fmla="*/ 171174 h 505330"/>
              <a:gd name="connsiteX209" fmla="*/ 2789574 w 5487431"/>
              <a:gd name="connsiteY209" fmla="*/ 187745 h 505330"/>
              <a:gd name="connsiteX210" fmla="*/ 2788147 w 5487431"/>
              <a:gd name="connsiteY210" fmla="*/ 185015 h 505330"/>
              <a:gd name="connsiteX211" fmla="*/ 2863500 w 5487431"/>
              <a:gd name="connsiteY211" fmla="*/ 93873 h 505330"/>
              <a:gd name="connsiteX212" fmla="*/ 2732204 w 5487431"/>
              <a:gd name="connsiteY212" fmla="*/ 0 h 50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5487431" h="505330">
                <a:moveTo>
                  <a:pt x="542692" y="463149"/>
                </a:moveTo>
                <a:cubicBezTo>
                  <a:pt x="488937" y="463149"/>
                  <a:pt x="458967" y="412776"/>
                  <a:pt x="458967" y="321634"/>
                </a:cubicBezTo>
                <a:cubicBezTo>
                  <a:pt x="458967" y="229080"/>
                  <a:pt x="488937" y="180119"/>
                  <a:pt x="542692" y="180119"/>
                </a:cubicBezTo>
                <a:cubicBezTo>
                  <a:pt x="596448" y="180119"/>
                  <a:pt x="626417" y="229833"/>
                  <a:pt x="626417" y="321634"/>
                </a:cubicBezTo>
                <a:cubicBezTo>
                  <a:pt x="626322" y="414189"/>
                  <a:pt x="596352" y="463149"/>
                  <a:pt x="542692" y="463149"/>
                </a:cubicBezTo>
                <a:moveTo>
                  <a:pt x="542692" y="142174"/>
                </a:moveTo>
                <a:cubicBezTo>
                  <a:pt x="433183" y="142174"/>
                  <a:pt x="372482" y="222959"/>
                  <a:pt x="372482" y="321634"/>
                </a:cubicBezTo>
                <a:cubicBezTo>
                  <a:pt x="372482" y="420309"/>
                  <a:pt x="433183" y="501094"/>
                  <a:pt x="542692" y="501094"/>
                </a:cubicBezTo>
                <a:cubicBezTo>
                  <a:pt x="652201" y="501094"/>
                  <a:pt x="712902" y="420309"/>
                  <a:pt x="712902" y="321634"/>
                </a:cubicBezTo>
                <a:cubicBezTo>
                  <a:pt x="712902" y="222959"/>
                  <a:pt x="652201" y="142174"/>
                  <a:pt x="542692" y="142174"/>
                </a:cubicBezTo>
                <a:moveTo>
                  <a:pt x="1303641" y="142174"/>
                </a:moveTo>
                <a:cubicBezTo>
                  <a:pt x="1251979" y="142174"/>
                  <a:pt x="1223436" y="164301"/>
                  <a:pt x="1207357" y="192547"/>
                </a:cubicBezTo>
                <a:lnTo>
                  <a:pt x="1203170" y="192547"/>
                </a:lnTo>
                <a:lnTo>
                  <a:pt x="1203170" y="149048"/>
                </a:lnTo>
                <a:lnTo>
                  <a:pt x="1120872" y="149048"/>
                </a:lnTo>
                <a:lnTo>
                  <a:pt x="1120872" y="494221"/>
                </a:lnTo>
                <a:lnTo>
                  <a:pt x="1203170" y="494221"/>
                </a:lnTo>
                <a:lnTo>
                  <a:pt x="1203170" y="271261"/>
                </a:lnTo>
                <a:cubicBezTo>
                  <a:pt x="1203170" y="220229"/>
                  <a:pt x="1229715" y="190476"/>
                  <a:pt x="1272244" y="190476"/>
                </a:cubicBezTo>
                <a:cubicBezTo>
                  <a:pt x="1313440" y="190476"/>
                  <a:pt x="1331518" y="217404"/>
                  <a:pt x="1331518" y="258173"/>
                </a:cubicBezTo>
                <a:lnTo>
                  <a:pt x="1331518" y="494221"/>
                </a:lnTo>
                <a:lnTo>
                  <a:pt x="1413816" y="494221"/>
                </a:lnTo>
                <a:lnTo>
                  <a:pt x="1413816" y="257420"/>
                </a:lnTo>
                <a:cubicBezTo>
                  <a:pt x="1413911" y="186333"/>
                  <a:pt x="1376234" y="142174"/>
                  <a:pt x="1303641" y="142174"/>
                </a:cubicBezTo>
                <a:moveTo>
                  <a:pt x="1600771" y="142174"/>
                </a:moveTo>
                <a:cubicBezTo>
                  <a:pt x="1524752" y="142174"/>
                  <a:pt x="1467571" y="173905"/>
                  <a:pt x="1467571" y="241602"/>
                </a:cubicBezTo>
                <a:cubicBezTo>
                  <a:pt x="1467571" y="298943"/>
                  <a:pt x="1507341" y="330014"/>
                  <a:pt x="1551962" y="341030"/>
                </a:cubicBezTo>
                <a:lnTo>
                  <a:pt x="1621702" y="358260"/>
                </a:lnTo>
                <a:cubicBezTo>
                  <a:pt x="1658712" y="367205"/>
                  <a:pt x="1675457" y="380387"/>
                  <a:pt x="1675457" y="409387"/>
                </a:cubicBezTo>
                <a:cubicBezTo>
                  <a:pt x="1675457" y="444601"/>
                  <a:pt x="1650340" y="464656"/>
                  <a:pt x="1606384" y="464656"/>
                </a:cubicBezTo>
                <a:cubicBezTo>
                  <a:pt x="1558908" y="464656"/>
                  <a:pt x="1534551" y="441870"/>
                  <a:pt x="1526845" y="384624"/>
                </a:cubicBezTo>
                <a:lnTo>
                  <a:pt x="1452919" y="405338"/>
                </a:lnTo>
                <a:cubicBezTo>
                  <a:pt x="1457106" y="464750"/>
                  <a:pt x="1512954" y="501282"/>
                  <a:pt x="1597345" y="501282"/>
                </a:cubicBezTo>
                <a:cubicBezTo>
                  <a:pt x="1691536" y="501282"/>
                  <a:pt x="1742438" y="457782"/>
                  <a:pt x="1742438" y="388767"/>
                </a:cubicBezTo>
                <a:cubicBezTo>
                  <a:pt x="1742438" y="323894"/>
                  <a:pt x="1697055" y="296965"/>
                  <a:pt x="1649674" y="285196"/>
                </a:cubicBezTo>
                <a:lnTo>
                  <a:pt x="1582693" y="268625"/>
                </a:lnTo>
                <a:cubicBezTo>
                  <a:pt x="1549203" y="260339"/>
                  <a:pt x="1534551" y="245180"/>
                  <a:pt x="1534551" y="223054"/>
                </a:cubicBezTo>
                <a:cubicBezTo>
                  <a:pt x="1534551" y="195466"/>
                  <a:pt x="1558242" y="178895"/>
                  <a:pt x="1593825" y="178895"/>
                </a:cubicBezTo>
                <a:cubicBezTo>
                  <a:pt x="1635688" y="178895"/>
                  <a:pt x="1661471" y="201680"/>
                  <a:pt x="1664992" y="245180"/>
                </a:cubicBezTo>
                <a:lnTo>
                  <a:pt x="1734731" y="224466"/>
                </a:lnTo>
                <a:cubicBezTo>
                  <a:pt x="1726358" y="175976"/>
                  <a:pt x="1678216" y="142174"/>
                  <a:pt x="1600771" y="142174"/>
                </a:cubicBezTo>
                <a:moveTo>
                  <a:pt x="1946803" y="463149"/>
                </a:moveTo>
                <a:cubicBezTo>
                  <a:pt x="1893048" y="463149"/>
                  <a:pt x="1863078" y="412776"/>
                  <a:pt x="1863078" y="321634"/>
                </a:cubicBezTo>
                <a:cubicBezTo>
                  <a:pt x="1863078" y="229080"/>
                  <a:pt x="1893048" y="180119"/>
                  <a:pt x="1946803" y="180119"/>
                </a:cubicBezTo>
                <a:cubicBezTo>
                  <a:pt x="2000559" y="180119"/>
                  <a:pt x="2030529" y="229833"/>
                  <a:pt x="2030529" y="321634"/>
                </a:cubicBezTo>
                <a:cubicBezTo>
                  <a:pt x="2030529" y="414189"/>
                  <a:pt x="2000464" y="463149"/>
                  <a:pt x="1946803" y="463149"/>
                </a:cubicBezTo>
                <a:moveTo>
                  <a:pt x="1946803" y="142174"/>
                </a:moveTo>
                <a:cubicBezTo>
                  <a:pt x="1837294" y="142174"/>
                  <a:pt x="1776594" y="222959"/>
                  <a:pt x="1776594" y="321634"/>
                </a:cubicBezTo>
                <a:cubicBezTo>
                  <a:pt x="1776594" y="420309"/>
                  <a:pt x="1837294" y="501094"/>
                  <a:pt x="1946803" y="501094"/>
                </a:cubicBezTo>
                <a:cubicBezTo>
                  <a:pt x="2056312" y="501094"/>
                  <a:pt x="2117013" y="420309"/>
                  <a:pt x="2117013" y="321634"/>
                </a:cubicBezTo>
                <a:cubicBezTo>
                  <a:pt x="2117013" y="222959"/>
                  <a:pt x="2056312" y="142174"/>
                  <a:pt x="1946803" y="142174"/>
                </a:cubicBezTo>
                <a:moveTo>
                  <a:pt x="2348590" y="142174"/>
                </a:moveTo>
                <a:cubicBezTo>
                  <a:pt x="2296927" y="142174"/>
                  <a:pt x="2268385" y="164301"/>
                  <a:pt x="2252306" y="192547"/>
                </a:cubicBezTo>
                <a:lnTo>
                  <a:pt x="2248119" y="192547"/>
                </a:lnTo>
                <a:lnTo>
                  <a:pt x="2248119" y="149048"/>
                </a:lnTo>
                <a:lnTo>
                  <a:pt x="2165821" y="149048"/>
                </a:lnTo>
                <a:lnTo>
                  <a:pt x="2165821" y="494221"/>
                </a:lnTo>
                <a:lnTo>
                  <a:pt x="2248119" y="494221"/>
                </a:lnTo>
                <a:lnTo>
                  <a:pt x="2248119" y="271261"/>
                </a:lnTo>
                <a:cubicBezTo>
                  <a:pt x="2248119" y="220229"/>
                  <a:pt x="2274664" y="190476"/>
                  <a:pt x="2317193" y="190476"/>
                </a:cubicBezTo>
                <a:cubicBezTo>
                  <a:pt x="2358389" y="190476"/>
                  <a:pt x="2376466" y="217404"/>
                  <a:pt x="2376466" y="258173"/>
                </a:cubicBezTo>
                <a:lnTo>
                  <a:pt x="2376466" y="494221"/>
                </a:lnTo>
                <a:lnTo>
                  <a:pt x="2458764" y="494221"/>
                </a:lnTo>
                <a:lnTo>
                  <a:pt x="2458764" y="257420"/>
                </a:lnTo>
                <a:cubicBezTo>
                  <a:pt x="2458764" y="186333"/>
                  <a:pt x="2421088" y="142174"/>
                  <a:pt x="2348590" y="142174"/>
                </a:cubicBezTo>
                <a:moveTo>
                  <a:pt x="3571359" y="463149"/>
                </a:moveTo>
                <a:cubicBezTo>
                  <a:pt x="3517604" y="463149"/>
                  <a:pt x="3487634" y="412776"/>
                  <a:pt x="3487634" y="321634"/>
                </a:cubicBezTo>
                <a:cubicBezTo>
                  <a:pt x="3487634" y="229080"/>
                  <a:pt x="3517604" y="180119"/>
                  <a:pt x="3571359" y="180119"/>
                </a:cubicBezTo>
                <a:cubicBezTo>
                  <a:pt x="3625115" y="180119"/>
                  <a:pt x="3655085" y="229833"/>
                  <a:pt x="3655085" y="321634"/>
                </a:cubicBezTo>
                <a:cubicBezTo>
                  <a:pt x="3655085" y="414189"/>
                  <a:pt x="3625020" y="463149"/>
                  <a:pt x="3571359" y="463149"/>
                </a:cubicBezTo>
                <a:moveTo>
                  <a:pt x="3571359" y="142174"/>
                </a:moveTo>
                <a:cubicBezTo>
                  <a:pt x="3461850" y="142174"/>
                  <a:pt x="3401150" y="222959"/>
                  <a:pt x="3401150" y="321634"/>
                </a:cubicBezTo>
                <a:cubicBezTo>
                  <a:pt x="3401150" y="420309"/>
                  <a:pt x="3461850" y="501094"/>
                  <a:pt x="3571359" y="501094"/>
                </a:cubicBezTo>
                <a:cubicBezTo>
                  <a:pt x="3680868" y="501094"/>
                  <a:pt x="3741569" y="420309"/>
                  <a:pt x="3741569" y="321634"/>
                </a:cubicBezTo>
                <a:cubicBezTo>
                  <a:pt x="3741569" y="222959"/>
                  <a:pt x="3680868" y="142174"/>
                  <a:pt x="3571359" y="142174"/>
                </a:cubicBezTo>
                <a:moveTo>
                  <a:pt x="4332308" y="142174"/>
                </a:moveTo>
                <a:cubicBezTo>
                  <a:pt x="4280646" y="142174"/>
                  <a:pt x="4252103" y="164301"/>
                  <a:pt x="4236024" y="192547"/>
                </a:cubicBezTo>
                <a:lnTo>
                  <a:pt x="4231838" y="192547"/>
                </a:lnTo>
                <a:lnTo>
                  <a:pt x="4231838" y="149048"/>
                </a:lnTo>
                <a:lnTo>
                  <a:pt x="4149539" y="149048"/>
                </a:lnTo>
                <a:lnTo>
                  <a:pt x="4149539" y="494221"/>
                </a:lnTo>
                <a:lnTo>
                  <a:pt x="4231838" y="494221"/>
                </a:lnTo>
                <a:lnTo>
                  <a:pt x="4231838" y="271261"/>
                </a:lnTo>
                <a:cubicBezTo>
                  <a:pt x="4231838" y="220229"/>
                  <a:pt x="4258383" y="190476"/>
                  <a:pt x="4300911" y="190476"/>
                </a:cubicBezTo>
                <a:cubicBezTo>
                  <a:pt x="4342108" y="190476"/>
                  <a:pt x="4360185" y="217404"/>
                  <a:pt x="4360185" y="258173"/>
                </a:cubicBezTo>
                <a:lnTo>
                  <a:pt x="4360185" y="494221"/>
                </a:lnTo>
                <a:lnTo>
                  <a:pt x="4442483" y="494221"/>
                </a:lnTo>
                <a:lnTo>
                  <a:pt x="4442483" y="257420"/>
                </a:lnTo>
                <a:cubicBezTo>
                  <a:pt x="4442578" y="186333"/>
                  <a:pt x="4404902" y="142174"/>
                  <a:pt x="4332308" y="142174"/>
                </a:cubicBezTo>
                <a:moveTo>
                  <a:pt x="4629533" y="142174"/>
                </a:moveTo>
                <a:cubicBezTo>
                  <a:pt x="4553514" y="142174"/>
                  <a:pt x="4496334" y="173905"/>
                  <a:pt x="4496334" y="241602"/>
                </a:cubicBezTo>
                <a:cubicBezTo>
                  <a:pt x="4496334" y="298943"/>
                  <a:pt x="4536103" y="330014"/>
                  <a:pt x="4580725" y="341030"/>
                </a:cubicBezTo>
                <a:lnTo>
                  <a:pt x="4650464" y="358260"/>
                </a:lnTo>
                <a:cubicBezTo>
                  <a:pt x="4687475" y="367205"/>
                  <a:pt x="4704220" y="380387"/>
                  <a:pt x="4704220" y="409387"/>
                </a:cubicBezTo>
                <a:cubicBezTo>
                  <a:pt x="4704220" y="444601"/>
                  <a:pt x="4679102" y="464656"/>
                  <a:pt x="4635146" y="464656"/>
                </a:cubicBezTo>
                <a:cubicBezTo>
                  <a:pt x="4587670" y="464656"/>
                  <a:pt x="4563314" y="441870"/>
                  <a:pt x="4555607" y="384624"/>
                </a:cubicBezTo>
                <a:lnTo>
                  <a:pt x="4481682" y="405338"/>
                </a:lnTo>
                <a:cubicBezTo>
                  <a:pt x="4485868" y="464750"/>
                  <a:pt x="4541716" y="501282"/>
                  <a:pt x="4626108" y="501282"/>
                </a:cubicBezTo>
                <a:cubicBezTo>
                  <a:pt x="4720299" y="501282"/>
                  <a:pt x="4771200" y="457782"/>
                  <a:pt x="4771200" y="388767"/>
                </a:cubicBezTo>
                <a:cubicBezTo>
                  <a:pt x="4771200" y="323894"/>
                  <a:pt x="4725817" y="296965"/>
                  <a:pt x="4678436" y="285196"/>
                </a:cubicBezTo>
                <a:lnTo>
                  <a:pt x="4611456" y="268625"/>
                </a:lnTo>
                <a:cubicBezTo>
                  <a:pt x="4577966" y="260339"/>
                  <a:pt x="4563314" y="245180"/>
                  <a:pt x="4563314" y="223054"/>
                </a:cubicBezTo>
                <a:cubicBezTo>
                  <a:pt x="4563314" y="195466"/>
                  <a:pt x="4587004" y="178895"/>
                  <a:pt x="4622588" y="178895"/>
                </a:cubicBezTo>
                <a:cubicBezTo>
                  <a:pt x="4664450" y="178895"/>
                  <a:pt x="4690234" y="201680"/>
                  <a:pt x="4693754" y="245180"/>
                </a:cubicBezTo>
                <a:lnTo>
                  <a:pt x="4763493" y="224466"/>
                </a:lnTo>
                <a:cubicBezTo>
                  <a:pt x="4755026" y="175976"/>
                  <a:pt x="4706884" y="142174"/>
                  <a:pt x="4629533" y="142174"/>
                </a:cubicBezTo>
                <a:moveTo>
                  <a:pt x="4975471" y="463149"/>
                </a:moveTo>
                <a:cubicBezTo>
                  <a:pt x="4921715" y="463149"/>
                  <a:pt x="4891745" y="412776"/>
                  <a:pt x="4891745" y="321634"/>
                </a:cubicBezTo>
                <a:cubicBezTo>
                  <a:pt x="4891745" y="229080"/>
                  <a:pt x="4921715" y="180119"/>
                  <a:pt x="4975471" y="180119"/>
                </a:cubicBezTo>
                <a:cubicBezTo>
                  <a:pt x="5029226" y="180119"/>
                  <a:pt x="5059196" y="229833"/>
                  <a:pt x="5059196" y="321634"/>
                </a:cubicBezTo>
                <a:cubicBezTo>
                  <a:pt x="5059196" y="414189"/>
                  <a:pt x="5029131" y="463149"/>
                  <a:pt x="4975471" y="463149"/>
                </a:cubicBezTo>
                <a:moveTo>
                  <a:pt x="4975471" y="142174"/>
                </a:moveTo>
                <a:cubicBezTo>
                  <a:pt x="4865962" y="142174"/>
                  <a:pt x="4805261" y="222959"/>
                  <a:pt x="4805261" y="321634"/>
                </a:cubicBezTo>
                <a:cubicBezTo>
                  <a:pt x="4805261" y="420309"/>
                  <a:pt x="4865962" y="501094"/>
                  <a:pt x="4975471" y="501094"/>
                </a:cubicBezTo>
                <a:cubicBezTo>
                  <a:pt x="5084980" y="501094"/>
                  <a:pt x="5145680" y="420309"/>
                  <a:pt x="5145680" y="321634"/>
                </a:cubicBezTo>
                <a:cubicBezTo>
                  <a:pt x="5145680" y="222959"/>
                  <a:pt x="5084980" y="142174"/>
                  <a:pt x="4975471" y="142174"/>
                </a:cubicBezTo>
                <a:moveTo>
                  <a:pt x="5377257" y="142174"/>
                </a:moveTo>
                <a:cubicBezTo>
                  <a:pt x="5325595" y="142174"/>
                  <a:pt x="5297052" y="164301"/>
                  <a:pt x="5280973" y="192547"/>
                </a:cubicBezTo>
                <a:lnTo>
                  <a:pt x="5276787" y="192547"/>
                </a:lnTo>
                <a:lnTo>
                  <a:pt x="5276787" y="149048"/>
                </a:lnTo>
                <a:lnTo>
                  <a:pt x="5194488" y="149048"/>
                </a:lnTo>
                <a:lnTo>
                  <a:pt x="5194488" y="494221"/>
                </a:lnTo>
                <a:lnTo>
                  <a:pt x="5276787" y="494221"/>
                </a:lnTo>
                <a:lnTo>
                  <a:pt x="5276787" y="271261"/>
                </a:lnTo>
                <a:cubicBezTo>
                  <a:pt x="5276787" y="220229"/>
                  <a:pt x="5303331" y="190476"/>
                  <a:pt x="5345860" y="190476"/>
                </a:cubicBezTo>
                <a:cubicBezTo>
                  <a:pt x="5387057" y="190476"/>
                  <a:pt x="5405134" y="217404"/>
                  <a:pt x="5405134" y="258173"/>
                </a:cubicBezTo>
                <a:lnTo>
                  <a:pt x="5405134" y="494221"/>
                </a:lnTo>
                <a:lnTo>
                  <a:pt x="5487432" y="494221"/>
                </a:lnTo>
                <a:lnTo>
                  <a:pt x="5487432" y="257420"/>
                </a:lnTo>
                <a:cubicBezTo>
                  <a:pt x="5487432" y="186333"/>
                  <a:pt x="5449755" y="142174"/>
                  <a:pt x="5377257" y="142174"/>
                </a:cubicBezTo>
                <a:moveTo>
                  <a:pt x="323674" y="11016"/>
                </a:moveTo>
                <a:lnTo>
                  <a:pt x="237190" y="11016"/>
                </a:lnTo>
                <a:lnTo>
                  <a:pt x="237190" y="367864"/>
                </a:lnTo>
                <a:cubicBezTo>
                  <a:pt x="237190" y="425864"/>
                  <a:pt x="214831" y="460325"/>
                  <a:pt x="161837" y="460325"/>
                </a:cubicBezTo>
                <a:cubicBezTo>
                  <a:pt x="109509" y="460325"/>
                  <a:pt x="86484" y="423698"/>
                  <a:pt x="86484" y="360897"/>
                </a:cubicBezTo>
                <a:lnTo>
                  <a:pt x="86484" y="294612"/>
                </a:lnTo>
                <a:lnTo>
                  <a:pt x="0" y="315985"/>
                </a:lnTo>
                <a:lnTo>
                  <a:pt x="0" y="345644"/>
                </a:lnTo>
                <a:cubicBezTo>
                  <a:pt x="0" y="436033"/>
                  <a:pt x="45383" y="505143"/>
                  <a:pt x="161837" y="505143"/>
                </a:cubicBezTo>
                <a:cubicBezTo>
                  <a:pt x="278291" y="505143"/>
                  <a:pt x="323674" y="436127"/>
                  <a:pt x="323674" y="345644"/>
                </a:cubicBezTo>
                <a:lnTo>
                  <a:pt x="323674" y="11016"/>
                </a:lnTo>
                <a:moveTo>
                  <a:pt x="844008" y="11016"/>
                </a:moveTo>
                <a:lnTo>
                  <a:pt x="761710" y="11016"/>
                </a:lnTo>
                <a:lnTo>
                  <a:pt x="761710" y="494221"/>
                </a:lnTo>
                <a:lnTo>
                  <a:pt x="844008" y="494221"/>
                </a:lnTo>
                <a:lnTo>
                  <a:pt x="844008" y="271261"/>
                </a:lnTo>
                <a:cubicBezTo>
                  <a:pt x="844008" y="220229"/>
                  <a:pt x="870553" y="190476"/>
                  <a:pt x="913081" y="190476"/>
                </a:cubicBezTo>
                <a:cubicBezTo>
                  <a:pt x="954278" y="190476"/>
                  <a:pt x="972355" y="217404"/>
                  <a:pt x="972355" y="258173"/>
                </a:cubicBezTo>
                <a:lnTo>
                  <a:pt x="972355" y="494221"/>
                </a:lnTo>
                <a:lnTo>
                  <a:pt x="1054653" y="494221"/>
                </a:lnTo>
                <a:lnTo>
                  <a:pt x="1054653" y="257420"/>
                </a:lnTo>
                <a:cubicBezTo>
                  <a:pt x="1054653" y="186333"/>
                  <a:pt x="1016977" y="142174"/>
                  <a:pt x="944478" y="142174"/>
                </a:cubicBezTo>
                <a:cubicBezTo>
                  <a:pt x="892816" y="142174"/>
                  <a:pt x="864273" y="164301"/>
                  <a:pt x="848194" y="192547"/>
                </a:cubicBezTo>
                <a:lnTo>
                  <a:pt x="844008" y="192547"/>
                </a:lnTo>
                <a:lnTo>
                  <a:pt x="844008" y="11016"/>
                </a:lnTo>
                <a:moveTo>
                  <a:pt x="3352342" y="11016"/>
                </a:moveTo>
                <a:lnTo>
                  <a:pt x="3265857" y="11016"/>
                </a:lnTo>
                <a:lnTo>
                  <a:pt x="3265857" y="367864"/>
                </a:lnTo>
                <a:cubicBezTo>
                  <a:pt x="3265857" y="425864"/>
                  <a:pt x="3243499" y="460325"/>
                  <a:pt x="3190504" y="460325"/>
                </a:cubicBezTo>
                <a:cubicBezTo>
                  <a:pt x="3138176" y="460325"/>
                  <a:pt x="3115152" y="423698"/>
                  <a:pt x="3115152" y="360897"/>
                </a:cubicBezTo>
                <a:lnTo>
                  <a:pt x="3115152" y="294612"/>
                </a:lnTo>
                <a:lnTo>
                  <a:pt x="3028667" y="315985"/>
                </a:lnTo>
                <a:lnTo>
                  <a:pt x="3028667" y="345644"/>
                </a:lnTo>
                <a:cubicBezTo>
                  <a:pt x="3028667" y="436033"/>
                  <a:pt x="3074050" y="505143"/>
                  <a:pt x="3190504" y="505143"/>
                </a:cubicBezTo>
                <a:cubicBezTo>
                  <a:pt x="3306959" y="505143"/>
                  <a:pt x="3352342" y="436127"/>
                  <a:pt x="3352342" y="345644"/>
                </a:cubicBezTo>
                <a:lnTo>
                  <a:pt x="3352342" y="11016"/>
                </a:lnTo>
                <a:moveTo>
                  <a:pt x="3872675" y="11016"/>
                </a:moveTo>
                <a:lnTo>
                  <a:pt x="3790377" y="11016"/>
                </a:lnTo>
                <a:lnTo>
                  <a:pt x="3790377" y="494221"/>
                </a:lnTo>
                <a:lnTo>
                  <a:pt x="3872675" y="494221"/>
                </a:lnTo>
                <a:lnTo>
                  <a:pt x="3872675" y="271261"/>
                </a:lnTo>
                <a:cubicBezTo>
                  <a:pt x="3872675" y="220229"/>
                  <a:pt x="3899220" y="190476"/>
                  <a:pt x="3941749" y="190476"/>
                </a:cubicBezTo>
                <a:cubicBezTo>
                  <a:pt x="3982945" y="190476"/>
                  <a:pt x="4001022" y="217404"/>
                  <a:pt x="4001022" y="258173"/>
                </a:cubicBezTo>
                <a:lnTo>
                  <a:pt x="4001022" y="494221"/>
                </a:lnTo>
                <a:lnTo>
                  <a:pt x="4083320" y="494221"/>
                </a:lnTo>
                <a:lnTo>
                  <a:pt x="4083320" y="257420"/>
                </a:lnTo>
                <a:cubicBezTo>
                  <a:pt x="4083320" y="186333"/>
                  <a:pt x="4045644" y="142174"/>
                  <a:pt x="3973146" y="142174"/>
                </a:cubicBezTo>
                <a:cubicBezTo>
                  <a:pt x="3921483" y="142174"/>
                  <a:pt x="3892941" y="164301"/>
                  <a:pt x="3876861" y="192547"/>
                </a:cubicBezTo>
                <a:lnTo>
                  <a:pt x="3872675" y="192547"/>
                </a:lnTo>
                <a:lnTo>
                  <a:pt x="3872675" y="11016"/>
                </a:lnTo>
                <a:moveTo>
                  <a:pt x="2730110" y="454864"/>
                </a:moveTo>
                <a:cubicBezTo>
                  <a:pt x="2663130" y="454864"/>
                  <a:pt x="2622029" y="401007"/>
                  <a:pt x="2622029" y="343761"/>
                </a:cubicBezTo>
                <a:cubicBezTo>
                  <a:pt x="2622029" y="307887"/>
                  <a:pt x="2638108" y="274745"/>
                  <a:pt x="2664557" y="256102"/>
                </a:cubicBezTo>
                <a:lnTo>
                  <a:pt x="2822208" y="426617"/>
                </a:lnTo>
                <a:cubicBezTo>
                  <a:pt x="2792904" y="443848"/>
                  <a:pt x="2760080" y="454864"/>
                  <a:pt x="2730110" y="454864"/>
                </a:cubicBezTo>
                <a:moveTo>
                  <a:pt x="2883575" y="369936"/>
                </a:moveTo>
                <a:lnTo>
                  <a:pt x="2746856" y="220794"/>
                </a:lnTo>
                <a:cubicBezTo>
                  <a:pt x="2771307" y="211096"/>
                  <a:pt x="2794998" y="207706"/>
                  <a:pt x="2814502" y="207706"/>
                </a:cubicBezTo>
                <a:cubicBezTo>
                  <a:pt x="2871016" y="207706"/>
                  <a:pt x="2905838" y="240190"/>
                  <a:pt x="2905838" y="296118"/>
                </a:cubicBezTo>
                <a:cubicBezTo>
                  <a:pt x="2905934" y="320975"/>
                  <a:pt x="2898893" y="346491"/>
                  <a:pt x="2883575" y="369936"/>
                </a:cubicBezTo>
                <a:moveTo>
                  <a:pt x="2728017" y="200833"/>
                </a:moveTo>
                <a:lnTo>
                  <a:pt x="2698047" y="167690"/>
                </a:lnTo>
                <a:cubicBezTo>
                  <a:pt x="2671503" y="138691"/>
                  <a:pt x="2663891" y="120707"/>
                  <a:pt x="2663891" y="99334"/>
                </a:cubicBezTo>
                <a:cubicBezTo>
                  <a:pt x="2663891" y="59318"/>
                  <a:pt x="2689675" y="36532"/>
                  <a:pt x="2730110" y="36532"/>
                </a:cubicBezTo>
                <a:cubicBezTo>
                  <a:pt x="2771307" y="36532"/>
                  <a:pt x="2795664" y="59977"/>
                  <a:pt x="2795664" y="102817"/>
                </a:cubicBezTo>
                <a:cubicBezTo>
                  <a:pt x="2795664" y="142174"/>
                  <a:pt x="2776159" y="179460"/>
                  <a:pt x="2728017" y="200833"/>
                </a:cubicBezTo>
                <a:moveTo>
                  <a:pt x="2732204" y="0"/>
                </a:moveTo>
                <a:cubicBezTo>
                  <a:pt x="2635920" y="0"/>
                  <a:pt x="2588539" y="53198"/>
                  <a:pt x="2588539" y="119389"/>
                </a:cubicBezTo>
                <a:cubicBezTo>
                  <a:pt x="2588539" y="155262"/>
                  <a:pt x="2603857" y="191229"/>
                  <a:pt x="2644387" y="234635"/>
                </a:cubicBezTo>
                <a:lnTo>
                  <a:pt x="2645053" y="236047"/>
                </a:lnTo>
                <a:cubicBezTo>
                  <a:pt x="2576741" y="268531"/>
                  <a:pt x="2545344" y="320975"/>
                  <a:pt x="2545344" y="374832"/>
                </a:cubicBezTo>
                <a:cubicBezTo>
                  <a:pt x="2545344" y="445919"/>
                  <a:pt x="2600432" y="505331"/>
                  <a:pt x="2685584" y="505331"/>
                </a:cubicBezTo>
                <a:cubicBezTo>
                  <a:pt x="2734392" y="505331"/>
                  <a:pt x="2791573" y="485276"/>
                  <a:pt x="2843235" y="449403"/>
                </a:cubicBezTo>
                <a:lnTo>
                  <a:pt x="2885097" y="494315"/>
                </a:lnTo>
                <a:lnTo>
                  <a:pt x="2994606" y="494315"/>
                </a:lnTo>
                <a:lnTo>
                  <a:pt x="2994606" y="490831"/>
                </a:lnTo>
                <a:lnTo>
                  <a:pt x="2905363" y="393474"/>
                </a:lnTo>
                <a:cubicBezTo>
                  <a:pt x="2943039" y="349316"/>
                  <a:pt x="2964637" y="301014"/>
                  <a:pt x="2964637" y="258833"/>
                </a:cubicBezTo>
                <a:cubicBezTo>
                  <a:pt x="2964637" y="206388"/>
                  <a:pt x="2929053" y="171174"/>
                  <a:pt x="2873300" y="171174"/>
                </a:cubicBezTo>
                <a:cubicBezTo>
                  <a:pt x="2843996" y="171174"/>
                  <a:pt x="2811172" y="179460"/>
                  <a:pt x="2789574" y="187745"/>
                </a:cubicBezTo>
                <a:lnTo>
                  <a:pt x="2788147" y="185015"/>
                </a:lnTo>
                <a:cubicBezTo>
                  <a:pt x="2841142" y="156674"/>
                  <a:pt x="2863500" y="130499"/>
                  <a:pt x="2863500" y="93873"/>
                </a:cubicBezTo>
                <a:cubicBezTo>
                  <a:pt x="2863310" y="41428"/>
                  <a:pt x="2815929" y="0"/>
                  <a:pt x="2732204" y="0"/>
                </a:cubicBezTo>
              </a:path>
            </a:pathLst>
          </a:custGeom>
          <a:solidFill>
            <a:schemeClr val="accent1"/>
          </a:solidFill>
          <a:ln w="9509" cap="flat">
            <a:noFill/>
            <a:prstDash val="solid"/>
            <a:miter/>
          </a:ln>
        </p:spPr>
        <p:txBody>
          <a:bodyPr rtlCol="0" anchor="ctr"/>
          <a:lstStyle/>
          <a:p>
            <a:endParaRPr lang="en-GB"/>
          </a:p>
        </p:txBody>
      </p:sp>
    </p:spTree>
    <p:extLst>
      <p:ext uri="{BB962C8B-B14F-4D97-AF65-F5344CB8AC3E}">
        <p14:creationId xmlns:p14="http://schemas.microsoft.com/office/powerpoint/2010/main" val="1552855419"/>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031191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5EFD4EAF-3D60-DC5D-9020-CF7FB8FB51D2}"/>
              </a:ext>
            </a:extLst>
          </p:cNvPr>
          <p:cNvSpPr>
            <a:spLocks noGrp="1"/>
          </p:cNvSpPr>
          <p:nvPr>
            <p:ph type="title"/>
          </p:nvPr>
        </p:nvSpPr>
        <p:spPr>
          <a:xfrm>
            <a:off x="288303" y="262267"/>
            <a:ext cx="6713538" cy="457818"/>
          </a:xfrm>
        </p:spPr>
        <p:txBody>
          <a:bodyPr/>
          <a:lstStyle/>
          <a:p>
            <a:r>
              <a:rPr lang="en-US"/>
              <a:t>Click to edit Master title style</a:t>
            </a:r>
            <a:endParaRPr lang="en-GB"/>
          </a:p>
        </p:txBody>
      </p:sp>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r>
              <a:rPr lang="en-US"/>
              <a:t>Job Aid and Guidance Document still under review.</a:t>
            </a:r>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10" name="Picture Placeholder 3">
            <a:extLst>
              <a:ext uri="{FF2B5EF4-FFF2-40B4-BE49-F238E27FC236}">
                <a16:creationId xmlns:a16="http://schemas.microsoft.com/office/drawing/2014/main" id="{4E9C5E07-6992-3F19-1B3D-971FA4CAA6E9}"/>
              </a:ext>
            </a:extLst>
          </p:cNvPr>
          <p:cNvSpPr>
            <a:spLocks noGrp="1"/>
          </p:cNvSpPr>
          <p:nvPr>
            <p:ph type="pic" sz="quarter" idx="16" hasCustomPrompt="1"/>
          </p:nvPr>
        </p:nvSpPr>
        <p:spPr>
          <a:xfrm>
            <a:off x="292100" y="1306514"/>
            <a:ext cx="2790825" cy="1908174"/>
          </a:xfrm>
          <a:solidFill>
            <a:srgbClr val="F6F3F2"/>
          </a:solidFill>
        </p:spPr>
        <p:txBody>
          <a:bodyPr vert="horz" lIns="0" tIns="0" rIns="0" bIns="0" rtlCol="0">
            <a:noAutofit/>
          </a:bodyPr>
          <a:lstStyle>
            <a:lvl1pPr>
              <a:defRPr lang="en-GB">
                <a:solidFill>
                  <a:schemeClr val="tx1"/>
                </a:solidFill>
                <a:latin typeface="+mn-lt"/>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1" name="Picture Placeholder 3">
            <a:extLst>
              <a:ext uri="{FF2B5EF4-FFF2-40B4-BE49-F238E27FC236}">
                <a16:creationId xmlns:a16="http://schemas.microsoft.com/office/drawing/2014/main" id="{1DFC9CD2-F9F0-5542-03DE-0F1FE57839DE}"/>
              </a:ext>
            </a:extLst>
          </p:cNvPr>
          <p:cNvSpPr>
            <a:spLocks noGrp="1"/>
          </p:cNvSpPr>
          <p:nvPr>
            <p:ph type="pic" sz="quarter" idx="17" hasCustomPrompt="1"/>
          </p:nvPr>
        </p:nvSpPr>
        <p:spPr>
          <a:xfrm>
            <a:off x="3225800" y="1306515"/>
            <a:ext cx="2795588" cy="1906586"/>
          </a:xfrm>
          <a:solidFill>
            <a:srgbClr val="F6F3F2"/>
          </a:solidFill>
        </p:spPr>
        <p:txBody>
          <a:bodyPr vert="horz" lIns="0" tIns="0" rIns="0" bIns="0" rtlCol="0">
            <a:noAutofit/>
          </a:bodyPr>
          <a:lstStyle>
            <a:lvl1pPr>
              <a:defRPr lang="en-GB" dirty="0">
                <a:solidFill>
                  <a:schemeClr val="tx1"/>
                </a:solidFill>
                <a:latin typeface="+mn-lt"/>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2" name="Picture Placeholder 3">
            <a:extLst>
              <a:ext uri="{FF2B5EF4-FFF2-40B4-BE49-F238E27FC236}">
                <a16:creationId xmlns:a16="http://schemas.microsoft.com/office/drawing/2014/main" id="{D5E872F4-C139-6D56-50F9-7D21C3B1C8C0}"/>
              </a:ext>
            </a:extLst>
          </p:cNvPr>
          <p:cNvSpPr>
            <a:spLocks noGrp="1"/>
          </p:cNvSpPr>
          <p:nvPr>
            <p:ph type="pic" sz="quarter" idx="18" hasCustomPrompt="1"/>
          </p:nvPr>
        </p:nvSpPr>
        <p:spPr>
          <a:xfrm>
            <a:off x="6165850" y="1306513"/>
            <a:ext cx="2795588" cy="1908175"/>
          </a:xfrm>
          <a:solidFill>
            <a:srgbClr val="F6F3F2"/>
          </a:solidFill>
        </p:spPr>
        <p:txBody>
          <a:bodyPr vert="horz" lIns="0" tIns="0" rIns="0" bIns="0" rtlCol="0">
            <a:noAutofit/>
          </a:bodyPr>
          <a:lstStyle>
            <a:lvl1pPr>
              <a:defRPr lang="en-GB">
                <a:solidFill>
                  <a:schemeClr val="tx1"/>
                </a:solidFill>
                <a:latin typeface="+mn-lt"/>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3" name="Picture Placeholder 3">
            <a:extLst>
              <a:ext uri="{FF2B5EF4-FFF2-40B4-BE49-F238E27FC236}">
                <a16:creationId xmlns:a16="http://schemas.microsoft.com/office/drawing/2014/main" id="{84712E5D-D603-F9AE-3C3A-D37795F75238}"/>
              </a:ext>
            </a:extLst>
          </p:cNvPr>
          <p:cNvSpPr>
            <a:spLocks noGrp="1"/>
          </p:cNvSpPr>
          <p:nvPr>
            <p:ph type="pic" sz="quarter" idx="19" hasCustomPrompt="1"/>
          </p:nvPr>
        </p:nvSpPr>
        <p:spPr>
          <a:xfrm>
            <a:off x="9104313" y="1306513"/>
            <a:ext cx="2799890" cy="1906588"/>
          </a:xfrm>
          <a:solidFill>
            <a:srgbClr val="F6F3F2"/>
          </a:solidFill>
        </p:spPr>
        <p:txBody>
          <a:bodyPr vert="horz" lIns="0" tIns="0" rIns="0" bIns="0" rtlCol="0">
            <a:noAutofit/>
          </a:bodyPr>
          <a:lstStyle>
            <a:lvl1pPr>
              <a:defRPr lang="en-GB" dirty="0">
                <a:solidFill>
                  <a:schemeClr val="tx1"/>
                </a:solidFill>
                <a:latin typeface="+mn-lt"/>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5" name="Text Placeholder 7">
            <a:extLst>
              <a:ext uri="{FF2B5EF4-FFF2-40B4-BE49-F238E27FC236}">
                <a16:creationId xmlns:a16="http://schemas.microsoft.com/office/drawing/2014/main" id="{19D9921F-F7C4-B7B7-7BFB-FFFA54F89ACB}"/>
              </a:ext>
            </a:extLst>
          </p:cNvPr>
          <p:cNvSpPr>
            <a:spLocks noGrp="1"/>
          </p:cNvSpPr>
          <p:nvPr>
            <p:ph type="body" sz="quarter" idx="20"/>
          </p:nvPr>
        </p:nvSpPr>
        <p:spPr>
          <a:xfrm>
            <a:off x="8124205" y="295200"/>
            <a:ext cx="3778870" cy="876375"/>
          </a:xfrm>
        </p:spPr>
        <p:txBody>
          <a:bodyPr/>
          <a:lstStyle>
            <a:lvl1pPr>
              <a:defRPr sz="1400"/>
            </a:lvl1pPr>
            <a:lvl2pPr>
              <a:defRPr sz="1400"/>
            </a:lvl2pPr>
            <a:lvl3pPr>
              <a:defRPr sz="1200"/>
            </a:lvl3pPr>
          </a:lstStyle>
          <a:p>
            <a:pPr lvl="0"/>
            <a:r>
              <a:rPr lang="en-US"/>
              <a:t>Click to edit Master text styles</a:t>
            </a:r>
          </a:p>
          <a:p>
            <a:pPr lvl="1"/>
            <a:r>
              <a:rPr lang="en-US"/>
              <a:t>Second level</a:t>
            </a:r>
          </a:p>
          <a:p>
            <a:pPr lvl="2"/>
            <a:r>
              <a:rPr lang="en-US"/>
              <a:t>Third level</a:t>
            </a:r>
          </a:p>
        </p:txBody>
      </p:sp>
      <p:sp>
        <p:nvSpPr>
          <p:cNvPr id="2" name="Subtitle 2">
            <a:extLst>
              <a:ext uri="{FF2B5EF4-FFF2-40B4-BE49-F238E27FC236}">
                <a16:creationId xmlns:a16="http://schemas.microsoft.com/office/drawing/2014/main" id="{A6811233-C261-B7A8-9BF5-E6DBD474B2D8}"/>
              </a:ext>
            </a:extLst>
          </p:cNvPr>
          <p:cNvSpPr>
            <a:spLocks noGrp="1"/>
          </p:cNvSpPr>
          <p:nvPr>
            <p:ph type="subTitle" idx="21" hasCustomPrompt="1"/>
          </p:nvPr>
        </p:nvSpPr>
        <p:spPr>
          <a:xfrm>
            <a:off x="288302" y="713620"/>
            <a:ext cx="6713538"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
        <p:nvSpPr>
          <p:cNvPr id="14" name="Text Placeholder 11">
            <a:extLst>
              <a:ext uri="{FF2B5EF4-FFF2-40B4-BE49-F238E27FC236}">
                <a16:creationId xmlns:a16="http://schemas.microsoft.com/office/drawing/2014/main" id="{AB473CBC-7605-D3E8-783C-F925B286C464}"/>
              </a:ext>
            </a:extLst>
          </p:cNvPr>
          <p:cNvSpPr>
            <a:spLocks noGrp="1"/>
          </p:cNvSpPr>
          <p:nvPr>
            <p:ph type="body" sz="quarter" idx="22"/>
          </p:nvPr>
        </p:nvSpPr>
        <p:spPr>
          <a:xfrm>
            <a:off x="288925" y="3357563"/>
            <a:ext cx="2790825" cy="29194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1">
            <a:extLst>
              <a:ext uri="{FF2B5EF4-FFF2-40B4-BE49-F238E27FC236}">
                <a16:creationId xmlns:a16="http://schemas.microsoft.com/office/drawing/2014/main" id="{D5F5363E-BC98-62D0-50C8-BB47491FC9D2}"/>
              </a:ext>
            </a:extLst>
          </p:cNvPr>
          <p:cNvSpPr>
            <a:spLocks noGrp="1"/>
          </p:cNvSpPr>
          <p:nvPr>
            <p:ph type="body" sz="quarter" idx="23"/>
          </p:nvPr>
        </p:nvSpPr>
        <p:spPr>
          <a:xfrm>
            <a:off x="3233115" y="3357563"/>
            <a:ext cx="2796156" cy="29194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1">
            <a:extLst>
              <a:ext uri="{FF2B5EF4-FFF2-40B4-BE49-F238E27FC236}">
                <a16:creationId xmlns:a16="http://schemas.microsoft.com/office/drawing/2014/main" id="{2CFDC76E-CB6A-2A48-41EF-35223633C7FE}"/>
              </a:ext>
            </a:extLst>
          </p:cNvPr>
          <p:cNvSpPr>
            <a:spLocks noGrp="1"/>
          </p:cNvSpPr>
          <p:nvPr>
            <p:ph type="body" sz="quarter" idx="24"/>
          </p:nvPr>
        </p:nvSpPr>
        <p:spPr>
          <a:xfrm>
            <a:off x="6175321" y="3357563"/>
            <a:ext cx="2796156" cy="29194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1">
            <a:extLst>
              <a:ext uri="{FF2B5EF4-FFF2-40B4-BE49-F238E27FC236}">
                <a16:creationId xmlns:a16="http://schemas.microsoft.com/office/drawing/2014/main" id="{12E56C66-93E1-5486-DC8D-DDF4C1E184CC}"/>
              </a:ext>
            </a:extLst>
          </p:cNvPr>
          <p:cNvSpPr>
            <a:spLocks noGrp="1"/>
          </p:cNvSpPr>
          <p:nvPr>
            <p:ph type="body" sz="quarter" idx="25"/>
          </p:nvPr>
        </p:nvSpPr>
        <p:spPr>
          <a:xfrm>
            <a:off x="9104313" y="3357563"/>
            <a:ext cx="2800800" cy="29194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264108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r>
              <a:rPr lang="en-US"/>
              <a:t>Job Aid and Guidance Document still under review.</a:t>
            </a:r>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831294"/>
            <a:ext cx="2793541" cy="1893888"/>
          </a:xfrm>
        </p:spPr>
        <p:txBody>
          <a:bodyPr/>
          <a:lstStyle>
            <a:lvl1pPr>
              <a:defRPr sz="1400"/>
            </a:lvl1pPr>
            <a:lvl2pPr>
              <a:defRPr sz="1400"/>
            </a:lvl2pPr>
            <a:lvl3pPr>
              <a:defRPr sz="1200"/>
            </a:lvl3pPr>
            <a:lvl4pPr>
              <a:defRPr sz="3200"/>
            </a:lvl4pPr>
            <a:lvl5pPr>
              <a:defRPr sz="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6165852" y="1831294"/>
            <a:ext cx="2793542" cy="1893888"/>
          </a:xfrm>
        </p:spPr>
        <p:txBody>
          <a:bodyPr/>
          <a:lstStyle>
            <a:lvl1pPr>
              <a:defRPr sz="1400"/>
            </a:lvl1pPr>
            <a:lvl2pPr>
              <a:defRPr sz="1400"/>
            </a:lvl2pPr>
            <a:lvl3pPr>
              <a:defRPr sz="1200"/>
            </a:lvl3pPr>
            <a:lvl4pPr>
              <a:defRPr lang="en-GB" sz="3200" b="0" i="0" kern="1200">
                <a:solidFill>
                  <a:schemeClr val="tx2"/>
                </a:solidFill>
                <a:latin typeface="Johnson Display" pitchFamily="2" charset="77"/>
                <a:ea typeface="+mn-ea"/>
                <a:cs typeface="+mn-cs"/>
              </a:defRPr>
            </a:lvl4pPr>
            <a:lvl5pPr>
              <a:defRPr sz="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73E966BC-48D6-0237-3D83-9F8CB77DC975}"/>
              </a:ext>
            </a:extLst>
          </p:cNvPr>
          <p:cNvSpPr>
            <a:spLocks noGrp="1"/>
          </p:cNvSpPr>
          <p:nvPr>
            <p:ph idx="14"/>
          </p:nvPr>
        </p:nvSpPr>
        <p:spPr>
          <a:xfrm>
            <a:off x="3225800" y="1831294"/>
            <a:ext cx="2803525" cy="1893888"/>
          </a:xfrm>
        </p:spPr>
        <p:txBody>
          <a:bodyPr/>
          <a:lstStyle>
            <a:lvl1pPr>
              <a:defRPr sz="1400"/>
            </a:lvl1pPr>
            <a:lvl2pPr>
              <a:defRPr sz="1400"/>
            </a:lvl2pPr>
            <a:lvl3pPr>
              <a:defRPr sz="1200"/>
            </a:lvl3pPr>
            <a:lvl4pPr>
              <a:defRPr lang="en-GB" sz="3200" b="0" i="0" kern="1200" dirty="0">
                <a:solidFill>
                  <a:schemeClr val="tx2"/>
                </a:solidFill>
                <a:latin typeface="Johnson Display" pitchFamily="2" charset="77"/>
                <a:ea typeface="+mn-ea"/>
                <a:cs typeface="+mn-cs"/>
              </a:defRPr>
            </a:lvl4pPr>
            <a:lvl5pPr>
              <a:defRPr sz="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2">
            <a:extLst>
              <a:ext uri="{FF2B5EF4-FFF2-40B4-BE49-F238E27FC236}">
                <a16:creationId xmlns:a16="http://schemas.microsoft.com/office/drawing/2014/main" id="{48B10B95-D320-4FA6-98CE-883417C5DC22}"/>
              </a:ext>
            </a:extLst>
          </p:cNvPr>
          <p:cNvSpPr>
            <a:spLocks noGrp="1"/>
          </p:cNvSpPr>
          <p:nvPr>
            <p:ph idx="15"/>
          </p:nvPr>
        </p:nvSpPr>
        <p:spPr>
          <a:xfrm>
            <a:off x="9105903" y="1831294"/>
            <a:ext cx="2793997" cy="1893888"/>
          </a:xfrm>
        </p:spPr>
        <p:txBody>
          <a:bodyPr/>
          <a:lstStyle>
            <a:lvl1pPr>
              <a:defRPr sz="1400"/>
            </a:lvl1pPr>
            <a:lvl2pPr>
              <a:defRPr sz="1400"/>
            </a:lvl2pPr>
            <a:lvl3pPr>
              <a:defRPr sz="1200"/>
            </a:lvl3pPr>
            <a:lvl4pPr>
              <a:defRPr lang="en-GB" sz="3200" b="0" i="0" kern="1200">
                <a:solidFill>
                  <a:schemeClr val="tx2"/>
                </a:solidFill>
                <a:latin typeface="Johnson Display" pitchFamily="2" charset="77"/>
                <a:ea typeface="+mn-ea"/>
                <a:cs typeface="+mn-cs"/>
              </a:defRPr>
            </a:lvl4pPr>
            <a:lvl5pPr>
              <a:defRPr sz="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2">
            <a:extLst>
              <a:ext uri="{FF2B5EF4-FFF2-40B4-BE49-F238E27FC236}">
                <a16:creationId xmlns:a16="http://schemas.microsoft.com/office/drawing/2014/main" id="{F837F62A-0DBC-5C4E-10B1-0A4CD4ADF81F}"/>
              </a:ext>
            </a:extLst>
          </p:cNvPr>
          <p:cNvSpPr>
            <a:spLocks noGrp="1"/>
          </p:cNvSpPr>
          <p:nvPr>
            <p:ph idx="16"/>
          </p:nvPr>
        </p:nvSpPr>
        <p:spPr>
          <a:xfrm>
            <a:off x="289384" y="3871912"/>
            <a:ext cx="2793541" cy="1893887"/>
          </a:xfrm>
        </p:spPr>
        <p:txBody>
          <a:bodyPr/>
          <a:lstStyle>
            <a:lvl1pPr>
              <a:defRPr sz="1400"/>
            </a:lvl1pPr>
            <a:lvl2pPr>
              <a:defRPr sz="1400"/>
            </a:lvl2pPr>
            <a:lvl3pPr>
              <a:defRPr sz="1200"/>
            </a:lvl3pPr>
            <a:lvl4pPr>
              <a:defRPr lang="en-GB" sz="3200" b="0" i="0" kern="1200">
                <a:solidFill>
                  <a:schemeClr val="tx2"/>
                </a:solidFill>
                <a:latin typeface="Johnson Display" pitchFamily="2" charset="77"/>
                <a:ea typeface="+mn-ea"/>
                <a:cs typeface="+mn-cs"/>
              </a:defRPr>
            </a:lvl4pPr>
            <a:lvl5pPr>
              <a:defRPr sz="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2">
            <a:extLst>
              <a:ext uri="{FF2B5EF4-FFF2-40B4-BE49-F238E27FC236}">
                <a16:creationId xmlns:a16="http://schemas.microsoft.com/office/drawing/2014/main" id="{D19C36C2-D521-FEE7-A6AC-5710B0CDB350}"/>
              </a:ext>
            </a:extLst>
          </p:cNvPr>
          <p:cNvSpPr>
            <a:spLocks noGrp="1"/>
          </p:cNvSpPr>
          <p:nvPr>
            <p:ph idx="17"/>
          </p:nvPr>
        </p:nvSpPr>
        <p:spPr>
          <a:xfrm>
            <a:off x="6165851" y="3871912"/>
            <a:ext cx="2795588" cy="1893888"/>
          </a:xfrm>
        </p:spPr>
        <p:txBody>
          <a:bodyPr/>
          <a:lstStyle>
            <a:lvl1pPr>
              <a:defRPr sz="1400"/>
            </a:lvl1pPr>
            <a:lvl2pPr>
              <a:defRPr sz="1400"/>
            </a:lvl2pPr>
            <a:lvl3pPr>
              <a:defRPr sz="1200"/>
            </a:lvl3pPr>
            <a:lvl4pPr>
              <a:defRPr lang="en-GB" sz="3200" b="0" i="0" kern="1200">
                <a:solidFill>
                  <a:schemeClr val="tx2"/>
                </a:solidFill>
                <a:latin typeface="Johnson Display" pitchFamily="2" charset="77"/>
                <a:ea typeface="+mn-ea"/>
                <a:cs typeface="+mn-cs"/>
              </a:defRPr>
            </a:lvl4pPr>
            <a:lvl5pPr>
              <a:defRPr sz="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2">
            <a:extLst>
              <a:ext uri="{FF2B5EF4-FFF2-40B4-BE49-F238E27FC236}">
                <a16:creationId xmlns:a16="http://schemas.microsoft.com/office/drawing/2014/main" id="{FB6994DE-2295-D9C1-5B16-D2099A816416}"/>
              </a:ext>
            </a:extLst>
          </p:cNvPr>
          <p:cNvSpPr>
            <a:spLocks noGrp="1"/>
          </p:cNvSpPr>
          <p:nvPr>
            <p:ph idx="18"/>
          </p:nvPr>
        </p:nvSpPr>
        <p:spPr>
          <a:xfrm>
            <a:off x="3225801" y="3871912"/>
            <a:ext cx="2795588" cy="1893887"/>
          </a:xfrm>
        </p:spPr>
        <p:txBody>
          <a:bodyPr/>
          <a:lstStyle>
            <a:lvl1pPr>
              <a:defRPr sz="1400"/>
            </a:lvl1pPr>
            <a:lvl2pPr>
              <a:defRPr sz="1400"/>
            </a:lvl2pPr>
            <a:lvl3pPr>
              <a:defRPr sz="1200"/>
            </a:lvl3pPr>
            <a:lvl4pPr>
              <a:defRPr lang="en-GB" sz="3200" b="0" i="0" kern="1200">
                <a:solidFill>
                  <a:schemeClr val="tx2"/>
                </a:solidFill>
                <a:latin typeface="Johnson Display" pitchFamily="2" charset="77"/>
                <a:ea typeface="+mn-ea"/>
                <a:cs typeface="+mn-cs"/>
              </a:defRPr>
            </a:lvl4pPr>
            <a:lvl5pPr>
              <a:defRPr sz="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2">
            <a:extLst>
              <a:ext uri="{FF2B5EF4-FFF2-40B4-BE49-F238E27FC236}">
                <a16:creationId xmlns:a16="http://schemas.microsoft.com/office/drawing/2014/main" id="{35D14BC0-5573-6189-1430-BDA9443B2652}"/>
              </a:ext>
            </a:extLst>
          </p:cNvPr>
          <p:cNvSpPr>
            <a:spLocks noGrp="1"/>
          </p:cNvSpPr>
          <p:nvPr>
            <p:ph idx="19"/>
          </p:nvPr>
        </p:nvSpPr>
        <p:spPr>
          <a:xfrm>
            <a:off x="9104313" y="3871912"/>
            <a:ext cx="2795587" cy="1893888"/>
          </a:xfrm>
        </p:spPr>
        <p:txBody>
          <a:bodyPr/>
          <a:lstStyle>
            <a:lvl1pPr>
              <a:defRPr sz="1400"/>
            </a:lvl1pPr>
            <a:lvl2pPr>
              <a:defRPr sz="1400"/>
            </a:lvl2pPr>
            <a:lvl3pPr>
              <a:defRPr sz="1200"/>
            </a:lvl3pPr>
            <a:lvl4pPr>
              <a:defRPr lang="en-GB" sz="3200" b="0" i="0" kern="1200">
                <a:solidFill>
                  <a:schemeClr val="tx2"/>
                </a:solidFill>
                <a:latin typeface="Johnson Display" pitchFamily="2" charset="77"/>
                <a:ea typeface="+mn-ea"/>
                <a:cs typeface="+mn-cs"/>
              </a:defRPr>
            </a:lvl4pPr>
            <a:lvl5pPr>
              <a:defRPr sz="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7">
            <a:extLst>
              <a:ext uri="{FF2B5EF4-FFF2-40B4-BE49-F238E27FC236}">
                <a16:creationId xmlns:a16="http://schemas.microsoft.com/office/drawing/2014/main" id="{18166EB3-B625-A7A5-5E35-6D81B2C4EAAA}"/>
              </a:ext>
            </a:extLst>
          </p:cNvPr>
          <p:cNvSpPr>
            <a:spLocks noGrp="1"/>
          </p:cNvSpPr>
          <p:nvPr>
            <p:ph type="body" sz="quarter" idx="20"/>
          </p:nvPr>
        </p:nvSpPr>
        <p:spPr>
          <a:xfrm>
            <a:off x="8124205" y="295200"/>
            <a:ext cx="3778870" cy="876375"/>
          </a:xfrm>
        </p:spPr>
        <p:txBody>
          <a:bodyPr/>
          <a:lstStyle>
            <a:lvl1pPr>
              <a:defRPr sz="1400"/>
            </a:lvl1pPr>
            <a:lvl2pPr>
              <a:defRPr sz="1400"/>
            </a:lvl2pPr>
            <a:lvl3pPr>
              <a:defRPr sz="1200"/>
            </a:lvl3pPr>
          </a:lstStyle>
          <a:p>
            <a:pPr lvl="0"/>
            <a:r>
              <a:rPr lang="en-US"/>
              <a:t>Click to edit Master text styles</a:t>
            </a:r>
          </a:p>
          <a:p>
            <a:pPr lvl="1"/>
            <a:r>
              <a:rPr lang="en-US"/>
              <a:t>Second level</a:t>
            </a:r>
          </a:p>
          <a:p>
            <a:pPr lvl="2"/>
            <a:r>
              <a:rPr lang="en-US"/>
              <a:t>Third level</a:t>
            </a:r>
          </a:p>
        </p:txBody>
      </p:sp>
      <p:sp>
        <p:nvSpPr>
          <p:cNvPr id="15" name="Title 14">
            <a:extLst>
              <a:ext uri="{FF2B5EF4-FFF2-40B4-BE49-F238E27FC236}">
                <a16:creationId xmlns:a16="http://schemas.microsoft.com/office/drawing/2014/main" id="{EC560DE3-3204-EFCC-1AF1-2D91CA826E4F}"/>
              </a:ext>
            </a:extLst>
          </p:cNvPr>
          <p:cNvSpPr>
            <a:spLocks noGrp="1"/>
          </p:cNvSpPr>
          <p:nvPr>
            <p:ph type="title"/>
          </p:nvPr>
        </p:nvSpPr>
        <p:spPr>
          <a:xfrm>
            <a:off x="288303" y="262267"/>
            <a:ext cx="6713538" cy="457818"/>
          </a:xfrm>
        </p:spPr>
        <p:txBody>
          <a:bodyPr/>
          <a:lstStyle/>
          <a:p>
            <a:r>
              <a:rPr lang="en-US"/>
              <a:t>Click to edit Master title style</a:t>
            </a:r>
            <a:endParaRPr lang="en-GB"/>
          </a:p>
        </p:txBody>
      </p:sp>
      <p:sp>
        <p:nvSpPr>
          <p:cNvPr id="2" name="Subtitle 2">
            <a:extLst>
              <a:ext uri="{FF2B5EF4-FFF2-40B4-BE49-F238E27FC236}">
                <a16:creationId xmlns:a16="http://schemas.microsoft.com/office/drawing/2014/main" id="{09115CA6-F35D-BB63-6BE4-D7293F65797E}"/>
              </a:ext>
            </a:extLst>
          </p:cNvPr>
          <p:cNvSpPr>
            <a:spLocks noGrp="1"/>
          </p:cNvSpPr>
          <p:nvPr>
            <p:ph type="subTitle" idx="21" hasCustomPrompt="1"/>
          </p:nvPr>
        </p:nvSpPr>
        <p:spPr>
          <a:xfrm>
            <a:off x="288302" y="713620"/>
            <a:ext cx="6713538"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32705202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nd Chart">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r>
              <a:rPr lang="en-US"/>
              <a:t>Job Aid and Guidance Document still under review.</a:t>
            </a:r>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306513"/>
            <a:ext cx="5732003" cy="49641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hart Placeholder 3">
            <a:extLst>
              <a:ext uri="{FF2B5EF4-FFF2-40B4-BE49-F238E27FC236}">
                <a16:creationId xmlns:a16="http://schemas.microsoft.com/office/drawing/2014/main" id="{538B81BC-7790-A8A7-F32D-C3F126E7C5D3}"/>
              </a:ext>
            </a:extLst>
          </p:cNvPr>
          <p:cNvSpPr>
            <a:spLocks noGrp="1"/>
          </p:cNvSpPr>
          <p:nvPr>
            <p:ph type="chart" sz="quarter" idx="15"/>
          </p:nvPr>
        </p:nvSpPr>
        <p:spPr>
          <a:xfrm>
            <a:off x="6165850" y="1306513"/>
            <a:ext cx="5737225" cy="4964112"/>
          </a:xfrm>
          <a:solidFill>
            <a:schemeClr val="bg1"/>
          </a:solidFill>
        </p:spPr>
        <p:txBody>
          <a:bodyPr/>
          <a:lstStyle/>
          <a:p>
            <a:r>
              <a:rPr lang="en-US"/>
              <a:t>Click icon to add chart</a:t>
            </a:r>
          </a:p>
        </p:txBody>
      </p:sp>
      <p:sp>
        <p:nvSpPr>
          <p:cNvPr id="11" name="Text Placeholder 3">
            <a:extLst>
              <a:ext uri="{FF2B5EF4-FFF2-40B4-BE49-F238E27FC236}">
                <a16:creationId xmlns:a16="http://schemas.microsoft.com/office/drawing/2014/main" id="{58257768-4CDB-6207-FCBD-946306C93DAD}"/>
              </a:ext>
            </a:extLst>
          </p:cNvPr>
          <p:cNvSpPr>
            <a:spLocks noGrp="1"/>
          </p:cNvSpPr>
          <p:nvPr>
            <p:ph type="body" sz="quarter" idx="14"/>
          </p:nvPr>
        </p:nvSpPr>
        <p:spPr>
          <a:xfrm>
            <a:off x="10083801" y="330199"/>
            <a:ext cx="1816100" cy="841376"/>
          </a:xfrm>
        </p:spPr>
        <p:txBody>
          <a:bodyPr/>
          <a:lstStyle>
            <a:lvl1pPr>
              <a:spcBef>
                <a:spcPts val="0"/>
              </a:spcBef>
              <a:spcAft>
                <a:spcPts val="300"/>
              </a:spcAft>
              <a:defRPr sz="800" b="0" i="0">
                <a:latin typeface="+mn-lt"/>
              </a:defRPr>
            </a:lvl1pPr>
            <a:lvl2pPr marL="93663" indent="-93663">
              <a:spcBef>
                <a:spcPts val="0"/>
              </a:spcBef>
              <a:spcAft>
                <a:spcPts val="300"/>
              </a:spcAft>
              <a:tabLst/>
              <a:defRPr sz="800" b="0" i="0">
                <a:latin typeface="+mn-lt"/>
              </a:defRPr>
            </a:lvl2pPr>
            <a:lvl3pPr marL="179388" indent="-85725">
              <a:spcBef>
                <a:spcPts val="0"/>
              </a:spcBef>
              <a:spcAft>
                <a:spcPts val="300"/>
              </a:spcAft>
              <a:tabLst/>
              <a:defRPr sz="800" b="0" i="0">
                <a:latin typeface="+mn-lt"/>
              </a:defRPr>
            </a:lvl3pPr>
            <a:lvl4pPr>
              <a:defRPr sz="1000"/>
            </a:lvl4pPr>
            <a:lvl5pPr>
              <a:defRPr sz="1000"/>
            </a:lvl5pPr>
          </a:lstStyle>
          <a:p>
            <a:pPr lvl="0"/>
            <a:r>
              <a:rPr lang="en-US"/>
              <a:t>Click to edit Master text styles</a:t>
            </a:r>
          </a:p>
          <a:p>
            <a:pPr lvl="1"/>
            <a:r>
              <a:rPr lang="en-US"/>
              <a:t>Second level</a:t>
            </a:r>
          </a:p>
          <a:p>
            <a:pPr lvl="2"/>
            <a:r>
              <a:rPr lang="en-US"/>
              <a:t>Third level</a:t>
            </a:r>
          </a:p>
        </p:txBody>
      </p:sp>
      <p:sp>
        <p:nvSpPr>
          <p:cNvPr id="9" name="Title 8">
            <a:extLst>
              <a:ext uri="{FF2B5EF4-FFF2-40B4-BE49-F238E27FC236}">
                <a16:creationId xmlns:a16="http://schemas.microsoft.com/office/drawing/2014/main" id="{6E77B21E-A040-7CC6-4F9B-B89C94289E89}"/>
              </a:ext>
            </a:extLst>
          </p:cNvPr>
          <p:cNvSpPr>
            <a:spLocks noGrp="1"/>
          </p:cNvSpPr>
          <p:nvPr>
            <p:ph type="title"/>
          </p:nvPr>
        </p:nvSpPr>
        <p:spPr>
          <a:xfrm>
            <a:off x="288303" y="262267"/>
            <a:ext cx="6713538" cy="457818"/>
          </a:xfrm>
        </p:spPr>
        <p:txBody>
          <a:bodyPr/>
          <a:lstStyle/>
          <a:p>
            <a:r>
              <a:rPr lang="en-US"/>
              <a:t>Click to edit Master title style</a:t>
            </a:r>
            <a:endParaRPr lang="en-GB"/>
          </a:p>
        </p:txBody>
      </p:sp>
      <p:sp>
        <p:nvSpPr>
          <p:cNvPr id="3" name="Subtitle 2">
            <a:extLst>
              <a:ext uri="{FF2B5EF4-FFF2-40B4-BE49-F238E27FC236}">
                <a16:creationId xmlns:a16="http://schemas.microsoft.com/office/drawing/2014/main" id="{F725C5CD-1985-D608-1D27-9FBC395FE641}"/>
              </a:ext>
            </a:extLst>
          </p:cNvPr>
          <p:cNvSpPr>
            <a:spLocks noGrp="1"/>
          </p:cNvSpPr>
          <p:nvPr>
            <p:ph type="subTitle" idx="16" hasCustomPrompt="1"/>
          </p:nvPr>
        </p:nvSpPr>
        <p:spPr>
          <a:xfrm>
            <a:off x="288302" y="713620"/>
            <a:ext cx="6713538"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5940825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hart">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r>
              <a:rPr lang="en-US"/>
              <a:t>Job Aid and Guidance Document still under review.</a:t>
            </a:r>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4" name="Text Placeholder 7">
            <a:extLst>
              <a:ext uri="{FF2B5EF4-FFF2-40B4-BE49-F238E27FC236}">
                <a16:creationId xmlns:a16="http://schemas.microsoft.com/office/drawing/2014/main" id="{66A26018-CD47-11D0-838D-A1A2D71C4DE9}"/>
              </a:ext>
            </a:extLst>
          </p:cNvPr>
          <p:cNvSpPr>
            <a:spLocks noGrp="1"/>
          </p:cNvSpPr>
          <p:nvPr>
            <p:ph type="body" sz="quarter" idx="15"/>
          </p:nvPr>
        </p:nvSpPr>
        <p:spPr>
          <a:xfrm>
            <a:off x="8124205" y="293525"/>
            <a:ext cx="3778870" cy="878050"/>
          </a:xfrm>
        </p:spPr>
        <p:txBody>
          <a:bodyPr/>
          <a:lstStyle>
            <a:lvl1pPr>
              <a:defRPr sz="1400"/>
            </a:lvl1pPr>
            <a:lvl2pPr>
              <a:defRPr sz="1400"/>
            </a:lvl2pPr>
            <a:lvl3pPr>
              <a:defRPr sz="1200"/>
            </a:lvl3pPr>
          </a:lstStyle>
          <a:p>
            <a:pPr lvl="0"/>
            <a:r>
              <a:rPr lang="en-US"/>
              <a:t>Click to edit Master text styles</a:t>
            </a:r>
          </a:p>
          <a:p>
            <a:pPr lvl="1"/>
            <a:r>
              <a:rPr lang="en-US"/>
              <a:t>Second level</a:t>
            </a:r>
          </a:p>
          <a:p>
            <a:pPr lvl="2"/>
            <a:r>
              <a:rPr lang="en-US"/>
              <a:t>Third level</a:t>
            </a:r>
          </a:p>
        </p:txBody>
      </p:sp>
      <p:sp>
        <p:nvSpPr>
          <p:cNvPr id="11" name="Chart Placeholder 10">
            <a:extLst>
              <a:ext uri="{FF2B5EF4-FFF2-40B4-BE49-F238E27FC236}">
                <a16:creationId xmlns:a16="http://schemas.microsoft.com/office/drawing/2014/main" id="{698C230B-5408-E1A5-CFA9-2F383131120D}"/>
              </a:ext>
            </a:extLst>
          </p:cNvPr>
          <p:cNvSpPr>
            <a:spLocks noGrp="1"/>
          </p:cNvSpPr>
          <p:nvPr>
            <p:ph type="chart" sz="quarter" idx="16"/>
          </p:nvPr>
        </p:nvSpPr>
        <p:spPr>
          <a:xfrm>
            <a:off x="292100" y="1306512"/>
            <a:ext cx="3770313" cy="3944937"/>
          </a:xfrm>
          <a:solidFill>
            <a:schemeClr val="bg1"/>
          </a:solidFill>
        </p:spPr>
        <p:txBody>
          <a:bodyPr/>
          <a:lstStyle/>
          <a:p>
            <a:r>
              <a:rPr lang="en-US"/>
              <a:t>Click icon to add chart</a:t>
            </a:r>
          </a:p>
        </p:txBody>
      </p:sp>
      <p:sp>
        <p:nvSpPr>
          <p:cNvPr id="12" name="Text Placeholder 7">
            <a:extLst>
              <a:ext uri="{FF2B5EF4-FFF2-40B4-BE49-F238E27FC236}">
                <a16:creationId xmlns:a16="http://schemas.microsoft.com/office/drawing/2014/main" id="{6BA18FE4-4638-2816-D5EB-4ABC0612973F}"/>
              </a:ext>
            </a:extLst>
          </p:cNvPr>
          <p:cNvSpPr>
            <a:spLocks noGrp="1"/>
          </p:cNvSpPr>
          <p:nvPr>
            <p:ph type="body" sz="quarter" idx="17"/>
          </p:nvPr>
        </p:nvSpPr>
        <p:spPr>
          <a:xfrm>
            <a:off x="291480" y="5394325"/>
            <a:ext cx="3770934" cy="876300"/>
          </a:xfrm>
        </p:spPr>
        <p:txBody>
          <a:bodyPr/>
          <a:lstStyle>
            <a:lvl1pPr>
              <a:defRPr sz="1200"/>
            </a:lvl1pPr>
            <a:lvl2pPr>
              <a:defRPr sz="1200"/>
            </a:lvl2pPr>
            <a:lvl3pPr>
              <a:defRPr sz="1100"/>
            </a:lvl3pPr>
          </a:lstStyle>
          <a:p>
            <a:pPr lvl="0"/>
            <a:r>
              <a:rPr lang="en-US"/>
              <a:t>Click to edit Master text styles</a:t>
            </a:r>
          </a:p>
          <a:p>
            <a:pPr lvl="1"/>
            <a:r>
              <a:rPr lang="en-US"/>
              <a:t>Second level</a:t>
            </a:r>
          </a:p>
          <a:p>
            <a:pPr lvl="2"/>
            <a:r>
              <a:rPr lang="en-US"/>
              <a:t>Third level</a:t>
            </a:r>
          </a:p>
        </p:txBody>
      </p:sp>
      <p:sp>
        <p:nvSpPr>
          <p:cNvPr id="13" name="Chart Placeholder 10">
            <a:extLst>
              <a:ext uri="{FF2B5EF4-FFF2-40B4-BE49-F238E27FC236}">
                <a16:creationId xmlns:a16="http://schemas.microsoft.com/office/drawing/2014/main" id="{446A3E25-507C-4190-4950-DA0C712EB336}"/>
              </a:ext>
            </a:extLst>
          </p:cNvPr>
          <p:cNvSpPr>
            <a:spLocks noGrp="1"/>
          </p:cNvSpPr>
          <p:nvPr>
            <p:ph type="chart" sz="quarter" idx="18"/>
          </p:nvPr>
        </p:nvSpPr>
        <p:spPr>
          <a:xfrm>
            <a:off x="4206875" y="1306513"/>
            <a:ext cx="3775076" cy="3944936"/>
          </a:xfrm>
          <a:solidFill>
            <a:schemeClr val="bg1"/>
          </a:solidFill>
        </p:spPr>
        <p:txBody>
          <a:bodyPr/>
          <a:lstStyle/>
          <a:p>
            <a:r>
              <a:rPr lang="en-US"/>
              <a:t>Click icon to add chart</a:t>
            </a:r>
          </a:p>
        </p:txBody>
      </p:sp>
      <p:sp>
        <p:nvSpPr>
          <p:cNvPr id="14" name="Text Placeholder 7">
            <a:extLst>
              <a:ext uri="{FF2B5EF4-FFF2-40B4-BE49-F238E27FC236}">
                <a16:creationId xmlns:a16="http://schemas.microsoft.com/office/drawing/2014/main" id="{DDD2F21A-FE62-6E81-6F5B-9A76691ED2EE}"/>
              </a:ext>
            </a:extLst>
          </p:cNvPr>
          <p:cNvSpPr>
            <a:spLocks noGrp="1"/>
          </p:cNvSpPr>
          <p:nvPr>
            <p:ph type="body" sz="quarter" idx="19"/>
          </p:nvPr>
        </p:nvSpPr>
        <p:spPr>
          <a:xfrm>
            <a:off x="4206874" y="5394325"/>
            <a:ext cx="3775076" cy="876300"/>
          </a:xfrm>
        </p:spPr>
        <p:txBody>
          <a:bodyPr/>
          <a:lstStyle>
            <a:lvl1pPr>
              <a:defRPr sz="1200"/>
            </a:lvl1pPr>
            <a:lvl2pPr>
              <a:defRPr sz="1200"/>
            </a:lvl2pPr>
            <a:lvl3pPr>
              <a:defRPr sz="1100"/>
            </a:lvl3pPr>
          </a:lstStyle>
          <a:p>
            <a:pPr lvl="0"/>
            <a:r>
              <a:rPr lang="en-US"/>
              <a:t>Click to edit Master text styles</a:t>
            </a:r>
          </a:p>
          <a:p>
            <a:pPr lvl="1"/>
            <a:r>
              <a:rPr lang="en-US"/>
              <a:t>Second level</a:t>
            </a:r>
          </a:p>
          <a:p>
            <a:pPr lvl="2"/>
            <a:r>
              <a:rPr lang="en-US"/>
              <a:t>Third level</a:t>
            </a:r>
          </a:p>
        </p:txBody>
      </p:sp>
      <p:sp>
        <p:nvSpPr>
          <p:cNvPr id="15" name="Chart Placeholder 10">
            <a:extLst>
              <a:ext uri="{FF2B5EF4-FFF2-40B4-BE49-F238E27FC236}">
                <a16:creationId xmlns:a16="http://schemas.microsoft.com/office/drawing/2014/main" id="{94EF43E1-5534-96EF-52FD-3CD0B7B21E71}"/>
              </a:ext>
            </a:extLst>
          </p:cNvPr>
          <p:cNvSpPr>
            <a:spLocks noGrp="1"/>
          </p:cNvSpPr>
          <p:nvPr>
            <p:ph type="chart" sz="quarter" idx="20"/>
          </p:nvPr>
        </p:nvSpPr>
        <p:spPr>
          <a:xfrm>
            <a:off x="8124825" y="1306512"/>
            <a:ext cx="3770313" cy="3944937"/>
          </a:xfrm>
          <a:solidFill>
            <a:schemeClr val="bg1"/>
          </a:solidFill>
        </p:spPr>
        <p:txBody>
          <a:bodyPr/>
          <a:lstStyle/>
          <a:p>
            <a:r>
              <a:rPr lang="en-US"/>
              <a:t>Click icon to add chart</a:t>
            </a:r>
          </a:p>
        </p:txBody>
      </p:sp>
      <p:sp>
        <p:nvSpPr>
          <p:cNvPr id="16" name="Text Placeholder 7">
            <a:extLst>
              <a:ext uri="{FF2B5EF4-FFF2-40B4-BE49-F238E27FC236}">
                <a16:creationId xmlns:a16="http://schemas.microsoft.com/office/drawing/2014/main" id="{074660EF-5B4C-59FD-5DE9-C6AEEC3EA783}"/>
              </a:ext>
            </a:extLst>
          </p:cNvPr>
          <p:cNvSpPr>
            <a:spLocks noGrp="1"/>
          </p:cNvSpPr>
          <p:nvPr>
            <p:ph type="body" sz="quarter" idx="21"/>
          </p:nvPr>
        </p:nvSpPr>
        <p:spPr>
          <a:xfrm>
            <a:off x="8124205" y="5394325"/>
            <a:ext cx="3770934" cy="876300"/>
          </a:xfrm>
        </p:spPr>
        <p:txBody>
          <a:bodyPr/>
          <a:lstStyle>
            <a:lvl1pPr>
              <a:defRPr sz="1200"/>
            </a:lvl1pPr>
            <a:lvl2pPr>
              <a:defRPr sz="1200"/>
            </a:lvl2pPr>
            <a:lvl3pPr>
              <a:defRPr sz="1100"/>
            </a:lvl3pPr>
          </a:lstStyle>
          <a:p>
            <a:pPr lvl="0"/>
            <a:r>
              <a:rPr lang="en-US"/>
              <a:t>Click to edit Master text styles</a:t>
            </a:r>
          </a:p>
          <a:p>
            <a:pPr lvl="1"/>
            <a:r>
              <a:rPr lang="en-US"/>
              <a:t>Second level</a:t>
            </a:r>
          </a:p>
          <a:p>
            <a:pPr lvl="2"/>
            <a:r>
              <a:rPr lang="en-US"/>
              <a:t>Third level</a:t>
            </a:r>
          </a:p>
        </p:txBody>
      </p:sp>
      <p:sp>
        <p:nvSpPr>
          <p:cNvPr id="9" name="Title 8">
            <a:extLst>
              <a:ext uri="{FF2B5EF4-FFF2-40B4-BE49-F238E27FC236}">
                <a16:creationId xmlns:a16="http://schemas.microsoft.com/office/drawing/2014/main" id="{5FD82D33-FC73-4137-A0A9-8EB43DA1A810}"/>
              </a:ext>
            </a:extLst>
          </p:cNvPr>
          <p:cNvSpPr>
            <a:spLocks noGrp="1"/>
          </p:cNvSpPr>
          <p:nvPr>
            <p:ph type="title"/>
          </p:nvPr>
        </p:nvSpPr>
        <p:spPr>
          <a:xfrm>
            <a:off x="288303" y="262267"/>
            <a:ext cx="6713538" cy="457818"/>
          </a:xfrm>
        </p:spPr>
        <p:txBody>
          <a:bodyPr/>
          <a:lstStyle/>
          <a:p>
            <a:r>
              <a:rPr lang="en-US"/>
              <a:t>Click to edit Master title style</a:t>
            </a:r>
            <a:endParaRPr lang="en-GB"/>
          </a:p>
        </p:txBody>
      </p:sp>
      <p:sp>
        <p:nvSpPr>
          <p:cNvPr id="3" name="Subtitle 2">
            <a:extLst>
              <a:ext uri="{FF2B5EF4-FFF2-40B4-BE49-F238E27FC236}">
                <a16:creationId xmlns:a16="http://schemas.microsoft.com/office/drawing/2014/main" id="{EA959997-A6D7-96D1-8672-5FCDE45DB7B3}"/>
              </a:ext>
            </a:extLst>
          </p:cNvPr>
          <p:cNvSpPr>
            <a:spLocks noGrp="1"/>
          </p:cNvSpPr>
          <p:nvPr>
            <p:ph type="subTitle" idx="22" hasCustomPrompt="1"/>
          </p:nvPr>
        </p:nvSpPr>
        <p:spPr>
          <a:xfrm>
            <a:off x="288302" y="713620"/>
            <a:ext cx="6713538"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31806355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7" name="Footer Placeholder 3">
            <a:extLst>
              <a:ext uri="{FF2B5EF4-FFF2-40B4-BE49-F238E27FC236}">
                <a16:creationId xmlns:a16="http://schemas.microsoft.com/office/drawing/2014/main" id="{B425E56B-E4E3-AAD1-76B4-3D67B284EB4B}"/>
              </a:ext>
            </a:extLst>
          </p:cNvPr>
          <p:cNvSpPr>
            <a:spLocks noGrp="1"/>
          </p:cNvSpPr>
          <p:nvPr>
            <p:ph type="ftr" sz="quarter" idx="11"/>
          </p:nvPr>
        </p:nvSpPr>
        <p:spPr>
          <a:xfrm>
            <a:off x="1266824" y="6413500"/>
            <a:ext cx="4754563" cy="153463"/>
          </a:xfrm>
        </p:spPr>
        <p:txBody>
          <a:bodyPr/>
          <a:lstStyle/>
          <a:p>
            <a:r>
              <a:rPr lang="en-US"/>
              <a:t>Job Aid and Guidance Document still under review.</a:t>
            </a:r>
            <a:endParaRPr lang="en-GB"/>
          </a:p>
        </p:txBody>
      </p:sp>
      <p:sp>
        <p:nvSpPr>
          <p:cNvPr id="9" name="Slide Number Placeholder 4">
            <a:extLst>
              <a:ext uri="{FF2B5EF4-FFF2-40B4-BE49-F238E27FC236}">
                <a16:creationId xmlns:a16="http://schemas.microsoft.com/office/drawing/2014/main" id="{703E3838-150C-B34D-4F16-CEA95E3C0B04}"/>
              </a:ext>
            </a:extLst>
          </p:cNvPr>
          <p:cNvSpPr>
            <a:spLocks noGrp="1"/>
          </p:cNvSpPr>
          <p:nvPr>
            <p:ph type="sldNum" sz="quarter" idx="12"/>
          </p:nvPr>
        </p:nvSpPr>
        <p:spPr>
          <a:xfrm>
            <a:off x="11064874" y="6413500"/>
            <a:ext cx="837741" cy="153463"/>
          </a:xfrm>
        </p:spPr>
        <p:txBody>
          <a:bodyPr/>
          <a:lstStyle/>
          <a:p>
            <a:fld id="{AEC8D767-5246-2244-A4A3-B8AFB218393C}" type="slidenum">
              <a:rPr lang="en-GB" smtClean="0"/>
              <a:t>‹#›</a:t>
            </a:fld>
            <a:endParaRPr lang="en-GB"/>
          </a:p>
        </p:txBody>
      </p:sp>
      <p:sp>
        <p:nvSpPr>
          <p:cNvPr id="10" name="Table Placeholder 5">
            <a:extLst>
              <a:ext uri="{FF2B5EF4-FFF2-40B4-BE49-F238E27FC236}">
                <a16:creationId xmlns:a16="http://schemas.microsoft.com/office/drawing/2014/main" id="{AA00D851-11FE-02AE-0FE0-9A7CAC67EF7D}"/>
              </a:ext>
            </a:extLst>
          </p:cNvPr>
          <p:cNvSpPr>
            <a:spLocks noGrp="1"/>
          </p:cNvSpPr>
          <p:nvPr>
            <p:ph type="tbl" sz="quarter" idx="13"/>
          </p:nvPr>
        </p:nvSpPr>
        <p:spPr>
          <a:xfrm>
            <a:off x="292100" y="2847975"/>
            <a:ext cx="11610975" cy="3143518"/>
          </a:xfrm>
        </p:spPr>
        <p:txBody>
          <a:bodyPr/>
          <a:lstStyle/>
          <a:p>
            <a:r>
              <a:rPr lang="en-US"/>
              <a:t>Click icon to add table</a:t>
            </a:r>
            <a:endParaRPr lang="en-GB"/>
          </a:p>
        </p:txBody>
      </p:sp>
      <p:sp>
        <p:nvSpPr>
          <p:cNvPr id="3" name="Title 2">
            <a:extLst>
              <a:ext uri="{FF2B5EF4-FFF2-40B4-BE49-F238E27FC236}">
                <a16:creationId xmlns:a16="http://schemas.microsoft.com/office/drawing/2014/main" id="{2CDD0AA4-DA06-999E-8621-24713C5D3AF7}"/>
              </a:ext>
            </a:extLst>
          </p:cNvPr>
          <p:cNvSpPr>
            <a:spLocks noGrp="1"/>
          </p:cNvSpPr>
          <p:nvPr>
            <p:ph type="title"/>
          </p:nvPr>
        </p:nvSpPr>
        <p:spPr>
          <a:xfrm>
            <a:off x="288303" y="262267"/>
            <a:ext cx="6713538" cy="457818"/>
          </a:xfrm>
        </p:spPr>
        <p:txBody>
          <a:bodyPr/>
          <a:lstStyle/>
          <a:p>
            <a:r>
              <a:rPr lang="en-US"/>
              <a:t>Click to edit Master title style</a:t>
            </a:r>
            <a:endParaRPr lang="en-GB"/>
          </a:p>
        </p:txBody>
      </p:sp>
      <p:sp>
        <p:nvSpPr>
          <p:cNvPr id="4" name="Text Placeholder 7">
            <a:extLst>
              <a:ext uri="{FF2B5EF4-FFF2-40B4-BE49-F238E27FC236}">
                <a16:creationId xmlns:a16="http://schemas.microsoft.com/office/drawing/2014/main" id="{AF1CADF7-2181-199A-E8E5-8BFDAFCB655B}"/>
              </a:ext>
            </a:extLst>
          </p:cNvPr>
          <p:cNvSpPr>
            <a:spLocks noGrp="1"/>
          </p:cNvSpPr>
          <p:nvPr>
            <p:ph type="body" sz="quarter" idx="15"/>
          </p:nvPr>
        </p:nvSpPr>
        <p:spPr>
          <a:xfrm>
            <a:off x="8124205" y="293525"/>
            <a:ext cx="3778870" cy="878050"/>
          </a:xfrm>
        </p:spPr>
        <p:txBody>
          <a:bodyPr/>
          <a:lstStyle>
            <a:lvl1pPr>
              <a:defRPr sz="1400"/>
            </a:lvl1pPr>
            <a:lvl2pPr>
              <a:defRPr sz="1400"/>
            </a:lvl2pPr>
            <a:lvl3pPr>
              <a:defRPr sz="1200"/>
            </a:lvl3pPr>
          </a:lstStyle>
          <a:p>
            <a:pPr lvl="0"/>
            <a:r>
              <a:rPr lang="en-US"/>
              <a:t>Click to edit Master text styles</a:t>
            </a:r>
          </a:p>
          <a:p>
            <a:pPr lvl="1"/>
            <a:r>
              <a:rPr lang="en-US"/>
              <a:t>Second level</a:t>
            </a:r>
          </a:p>
          <a:p>
            <a:pPr lvl="2"/>
            <a:r>
              <a:rPr lang="en-US"/>
              <a:t>Third level</a:t>
            </a:r>
          </a:p>
        </p:txBody>
      </p:sp>
      <p:sp>
        <p:nvSpPr>
          <p:cNvPr id="5" name="Subtitle 2">
            <a:extLst>
              <a:ext uri="{FF2B5EF4-FFF2-40B4-BE49-F238E27FC236}">
                <a16:creationId xmlns:a16="http://schemas.microsoft.com/office/drawing/2014/main" id="{4BE7CDC5-71B1-1F0B-9FBF-16B0C3648775}"/>
              </a:ext>
            </a:extLst>
          </p:cNvPr>
          <p:cNvSpPr>
            <a:spLocks noGrp="1"/>
          </p:cNvSpPr>
          <p:nvPr>
            <p:ph type="subTitle" idx="16" hasCustomPrompt="1"/>
          </p:nvPr>
        </p:nvSpPr>
        <p:spPr>
          <a:xfrm>
            <a:off x="288302" y="713620"/>
            <a:ext cx="6713538"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7530067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r>
              <a:rPr lang="en-US"/>
              <a:t>Job Aid and Guidance Document still under review.</a:t>
            </a:r>
            <a:endParaRPr lang="en-GB"/>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Text Placeholder 7">
            <a:extLst>
              <a:ext uri="{FF2B5EF4-FFF2-40B4-BE49-F238E27FC236}">
                <a16:creationId xmlns:a16="http://schemas.microsoft.com/office/drawing/2014/main" id="{17F42810-DCAF-7A30-3A4F-E23EA682FA39}"/>
              </a:ext>
            </a:extLst>
          </p:cNvPr>
          <p:cNvSpPr>
            <a:spLocks noGrp="1"/>
          </p:cNvSpPr>
          <p:nvPr>
            <p:ph type="body" sz="quarter" idx="14"/>
          </p:nvPr>
        </p:nvSpPr>
        <p:spPr>
          <a:xfrm>
            <a:off x="8124825" y="293525"/>
            <a:ext cx="3778250" cy="878050"/>
          </a:xfrm>
        </p:spPr>
        <p:txBody>
          <a:bodyPr/>
          <a:lstStyle>
            <a:lvl1pPr>
              <a:defRPr sz="1400"/>
            </a:lvl1pPr>
            <a:lvl2pPr>
              <a:defRPr sz="1400"/>
            </a:lvl2pPr>
            <a:lvl3pPr>
              <a:defRPr sz="1200"/>
            </a:lvl3pPr>
          </a:lstStyle>
          <a:p>
            <a:pPr lvl="0"/>
            <a:r>
              <a:rPr lang="en-US"/>
              <a:t>Click to edit Master text styles</a:t>
            </a:r>
          </a:p>
          <a:p>
            <a:pPr lvl="1"/>
            <a:r>
              <a:rPr lang="en-US"/>
              <a:t>Second level</a:t>
            </a:r>
          </a:p>
          <a:p>
            <a:pPr lvl="2"/>
            <a:r>
              <a:rPr lang="en-US"/>
              <a:t>Third level</a:t>
            </a:r>
          </a:p>
        </p:txBody>
      </p:sp>
      <p:sp>
        <p:nvSpPr>
          <p:cNvPr id="7" name="Title 6">
            <a:extLst>
              <a:ext uri="{FF2B5EF4-FFF2-40B4-BE49-F238E27FC236}">
                <a16:creationId xmlns:a16="http://schemas.microsoft.com/office/drawing/2014/main" id="{5373482F-4FA8-181D-CA6D-04D8D98AD13B}"/>
              </a:ext>
            </a:extLst>
          </p:cNvPr>
          <p:cNvSpPr>
            <a:spLocks noGrp="1"/>
          </p:cNvSpPr>
          <p:nvPr>
            <p:ph type="title"/>
          </p:nvPr>
        </p:nvSpPr>
        <p:spPr>
          <a:xfrm>
            <a:off x="288303" y="262267"/>
            <a:ext cx="6713538" cy="457818"/>
          </a:xfrm>
        </p:spPr>
        <p:txBody>
          <a:bodyPr/>
          <a:lstStyle/>
          <a:p>
            <a:r>
              <a:rPr lang="en-US"/>
              <a:t>Click to edit Master title style</a:t>
            </a:r>
            <a:endParaRPr lang="en-GB"/>
          </a:p>
        </p:txBody>
      </p:sp>
      <p:sp>
        <p:nvSpPr>
          <p:cNvPr id="6" name="Subtitle 2">
            <a:extLst>
              <a:ext uri="{FF2B5EF4-FFF2-40B4-BE49-F238E27FC236}">
                <a16:creationId xmlns:a16="http://schemas.microsoft.com/office/drawing/2014/main" id="{64BCB963-058E-5C5B-947F-AC1D9DD6C9FB}"/>
              </a:ext>
            </a:extLst>
          </p:cNvPr>
          <p:cNvSpPr>
            <a:spLocks noGrp="1"/>
          </p:cNvSpPr>
          <p:nvPr>
            <p:ph type="subTitle" idx="16" hasCustomPrompt="1"/>
          </p:nvPr>
        </p:nvSpPr>
        <p:spPr>
          <a:xfrm>
            <a:off x="288302" y="713620"/>
            <a:ext cx="6713538"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38265876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15D6A6F-0428-2EB9-8170-122B4D25678A}"/>
              </a:ext>
            </a:extLst>
          </p:cNvPr>
          <p:cNvSpPr>
            <a:spLocks noGrp="1"/>
          </p:cNvSpPr>
          <p:nvPr>
            <p:ph type="ftr" sz="quarter" idx="11"/>
          </p:nvPr>
        </p:nvSpPr>
        <p:spPr/>
        <p:txBody>
          <a:bodyPr/>
          <a:lstStyle/>
          <a:p>
            <a:r>
              <a:rPr lang="en-US"/>
              <a:t>Job Aid and Guidance Document still under review.</a:t>
            </a:r>
            <a:endParaRPr lang="en-GB"/>
          </a:p>
        </p:txBody>
      </p:sp>
      <p:sp>
        <p:nvSpPr>
          <p:cNvPr id="4" name="Slide Number Placeholder 3">
            <a:extLst>
              <a:ext uri="{FF2B5EF4-FFF2-40B4-BE49-F238E27FC236}">
                <a16:creationId xmlns:a16="http://schemas.microsoft.com/office/drawing/2014/main" id="{6BF06E5F-8043-3DC0-2D79-119BF990830B}"/>
              </a:ext>
            </a:extLst>
          </p:cNvPr>
          <p:cNvSpPr>
            <a:spLocks noGrp="1"/>
          </p:cNvSpPr>
          <p:nvPr>
            <p:ph type="sldNum" sz="quarter" idx="12"/>
          </p:nvPr>
        </p:nvSpPr>
        <p:spPr/>
        <p:txBody>
          <a:bodyPr/>
          <a:lstStyle/>
          <a:p>
            <a:fld id="{AEC8D767-5246-2244-A4A3-B8AFB218393C}" type="slidenum">
              <a:rPr lang="en-GB" smtClean="0"/>
              <a:t>‹#›</a:t>
            </a:fld>
            <a:endParaRPr lang="en-GB"/>
          </a:p>
        </p:txBody>
      </p:sp>
    </p:spTree>
    <p:extLst>
      <p:ext uri="{BB962C8B-B14F-4D97-AF65-F5344CB8AC3E}">
        <p14:creationId xmlns:p14="http://schemas.microsoft.com/office/powerpoint/2010/main" val="19971160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0" y="0"/>
            <a:ext cx="12192000" cy="6858000"/>
          </a:xfrm>
          <a:solidFill>
            <a:srgbClr val="F6F3F2"/>
          </a:solidFill>
        </p:spPr>
        <p:txBody>
          <a:bodyPr vert="horz" lIns="0" tIns="0" rIns="0" bIns="0" rtlCol="0" anchor="ctr">
            <a:noAutofit/>
          </a:bodyPr>
          <a:lstStyle>
            <a:lvl1pPr algn="ct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 If using a title or subtitle over the image ensure the text is legible.</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0" name="Freeform 29">
            <a:extLst>
              <a:ext uri="{FF2B5EF4-FFF2-40B4-BE49-F238E27FC236}">
                <a16:creationId xmlns:a16="http://schemas.microsoft.com/office/drawing/2014/main" id="{1B94300B-C77D-1F3F-A75F-F3E8D1A2D0B2}"/>
              </a:ext>
            </a:extLst>
          </p:cNvPr>
          <p:cNvSpPr txBox="1">
            <a:spLocks/>
          </p:cNvSpPr>
          <p:nvPr/>
        </p:nvSpPr>
        <p:spPr>
          <a:xfrm>
            <a:off x="114300" y="6096000"/>
            <a:ext cx="1009650" cy="660400"/>
          </a:xfrm>
          <a:custGeom>
            <a:avLst/>
            <a:gdLst>
              <a:gd name="connsiteX0" fmla="*/ 0 w 1009650"/>
              <a:gd name="connsiteY0" fmla="*/ 0 h 660400"/>
              <a:gd name="connsiteX1" fmla="*/ 1009650 w 1009650"/>
              <a:gd name="connsiteY1" fmla="*/ 0 h 660400"/>
              <a:gd name="connsiteX2" fmla="*/ 1009650 w 1009650"/>
              <a:gd name="connsiteY2" fmla="*/ 660400 h 660400"/>
              <a:gd name="connsiteX3" fmla="*/ 0 w 1009650"/>
              <a:gd name="connsiteY3" fmla="*/ 660400 h 660400"/>
              <a:gd name="connsiteX4" fmla="*/ 0 w 1009650"/>
              <a:gd name="connsiteY4" fmla="*/ 0 h 660400"/>
              <a:gd name="connsiteX5" fmla="*/ 334111 w 1009650"/>
              <a:gd name="connsiteY5" fmla="*/ 317500 h 660400"/>
              <a:gd name="connsiteX6" fmla="*/ 290920 w 1009650"/>
              <a:gd name="connsiteY6" fmla="*/ 353764 h 660400"/>
              <a:gd name="connsiteX7" fmla="*/ 307700 w 1009650"/>
              <a:gd name="connsiteY7" fmla="*/ 388779 h 660400"/>
              <a:gd name="connsiteX8" fmla="*/ 307903 w 1009650"/>
              <a:gd name="connsiteY8" fmla="*/ 389200 h 660400"/>
              <a:gd name="connsiteX9" fmla="*/ 277918 w 1009650"/>
              <a:gd name="connsiteY9" fmla="*/ 431331 h 660400"/>
              <a:gd name="connsiteX10" fmla="*/ 320063 w 1009650"/>
              <a:gd name="connsiteY10" fmla="*/ 470950 h 660400"/>
              <a:gd name="connsiteX11" fmla="*/ 367452 w 1009650"/>
              <a:gd name="connsiteY11" fmla="*/ 453972 h 660400"/>
              <a:gd name="connsiteX12" fmla="*/ 380033 w 1009650"/>
              <a:gd name="connsiteY12" fmla="*/ 467595 h 660400"/>
              <a:gd name="connsiteX13" fmla="*/ 412953 w 1009650"/>
              <a:gd name="connsiteY13" fmla="*/ 467595 h 660400"/>
              <a:gd name="connsiteX14" fmla="*/ 412953 w 1009650"/>
              <a:gd name="connsiteY14" fmla="*/ 466549 h 660400"/>
              <a:gd name="connsiteX15" fmla="*/ 386106 w 1009650"/>
              <a:gd name="connsiteY15" fmla="*/ 436995 h 660400"/>
              <a:gd name="connsiteX16" fmla="*/ 386120 w 1009650"/>
              <a:gd name="connsiteY16" fmla="*/ 436995 h 660400"/>
              <a:gd name="connsiteX17" fmla="*/ 403945 w 1009650"/>
              <a:gd name="connsiteY17" fmla="*/ 396113 h 660400"/>
              <a:gd name="connsiteX18" fmla="*/ 376474 w 1009650"/>
              <a:gd name="connsiteY18" fmla="*/ 369492 h 660400"/>
              <a:gd name="connsiteX19" fmla="*/ 351312 w 1009650"/>
              <a:gd name="connsiteY19" fmla="*/ 374518 h 660400"/>
              <a:gd name="connsiteX20" fmla="*/ 350891 w 1009650"/>
              <a:gd name="connsiteY20" fmla="*/ 373675 h 660400"/>
              <a:gd name="connsiteX21" fmla="*/ 373539 w 1009650"/>
              <a:gd name="connsiteY21" fmla="*/ 346009 h 660400"/>
              <a:gd name="connsiteX22" fmla="*/ 334111 w 1009650"/>
              <a:gd name="connsiteY22" fmla="*/ 317500 h 660400"/>
              <a:gd name="connsiteX23" fmla="*/ 494539 w 1009650"/>
              <a:gd name="connsiteY23" fmla="*/ 320869 h 660400"/>
              <a:gd name="connsiteX24" fmla="*/ 494539 w 1009650"/>
              <a:gd name="connsiteY24" fmla="*/ 429253 h 660400"/>
              <a:gd name="connsiteX25" fmla="*/ 471890 w 1009650"/>
              <a:gd name="connsiteY25" fmla="*/ 457341 h 660400"/>
              <a:gd name="connsiteX26" fmla="*/ 449242 w 1009650"/>
              <a:gd name="connsiteY26" fmla="*/ 427148 h 660400"/>
              <a:gd name="connsiteX27" fmla="*/ 449242 w 1009650"/>
              <a:gd name="connsiteY27" fmla="*/ 407019 h 660400"/>
              <a:gd name="connsiteX28" fmla="*/ 423238 w 1009650"/>
              <a:gd name="connsiteY28" fmla="*/ 413511 h 660400"/>
              <a:gd name="connsiteX29" fmla="*/ 423238 w 1009650"/>
              <a:gd name="connsiteY29" fmla="*/ 422530 h 660400"/>
              <a:gd name="connsiteX30" fmla="*/ 471890 w 1009650"/>
              <a:gd name="connsiteY30" fmla="*/ 470950 h 660400"/>
              <a:gd name="connsiteX31" fmla="*/ 471890 w 1009650"/>
              <a:gd name="connsiteY31" fmla="*/ 470963 h 660400"/>
              <a:gd name="connsiteX32" fmla="*/ 520543 w 1009650"/>
              <a:gd name="connsiteY32" fmla="*/ 422543 h 660400"/>
              <a:gd name="connsiteX33" fmla="*/ 520543 w 1009650"/>
              <a:gd name="connsiteY33" fmla="*/ 320869 h 660400"/>
              <a:gd name="connsiteX34" fmla="*/ 494539 w 1009650"/>
              <a:gd name="connsiteY34" fmla="*/ 320869 h 660400"/>
              <a:gd name="connsiteX35" fmla="*/ 231154 w 1009650"/>
              <a:gd name="connsiteY35" fmla="*/ 320869 h 660400"/>
              <a:gd name="connsiteX36" fmla="*/ 231154 w 1009650"/>
              <a:gd name="connsiteY36" fmla="*/ 429253 h 660400"/>
              <a:gd name="connsiteX37" fmla="*/ 208506 w 1009650"/>
              <a:gd name="connsiteY37" fmla="*/ 457341 h 660400"/>
              <a:gd name="connsiteX38" fmla="*/ 185857 w 1009650"/>
              <a:gd name="connsiteY38" fmla="*/ 427148 h 660400"/>
              <a:gd name="connsiteX39" fmla="*/ 185857 w 1009650"/>
              <a:gd name="connsiteY39" fmla="*/ 407019 h 660400"/>
              <a:gd name="connsiteX40" fmla="*/ 159853 w 1009650"/>
              <a:gd name="connsiteY40" fmla="*/ 413511 h 660400"/>
              <a:gd name="connsiteX41" fmla="*/ 159853 w 1009650"/>
              <a:gd name="connsiteY41" fmla="*/ 422530 h 660400"/>
              <a:gd name="connsiteX42" fmla="*/ 208506 w 1009650"/>
              <a:gd name="connsiteY42" fmla="*/ 470950 h 660400"/>
              <a:gd name="connsiteX43" fmla="*/ 257158 w 1009650"/>
              <a:gd name="connsiteY43" fmla="*/ 422530 h 660400"/>
              <a:gd name="connsiteX44" fmla="*/ 257158 w 1009650"/>
              <a:gd name="connsiteY44" fmla="*/ 320869 h 660400"/>
              <a:gd name="connsiteX45" fmla="*/ 231154 w 1009650"/>
              <a:gd name="connsiteY45" fmla="*/ 320869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9650" h="660400">
                <a:moveTo>
                  <a:pt x="0" y="0"/>
                </a:moveTo>
                <a:lnTo>
                  <a:pt x="1009650" y="0"/>
                </a:lnTo>
                <a:lnTo>
                  <a:pt x="1009650" y="660400"/>
                </a:lnTo>
                <a:lnTo>
                  <a:pt x="0" y="660400"/>
                </a:lnTo>
                <a:lnTo>
                  <a:pt x="0" y="0"/>
                </a:lnTo>
                <a:close/>
                <a:moveTo>
                  <a:pt x="334111" y="317500"/>
                </a:moveTo>
                <a:cubicBezTo>
                  <a:pt x="305173" y="317500"/>
                  <a:pt x="290920" y="333636"/>
                  <a:pt x="290920" y="353764"/>
                </a:cubicBezTo>
                <a:cubicBezTo>
                  <a:pt x="290920" y="364670"/>
                  <a:pt x="295540" y="375563"/>
                  <a:pt x="307700" y="388779"/>
                </a:cubicBezTo>
                <a:lnTo>
                  <a:pt x="307903" y="389200"/>
                </a:lnTo>
                <a:cubicBezTo>
                  <a:pt x="287347" y="399047"/>
                  <a:pt x="277918" y="414978"/>
                  <a:pt x="277918" y="431331"/>
                </a:cubicBezTo>
                <a:cubicBezTo>
                  <a:pt x="277918" y="452926"/>
                  <a:pt x="294480" y="470950"/>
                  <a:pt x="320063" y="470950"/>
                </a:cubicBezTo>
                <a:cubicBezTo>
                  <a:pt x="334736" y="470950"/>
                  <a:pt x="351937" y="464865"/>
                  <a:pt x="367452" y="453972"/>
                </a:cubicBezTo>
                <a:lnTo>
                  <a:pt x="380033" y="467595"/>
                </a:lnTo>
                <a:lnTo>
                  <a:pt x="412953" y="467595"/>
                </a:lnTo>
                <a:lnTo>
                  <a:pt x="412953" y="466549"/>
                </a:lnTo>
                <a:lnTo>
                  <a:pt x="386106" y="436995"/>
                </a:lnTo>
                <a:lnTo>
                  <a:pt x="386120" y="436995"/>
                </a:lnTo>
                <a:cubicBezTo>
                  <a:pt x="397437" y="423576"/>
                  <a:pt x="403945" y="408907"/>
                  <a:pt x="403945" y="396113"/>
                </a:cubicBezTo>
                <a:cubicBezTo>
                  <a:pt x="403945" y="380181"/>
                  <a:pt x="393253" y="369492"/>
                  <a:pt x="376474" y="369492"/>
                </a:cubicBezTo>
                <a:cubicBezTo>
                  <a:pt x="367670" y="369492"/>
                  <a:pt x="357806" y="372005"/>
                  <a:pt x="351312" y="374518"/>
                </a:cubicBezTo>
                <a:lnTo>
                  <a:pt x="350891" y="373675"/>
                </a:lnTo>
                <a:cubicBezTo>
                  <a:pt x="366827" y="365078"/>
                  <a:pt x="373539" y="357119"/>
                  <a:pt x="373539" y="346009"/>
                </a:cubicBezTo>
                <a:cubicBezTo>
                  <a:pt x="373539" y="330077"/>
                  <a:pt x="359273" y="317500"/>
                  <a:pt x="334111" y="317500"/>
                </a:cubicBezTo>
                <a:close/>
                <a:moveTo>
                  <a:pt x="494539" y="320869"/>
                </a:moveTo>
                <a:lnTo>
                  <a:pt x="494539" y="429253"/>
                </a:lnTo>
                <a:cubicBezTo>
                  <a:pt x="494539" y="446855"/>
                  <a:pt x="487827" y="457341"/>
                  <a:pt x="471890" y="457341"/>
                </a:cubicBezTo>
                <a:cubicBezTo>
                  <a:pt x="455954" y="457341"/>
                  <a:pt x="449242" y="446230"/>
                  <a:pt x="449242" y="427148"/>
                </a:cubicBezTo>
                <a:lnTo>
                  <a:pt x="449242" y="407019"/>
                </a:lnTo>
                <a:lnTo>
                  <a:pt x="423238" y="413511"/>
                </a:lnTo>
                <a:lnTo>
                  <a:pt x="423238" y="422530"/>
                </a:lnTo>
                <a:cubicBezTo>
                  <a:pt x="423238" y="449993"/>
                  <a:pt x="436865" y="470950"/>
                  <a:pt x="471890" y="470950"/>
                </a:cubicBezTo>
                <a:lnTo>
                  <a:pt x="471890" y="470963"/>
                </a:lnTo>
                <a:cubicBezTo>
                  <a:pt x="506916" y="470963"/>
                  <a:pt x="520543" y="450006"/>
                  <a:pt x="520543" y="422543"/>
                </a:cubicBezTo>
                <a:lnTo>
                  <a:pt x="520543" y="320869"/>
                </a:lnTo>
                <a:lnTo>
                  <a:pt x="494539" y="320869"/>
                </a:lnTo>
                <a:close/>
                <a:moveTo>
                  <a:pt x="231154" y="320869"/>
                </a:moveTo>
                <a:lnTo>
                  <a:pt x="231154" y="429253"/>
                </a:lnTo>
                <a:cubicBezTo>
                  <a:pt x="231154" y="446855"/>
                  <a:pt x="224443" y="457341"/>
                  <a:pt x="208506" y="457341"/>
                </a:cubicBezTo>
                <a:cubicBezTo>
                  <a:pt x="192569" y="457341"/>
                  <a:pt x="185857" y="446230"/>
                  <a:pt x="185857" y="427148"/>
                </a:cubicBezTo>
                <a:lnTo>
                  <a:pt x="185857" y="407019"/>
                </a:lnTo>
                <a:lnTo>
                  <a:pt x="159853" y="413511"/>
                </a:lnTo>
                <a:lnTo>
                  <a:pt x="159853" y="422530"/>
                </a:lnTo>
                <a:cubicBezTo>
                  <a:pt x="159853" y="449993"/>
                  <a:pt x="173480" y="470950"/>
                  <a:pt x="208506" y="470950"/>
                </a:cubicBezTo>
                <a:cubicBezTo>
                  <a:pt x="243531" y="470950"/>
                  <a:pt x="257158" y="449993"/>
                  <a:pt x="257158" y="422530"/>
                </a:cubicBezTo>
                <a:lnTo>
                  <a:pt x="257158" y="320869"/>
                </a:lnTo>
                <a:lnTo>
                  <a:pt x="231154" y="320869"/>
                </a:lnTo>
                <a:close/>
              </a:path>
            </a:pathLst>
          </a:custGeom>
        </p:spPr>
        <p:txBody>
          <a:bodyPr vert="horz" wrap="square"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sz="1400" kern="1200">
                <a:solidFill>
                  <a:schemeClr val="tx1"/>
                </a:solidFill>
                <a:latin typeface="Basel Grotesk" panose="020B0503020202020204" pitchFamily="34" charset="0"/>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400" kern="1200">
                <a:solidFill>
                  <a:schemeClr val="tx1"/>
                </a:solidFill>
                <a:latin typeface="Basel Grotesk" panose="020B0503020202020204" pitchFamily="34" charset="0"/>
                <a:ea typeface="+mn-ea"/>
                <a:cs typeface="+mn-cs"/>
              </a:defRPr>
            </a:lvl2pPr>
            <a:lvl3pPr marL="546100" indent="-260350" algn="l" defTabSz="914400" rtl="0" eaLnBrk="1" latinLnBrk="0" hangingPunct="1">
              <a:lnSpc>
                <a:spcPct val="110000"/>
              </a:lnSpc>
              <a:spcBef>
                <a:spcPts val="0"/>
              </a:spcBef>
              <a:spcAft>
                <a:spcPts val="600"/>
              </a:spcAft>
              <a:buFont typeface="Arial" panose="020B0604020202020204" pitchFamily="34" charset="0"/>
              <a:buChar char="•"/>
              <a:tabLst/>
              <a:defRPr sz="1200" kern="1200">
                <a:solidFill>
                  <a:schemeClr val="tx1"/>
                </a:solidFill>
                <a:latin typeface="Basel Grotesk" panose="020B0503020202020204" pitchFamily="34" charset="0"/>
                <a:ea typeface="+mn-ea"/>
                <a:cs typeface="+mn-cs"/>
              </a:defRPr>
            </a:lvl3pPr>
            <a:lvl4pPr marL="0" indent="0" algn="l" defTabSz="914400" rtl="0" eaLnBrk="1" latinLnBrk="0" hangingPunct="1">
              <a:lnSpc>
                <a:spcPct val="85000"/>
              </a:lnSpc>
              <a:spcBef>
                <a:spcPts val="600"/>
              </a:spcBef>
              <a:spcAft>
                <a:spcPts val="0"/>
              </a:spcAft>
              <a:buFont typeface="Arial" panose="020B0604020202020204" pitchFamily="34" charset="0"/>
              <a:buNone/>
              <a:tabLst/>
              <a:defRPr sz="4500" kern="1200">
                <a:solidFill>
                  <a:schemeClr val="tx2"/>
                </a:solidFill>
                <a:latin typeface="Johnson Display BETA Display" pitchFamily="2" charset="77"/>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1400" kern="1200">
                <a:solidFill>
                  <a:schemeClr val="tx1"/>
                </a:solidFill>
                <a:latin typeface="Basel Grotesk"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b="0" i="0">
              <a:latin typeface="Johnson Text" pitchFamily="2" charset="77"/>
            </a:endParaRPr>
          </a:p>
        </p:txBody>
      </p:sp>
      <p:sp>
        <p:nvSpPr>
          <p:cNvPr id="3" name="Title 2">
            <a:extLst>
              <a:ext uri="{FF2B5EF4-FFF2-40B4-BE49-F238E27FC236}">
                <a16:creationId xmlns:a16="http://schemas.microsoft.com/office/drawing/2014/main" id="{10079C00-CC52-F9ED-ED36-A8FC0573506A}"/>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7" name="Subtitle 2">
            <a:extLst>
              <a:ext uri="{FF2B5EF4-FFF2-40B4-BE49-F238E27FC236}">
                <a16:creationId xmlns:a16="http://schemas.microsoft.com/office/drawing/2014/main" id="{295A4114-449A-5D28-03F8-03221E42A657}"/>
              </a:ext>
            </a:extLst>
          </p:cNvPr>
          <p:cNvSpPr>
            <a:spLocks noGrp="1"/>
          </p:cNvSpPr>
          <p:nvPr>
            <p:ph type="subTitle" idx="16" hasCustomPrompt="1"/>
          </p:nvPr>
        </p:nvSpPr>
        <p:spPr>
          <a:xfrm>
            <a:off x="288301" y="713620"/>
            <a:ext cx="9649445"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29667312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15" name="Freeform 14">
            <a:extLst>
              <a:ext uri="{FF2B5EF4-FFF2-40B4-BE49-F238E27FC236}">
                <a16:creationId xmlns:a16="http://schemas.microsoft.com/office/drawing/2014/main" id="{11E89327-3BBA-1507-2BFB-0E509816FBA8}"/>
              </a:ext>
            </a:extLst>
          </p:cNvPr>
          <p:cNvSpPr/>
          <p:nvPr userDrawn="1"/>
        </p:nvSpPr>
        <p:spPr>
          <a:xfrm>
            <a:off x="291593" y="281482"/>
            <a:ext cx="2032407" cy="189099"/>
          </a:xfrm>
          <a:custGeom>
            <a:avLst/>
            <a:gdLst>
              <a:gd name="connsiteX0" fmla="*/ 786066 w 7948307"/>
              <a:gd name="connsiteY0" fmla="*/ 677532 h 739526"/>
              <a:gd name="connsiteX1" fmla="*/ 664794 w 7948307"/>
              <a:gd name="connsiteY1" fmla="*/ 470470 h 739526"/>
              <a:gd name="connsiteX2" fmla="*/ 786066 w 7948307"/>
              <a:gd name="connsiteY2" fmla="*/ 263408 h 739526"/>
              <a:gd name="connsiteX3" fmla="*/ 907339 w 7948307"/>
              <a:gd name="connsiteY3" fmla="*/ 470470 h 739526"/>
              <a:gd name="connsiteX4" fmla="*/ 786066 w 7948307"/>
              <a:gd name="connsiteY4" fmla="*/ 677532 h 739526"/>
              <a:gd name="connsiteX5" fmla="*/ 786066 w 7948307"/>
              <a:gd name="connsiteY5" fmla="*/ 207889 h 739526"/>
              <a:gd name="connsiteX6" fmla="*/ 539525 w 7948307"/>
              <a:gd name="connsiteY6" fmla="*/ 470470 h 739526"/>
              <a:gd name="connsiteX7" fmla="*/ 786066 w 7948307"/>
              <a:gd name="connsiteY7" fmla="*/ 733052 h 739526"/>
              <a:gd name="connsiteX8" fmla="*/ 1032607 w 7948307"/>
              <a:gd name="connsiteY8" fmla="*/ 470470 h 739526"/>
              <a:gd name="connsiteX9" fmla="*/ 786066 w 7948307"/>
              <a:gd name="connsiteY9" fmla="*/ 207889 h 739526"/>
              <a:gd name="connsiteX10" fmla="*/ 1888405 w 7948307"/>
              <a:gd name="connsiteY10" fmla="*/ 207889 h 739526"/>
              <a:gd name="connsiteX11" fmla="*/ 1748942 w 7948307"/>
              <a:gd name="connsiteY11" fmla="*/ 281593 h 739526"/>
              <a:gd name="connsiteX12" fmla="*/ 1742878 w 7948307"/>
              <a:gd name="connsiteY12" fmla="*/ 281593 h 739526"/>
              <a:gd name="connsiteX13" fmla="*/ 1742878 w 7948307"/>
              <a:gd name="connsiteY13" fmla="*/ 217945 h 739526"/>
              <a:gd name="connsiteX14" fmla="*/ 1623673 w 7948307"/>
              <a:gd name="connsiteY14" fmla="*/ 217945 h 739526"/>
              <a:gd name="connsiteX15" fmla="*/ 1623673 w 7948307"/>
              <a:gd name="connsiteY15" fmla="*/ 722995 h 739526"/>
              <a:gd name="connsiteX16" fmla="*/ 1742878 w 7948307"/>
              <a:gd name="connsiteY16" fmla="*/ 722995 h 739526"/>
              <a:gd name="connsiteX17" fmla="*/ 1742878 w 7948307"/>
              <a:gd name="connsiteY17" fmla="*/ 396765 h 739526"/>
              <a:gd name="connsiteX18" fmla="*/ 1842928 w 7948307"/>
              <a:gd name="connsiteY18" fmla="*/ 278562 h 739526"/>
              <a:gd name="connsiteX19" fmla="*/ 1928783 w 7948307"/>
              <a:gd name="connsiteY19" fmla="*/ 377616 h 739526"/>
              <a:gd name="connsiteX20" fmla="*/ 1928783 w 7948307"/>
              <a:gd name="connsiteY20" fmla="*/ 722995 h 739526"/>
              <a:gd name="connsiteX21" fmla="*/ 2047989 w 7948307"/>
              <a:gd name="connsiteY21" fmla="*/ 722995 h 739526"/>
              <a:gd name="connsiteX22" fmla="*/ 2047989 w 7948307"/>
              <a:gd name="connsiteY22" fmla="*/ 376514 h 739526"/>
              <a:gd name="connsiteX23" fmla="*/ 1888405 w 7948307"/>
              <a:gd name="connsiteY23" fmla="*/ 207889 h 739526"/>
              <a:gd name="connsiteX24" fmla="*/ 2318785 w 7948307"/>
              <a:gd name="connsiteY24" fmla="*/ 207889 h 739526"/>
              <a:gd name="connsiteX25" fmla="*/ 2125851 w 7948307"/>
              <a:gd name="connsiteY25" fmla="*/ 353369 h 739526"/>
              <a:gd name="connsiteX26" fmla="*/ 2248089 w 7948307"/>
              <a:gd name="connsiteY26" fmla="*/ 498850 h 739526"/>
              <a:gd name="connsiteX27" fmla="*/ 2349103 w 7948307"/>
              <a:gd name="connsiteY27" fmla="*/ 524061 h 739526"/>
              <a:gd name="connsiteX28" fmla="*/ 2426965 w 7948307"/>
              <a:gd name="connsiteY28" fmla="*/ 598868 h 739526"/>
              <a:gd name="connsiteX29" fmla="*/ 2326916 w 7948307"/>
              <a:gd name="connsiteY29" fmla="*/ 679736 h 739526"/>
              <a:gd name="connsiteX30" fmla="*/ 2211707 w 7948307"/>
              <a:gd name="connsiteY30" fmla="*/ 562635 h 739526"/>
              <a:gd name="connsiteX31" fmla="*/ 2104629 w 7948307"/>
              <a:gd name="connsiteY31" fmla="*/ 592944 h 739526"/>
              <a:gd name="connsiteX32" fmla="*/ 2313824 w 7948307"/>
              <a:gd name="connsiteY32" fmla="*/ 733327 h 739526"/>
              <a:gd name="connsiteX33" fmla="*/ 2523983 w 7948307"/>
              <a:gd name="connsiteY33" fmla="*/ 568697 h 739526"/>
              <a:gd name="connsiteX34" fmla="*/ 2389619 w 7948307"/>
              <a:gd name="connsiteY34" fmla="*/ 417155 h 739526"/>
              <a:gd name="connsiteX35" fmla="*/ 2292601 w 7948307"/>
              <a:gd name="connsiteY35" fmla="*/ 392908 h 739526"/>
              <a:gd name="connsiteX36" fmla="*/ 2222869 w 7948307"/>
              <a:gd name="connsiteY36" fmla="*/ 326229 h 739526"/>
              <a:gd name="connsiteX37" fmla="*/ 2308725 w 7948307"/>
              <a:gd name="connsiteY37" fmla="*/ 261617 h 739526"/>
              <a:gd name="connsiteX38" fmla="*/ 2411806 w 7948307"/>
              <a:gd name="connsiteY38" fmla="*/ 358604 h 739526"/>
              <a:gd name="connsiteX39" fmla="*/ 2512821 w 7948307"/>
              <a:gd name="connsiteY39" fmla="*/ 328296 h 739526"/>
              <a:gd name="connsiteX40" fmla="*/ 2318785 w 7948307"/>
              <a:gd name="connsiteY40" fmla="*/ 208164 h 739526"/>
              <a:gd name="connsiteX41" fmla="*/ 2819861 w 7948307"/>
              <a:gd name="connsiteY41" fmla="*/ 677807 h 739526"/>
              <a:gd name="connsiteX42" fmla="*/ 2698588 w 7948307"/>
              <a:gd name="connsiteY42" fmla="*/ 470746 h 739526"/>
              <a:gd name="connsiteX43" fmla="*/ 2819861 w 7948307"/>
              <a:gd name="connsiteY43" fmla="*/ 263684 h 739526"/>
              <a:gd name="connsiteX44" fmla="*/ 2941133 w 7948307"/>
              <a:gd name="connsiteY44" fmla="*/ 470746 h 739526"/>
              <a:gd name="connsiteX45" fmla="*/ 2819861 w 7948307"/>
              <a:gd name="connsiteY45" fmla="*/ 677807 h 739526"/>
              <a:gd name="connsiteX46" fmla="*/ 2819861 w 7948307"/>
              <a:gd name="connsiteY46" fmla="*/ 208164 h 739526"/>
              <a:gd name="connsiteX47" fmla="*/ 2573319 w 7948307"/>
              <a:gd name="connsiteY47" fmla="*/ 470746 h 739526"/>
              <a:gd name="connsiteX48" fmla="*/ 2819861 w 7948307"/>
              <a:gd name="connsiteY48" fmla="*/ 733327 h 739526"/>
              <a:gd name="connsiteX49" fmla="*/ 3066402 w 7948307"/>
              <a:gd name="connsiteY49" fmla="*/ 470746 h 739526"/>
              <a:gd name="connsiteX50" fmla="*/ 2819861 w 7948307"/>
              <a:gd name="connsiteY50" fmla="*/ 208164 h 739526"/>
              <a:gd name="connsiteX51" fmla="*/ 3401831 w 7948307"/>
              <a:gd name="connsiteY51" fmla="*/ 208164 h 739526"/>
              <a:gd name="connsiteX52" fmla="*/ 3262367 w 7948307"/>
              <a:gd name="connsiteY52" fmla="*/ 281869 h 739526"/>
              <a:gd name="connsiteX53" fmla="*/ 3256304 w 7948307"/>
              <a:gd name="connsiteY53" fmla="*/ 281869 h 739526"/>
              <a:gd name="connsiteX54" fmla="*/ 3256304 w 7948307"/>
              <a:gd name="connsiteY54" fmla="*/ 218221 h 739526"/>
              <a:gd name="connsiteX55" fmla="*/ 3137098 w 7948307"/>
              <a:gd name="connsiteY55" fmla="*/ 218221 h 739526"/>
              <a:gd name="connsiteX56" fmla="*/ 3137098 w 7948307"/>
              <a:gd name="connsiteY56" fmla="*/ 723270 h 739526"/>
              <a:gd name="connsiteX57" fmla="*/ 3256304 w 7948307"/>
              <a:gd name="connsiteY57" fmla="*/ 723270 h 739526"/>
              <a:gd name="connsiteX58" fmla="*/ 3256304 w 7948307"/>
              <a:gd name="connsiteY58" fmla="*/ 397041 h 739526"/>
              <a:gd name="connsiteX59" fmla="*/ 3356353 w 7948307"/>
              <a:gd name="connsiteY59" fmla="*/ 278838 h 739526"/>
              <a:gd name="connsiteX60" fmla="*/ 3442209 w 7948307"/>
              <a:gd name="connsiteY60" fmla="*/ 377891 h 739526"/>
              <a:gd name="connsiteX61" fmla="*/ 3442209 w 7948307"/>
              <a:gd name="connsiteY61" fmla="*/ 723270 h 739526"/>
              <a:gd name="connsiteX62" fmla="*/ 3561414 w 7948307"/>
              <a:gd name="connsiteY62" fmla="*/ 723270 h 739526"/>
              <a:gd name="connsiteX63" fmla="*/ 3561414 w 7948307"/>
              <a:gd name="connsiteY63" fmla="*/ 376789 h 739526"/>
              <a:gd name="connsiteX64" fmla="*/ 3401831 w 7948307"/>
              <a:gd name="connsiteY64" fmla="*/ 208164 h 739526"/>
              <a:gd name="connsiteX65" fmla="*/ 5172960 w 7948307"/>
              <a:gd name="connsiteY65" fmla="*/ 677807 h 739526"/>
              <a:gd name="connsiteX66" fmla="*/ 5051688 w 7948307"/>
              <a:gd name="connsiteY66" fmla="*/ 470746 h 739526"/>
              <a:gd name="connsiteX67" fmla="*/ 5172960 w 7948307"/>
              <a:gd name="connsiteY67" fmla="*/ 263684 h 739526"/>
              <a:gd name="connsiteX68" fmla="*/ 5294232 w 7948307"/>
              <a:gd name="connsiteY68" fmla="*/ 470746 h 739526"/>
              <a:gd name="connsiteX69" fmla="*/ 5172960 w 7948307"/>
              <a:gd name="connsiteY69" fmla="*/ 677807 h 739526"/>
              <a:gd name="connsiteX70" fmla="*/ 5172960 w 7948307"/>
              <a:gd name="connsiteY70" fmla="*/ 208164 h 739526"/>
              <a:gd name="connsiteX71" fmla="*/ 4926418 w 7948307"/>
              <a:gd name="connsiteY71" fmla="*/ 470746 h 739526"/>
              <a:gd name="connsiteX72" fmla="*/ 5172960 w 7948307"/>
              <a:gd name="connsiteY72" fmla="*/ 733327 h 739526"/>
              <a:gd name="connsiteX73" fmla="*/ 5419502 w 7948307"/>
              <a:gd name="connsiteY73" fmla="*/ 470746 h 739526"/>
              <a:gd name="connsiteX74" fmla="*/ 5172960 w 7948307"/>
              <a:gd name="connsiteY74" fmla="*/ 208164 h 739526"/>
              <a:gd name="connsiteX75" fmla="*/ 6275299 w 7948307"/>
              <a:gd name="connsiteY75" fmla="*/ 208164 h 739526"/>
              <a:gd name="connsiteX76" fmla="*/ 6135836 w 7948307"/>
              <a:gd name="connsiteY76" fmla="*/ 281869 h 739526"/>
              <a:gd name="connsiteX77" fmla="*/ 6129772 w 7948307"/>
              <a:gd name="connsiteY77" fmla="*/ 281869 h 739526"/>
              <a:gd name="connsiteX78" fmla="*/ 6129772 w 7948307"/>
              <a:gd name="connsiteY78" fmla="*/ 218221 h 739526"/>
              <a:gd name="connsiteX79" fmla="*/ 6010567 w 7948307"/>
              <a:gd name="connsiteY79" fmla="*/ 218221 h 739526"/>
              <a:gd name="connsiteX80" fmla="*/ 6010567 w 7948307"/>
              <a:gd name="connsiteY80" fmla="*/ 723270 h 739526"/>
              <a:gd name="connsiteX81" fmla="*/ 6129772 w 7948307"/>
              <a:gd name="connsiteY81" fmla="*/ 723270 h 739526"/>
              <a:gd name="connsiteX82" fmla="*/ 6129772 w 7948307"/>
              <a:gd name="connsiteY82" fmla="*/ 397041 h 739526"/>
              <a:gd name="connsiteX83" fmla="*/ 6229822 w 7948307"/>
              <a:gd name="connsiteY83" fmla="*/ 278838 h 739526"/>
              <a:gd name="connsiteX84" fmla="*/ 6315677 w 7948307"/>
              <a:gd name="connsiteY84" fmla="*/ 377891 h 739526"/>
              <a:gd name="connsiteX85" fmla="*/ 6315677 w 7948307"/>
              <a:gd name="connsiteY85" fmla="*/ 723270 h 739526"/>
              <a:gd name="connsiteX86" fmla="*/ 6434883 w 7948307"/>
              <a:gd name="connsiteY86" fmla="*/ 723270 h 739526"/>
              <a:gd name="connsiteX87" fmla="*/ 6434883 w 7948307"/>
              <a:gd name="connsiteY87" fmla="*/ 376789 h 739526"/>
              <a:gd name="connsiteX88" fmla="*/ 6275299 w 7948307"/>
              <a:gd name="connsiteY88" fmla="*/ 208164 h 739526"/>
              <a:gd name="connsiteX89" fmla="*/ 6705679 w 7948307"/>
              <a:gd name="connsiteY89" fmla="*/ 208164 h 739526"/>
              <a:gd name="connsiteX90" fmla="*/ 6512746 w 7948307"/>
              <a:gd name="connsiteY90" fmla="*/ 353645 h 739526"/>
              <a:gd name="connsiteX91" fmla="*/ 6634983 w 7948307"/>
              <a:gd name="connsiteY91" fmla="*/ 499125 h 739526"/>
              <a:gd name="connsiteX92" fmla="*/ 6735996 w 7948307"/>
              <a:gd name="connsiteY92" fmla="*/ 524336 h 739526"/>
              <a:gd name="connsiteX93" fmla="*/ 6813859 w 7948307"/>
              <a:gd name="connsiteY93" fmla="*/ 599143 h 739526"/>
              <a:gd name="connsiteX94" fmla="*/ 6713809 w 7948307"/>
              <a:gd name="connsiteY94" fmla="*/ 680012 h 739526"/>
              <a:gd name="connsiteX95" fmla="*/ 6598601 w 7948307"/>
              <a:gd name="connsiteY95" fmla="*/ 562911 h 739526"/>
              <a:gd name="connsiteX96" fmla="*/ 6491522 w 7948307"/>
              <a:gd name="connsiteY96" fmla="*/ 593219 h 739526"/>
              <a:gd name="connsiteX97" fmla="*/ 6700717 w 7948307"/>
              <a:gd name="connsiteY97" fmla="*/ 733603 h 739526"/>
              <a:gd name="connsiteX98" fmla="*/ 6910877 w 7948307"/>
              <a:gd name="connsiteY98" fmla="*/ 568973 h 739526"/>
              <a:gd name="connsiteX99" fmla="*/ 6776513 w 7948307"/>
              <a:gd name="connsiteY99" fmla="*/ 417430 h 739526"/>
              <a:gd name="connsiteX100" fmla="*/ 6679495 w 7948307"/>
              <a:gd name="connsiteY100" fmla="*/ 393183 h 739526"/>
              <a:gd name="connsiteX101" fmla="*/ 6609763 w 7948307"/>
              <a:gd name="connsiteY101" fmla="*/ 326505 h 739526"/>
              <a:gd name="connsiteX102" fmla="*/ 6695618 w 7948307"/>
              <a:gd name="connsiteY102" fmla="*/ 261893 h 739526"/>
              <a:gd name="connsiteX103" fmla="*/ 6798701 w 7948307"/>
              <a:gd name="connsiteY103" fmla="*/ 358880 h 739526"/>
              <a:gd name="connsiteX104" fmla="*/ 6899714 w 7948307"/>
              <a:gd name="connsiteY104" fmla="*/ 328571 h 739526"/>
              <a:gd name="connsiteX105" fmla="*/ 6705679 w 7948307"/>
              <a:gd name="connsiteY105" fmla="*/ 208440 h 739526"/>
              <a:gd name="connsiteX106" fmla="*/ 7206755 w 7948307"/>
              <a:gd name="connsiteY106" fmla="*/ 678083 h 739526"/>
              <a:gd name="connsiteX107" fmla="*/ 7085482 w 7948307"/>
              <a:gd name="connsiteY107" fmla="*/ 471021 h 739526"/>
              <a:gd name="connsiteX108" fmla="*/ 7206755 w 7948307"/>
              <a:gd name="connsiteY108" fmla="*/ 263959 h 739526"/>
              <a:gd name="connsiteX109" fmla="*/ 7328027 w 7948307"/>
              <a:gd name="connsiteY109" fmla="*/ 471021 h 739526"/>
              <a:gd name="connsiteX110" fmla="*/ 7206755 w 7948307"/>
              <a:gd name="connsiteY110" fmla="*/ 678083 h 739526"/>
              <a:gd name="connsiteX111" fmla="*/ 7206755 w 7948307"/>
              <a:gd name="connsiteY111" fmla="*/ 208440 h 739526"/>
              <a:gd name="connsiteX112" fmla="*/ 6960213 w 7948307"/>
              <a:gd name="connsiteY112" fmla="*/ 471021 h 739526"/>
              <a:gd name="connsiteX113" fmla="*/ 7206755 w 7948307"/>
              <a:gd name="connsiteY113" fmla="*/ 733603 h 739526"/>
              <a:gd name="connsiteX114" fmla="*/ 7453296 w 7948307"/>
              <a:gd name="connsiteY114" fmla="*/ 471021 h 739526"/>
              <a:gd name="connsiteX115" fmla="*/ 7206755 w 7948307"/>
              <a:gd name="connsiteY115" fmla="*/ 208440 h 739526"/>
              <a:gd name="connsiteX116" fmla="*/ 7788724 w 7948307"/>
              <a:gd name="connsiteY116" fmla="*/ 208440 h 739526"/>
              <a:gd name="connsiteX117" fmla="*/ 7649261 w 7948307"/>
              <a:gd name="connsiteY117" fmla="*/ 282144 h 739526"/>
              <a:gd name="connsiteX118" fmla="*/ 7643197 w 7948307"/>
              <a:gd name="connsiteY118" fmla="*/ 282144 h 739526"/>
              <a:gd name="connsiteX119" fmla="*/ 7643197 w 7948307"/>
              <a:gd name="connsiteY119" fmla="*/ 218496 h 739526"/>
              <a:gd name="connsiteX120" fmla="*/ 7523992 w 7948307"/>
              <a:gd name="connsiteY120" fmla="*/ 218496 h 739526"/>
              <a:gd name="connsiteX121" fmla="*/ 7523992 w 7948307"/>
              <a:gd name="connsiteY121" fmla="*/ 723546 h 739526"/>
              <a:gd name="connsiteX122" fmla="*/ 7643197 w 7948307"/>
              <a:gd name="connsiteY122" fmla="*/ 723546 h 739526"/>
              <a:gd name="connsiteX123" fmla="*/ 7643197 w 7948307"/>
              <a:gd name="connsiteY123" fmla="*/ 397316 h 739526"/>
              <a:gd name="connsiteX124" fmla="*/ 7743247 w 7948307"/>
              <a:gd name="connsiteY124" fmla="*/ 279113 h 739526"/>
              <a:gd name="connsiteX125" fmla="*/ 7829102 w 7948307"/>
              <a:gd name="connsiteY125" fmla="*/ 378167 h 739526"/>
              <a:gd name="connsiteX126" fmla="*/ 7829102 w 7948307"/>
              <a:gd name="connsiteY126" fmla="*/ 723546 h 739526"/>
              <a:gd name="connsiteX127" fmla="*/ 7948308 w 7948307"/>
              <a:gd name="connsiteY127" fmla="*/ 723546 h 739526"/>
              <a:gd name="connsiteX128" fmla="*/ 7948308 w 7948307"/>
              <a:gd name="connsiteY128" fmla="*/ 377065 h 739526"/>
              <a:gd name="connsiteX129" fmla="*/ 7788724 w 7948307"/>
              <a:gd name="connsiteY129" fmla="*/ 208440 h 739526"/>
              <a:gd name="connsiteX130" fmla="*/ 468828 w 7948307"/>
              <a:gd name="connsiteY130" fmla="*/ 16532 h 739526"/>
              <a:gd name="connsiteX131" fmla="*/ 343559 w 7948307"/>
              <a:gd name="connsiteY131" fmla="*/ 16532 h 739526"/>
              <a:gd name="connsiteX132" fmla="*/ 343559 w 7948307"/>
              <a:gd name="connsiteY132" fmla="*/ 538664 h 739526"/>
              <a:gd name="connsiteX133" fmla="*/ 234414 w 7948307"/>
              <a:gd name="connsiteY133" fmla="*/ 673950 h 739526"/>
              <a:gd name="connsiteX134" fmla="*/ 125269 w 7948307"/>
              <a:gd name="connsiteY134" fmla="*/ 528469 h 739526"/>
              <a:gd name="connsiteX135" fmla="*/ 125269 w 7948307"/>
              <a:gd name="connsiteY135" fmla="*/ 431482 h 739526"/>
              <a:gd name="connsiteX136" fmla="*/ 0 w 7948307"/>
              <a:gd name="connsiteY136" fmla="*/ 462755 h 739526"/>
              <a:gd name="connsiteX137" fmla="*/ 0 w 7948307"/>
              <a:gd name="connsiteY137" fmla="*/ 506151 h 739526"/>
              <a:gd name="connsiteX138" fmla="*/ 234414 w 7948307"/>
              <a:gd name="connsiteY138" fmla="*/ 739527 h 739526"/>
              <a:gd name="connsiteX139" fmla="*/ 468828 w 7948307"/>
              <a:gd name="connsiteY139" fmla="*/ 506151 h 739526"/>
              <a:gd name="connsiteX140" fmla="*/ 468828 w 7948307"/>
              <a:gd name="connsiteY140" fmla="*/ 16256 h 739526"/>
              <a:gd name="connsiteX141" fmla="*/ 1222509 w 7948307"/>
              <a:gd name="connsiteY141" fmla="*/ 16256 h 739526"/>
              <a:gd name="connsiteX142" fmla="*/ 1103304 w 7948307"/>
              <a:gd name="connsiteY142" fmla="*/ 16256 h 739526"/>
              <a:gd name="connsiteX143" fmla="*/ 1103304 w 7948307"/>
              <a:gd name="connsiteY143" fmla="*/ 723270 h 739526"/>
              <a:gd name="connsiteX144" fmla="*/ 1222509 w 7948307"/>
              <a:gd name="connsiteY144" fmla="*/ 723270 h 739526"/>
              <a:gd name="connsiteX145" fmla="*/ 1222509 w 7948307"/>
              <a:gd name="connsiteY145" fmla="*/ 397041 h 739526"/>
              <a:gd name="connsiteX146" fmla="*/ 1322559 w 7948307"/>
              <a:gd name="connsiteY146" fmla="*/ 278838 h 739526"/>
              <a:gd name="connsiteX147" fmla="*/ 1408415 w 7948307"/>
              <a:gd name="connsiteY147" fmla="*/ 377891 h 739526"/>
              <a:gd name="connsiteX148" fmla="*/ 1408415 w 7948307"/>
              <a:gd name="connsiteY148" fmla="*/ 723270 h 739526"/>
              <a:gd name="connsiteX149" fmla="*/ 1527620 w 7948307"/>
              <a:gd name="connsiteY149" fmla="*/ 723270 h 739526"/>
              <a:gd name="connsiteX150" fmla="*/ 1527620 w 7948307"/>
              <a:gd name="connsiteY150" fmla="*/ 376789 h 739526"/>
              <a:gd name="connsiteX151" fmla="*/ 1368036 w 7948307"/>
              <a:gd name="connsiteY151" fmla="*/ 208164 h 739526"/>
              <a:gd name="connsiteX152" fmla="*/ 1228573 w 7948307"/>
              <a:gd name="connsiteY152" fmla="*/ 281869 h 739526"/>
              <a:gd name="connsiteX153" fmla="*/ 1222509 w 7948307"/>
              <a:gd name="connsiteY153" fmla="*/ 281869 h 739526"/>
              <a:gd name="connsiteX154" fmla="*/ 1222509 w 7948307"/>
              <a:gd name="connsiteY154" fmla="*/ 16256 h 739526"/>
              <a:gd name="connsiteX155" fmla="*/ 4855722 w 7948307"/>
              <a:gd name="connsiteY155" fmla="*/ 16256 h 739526"/>
              <a:gd name="connsiteX156" fmla="*/ 4730453 w 7948307"/>
              <a:gd name="connsiteY156" fmla="*/ 16256 h 739526"/>
              <a:gd name="connsiteX157" fmla="*/ 4730453 w 7948307"/>
              <a:gd name="connsiteY157" fmla="*/ 538389 h 739526"/>
              <a:gd name="connsiteX158" fmla="*/ 4621308 w 7948307"/>
              <a:gd name="connsiteY158" fmla="*/ 673675 h 739526"/>
              <a:gd name="connsiteX159" fmla="*/ 4512163 w 7948307"/>
              <a:gd name="connsiteY159" fmla="*/ 528194 h 739526"/>
              <a:gd name="connsiteX160" fmla="*/ 4512163 w 7948307"/>
              <a:gd name="connsiteY160" fmla="*/ 431207 h 739526"/>
              <a:gd name="connsiteX161" fmla="*/ 4386894 w 7948307"/>
              <a:gd name="connsiteY161" fmla="*/ 462480 h 739526"/>
              <a:gd name="connsiteX162" fmla="*/ 4386894 w 7948307"/>
              <a:gd name="connsiteY162" fmla="*/ 505876 h 739526"/>
              <a:gd name="connsiteX163" fmla="*/ 4621308 w 7948307"/>
              <a:gd name="connsiteY163" fmla="*/ 739251 h 739526"/>
              <a:gd name="connsiteX164" fmla="*/ 4855722 w 7948307"/>
              <a:gd name="connsiteY164" fmla="*/ 505876 h 739526"/>
              <a:gd name="connsiteX165" fmla="*/ 4855722 w 7948307"/>
              <a:gd name="connsiteY165" fmla="*/ 15981 h 739526"/>
              <a:gd name="connsiteX166" fmla="*/ 5609403 w 7948307"/>
              <a:gd name="connsiteY166" fmla="*/ 15981 h 739526"/>
              <a:gd name="connsiteX167" fmla="*/ 5490198 w 7948307"/>
              <a:gd name="connsiteY167" fmla="*/ 15981 h 739526"/>
              <a:gd name="connsiteX168" fmla="*/ 5490198 w 7948307"/>
              <a:gd name="connsiteY168" fmla="*/ 722995 h 739526"/>
              <a:gd name="connsiteX169" fmla="*/ 5609403 w 7948307"/>
              <a:gd name="connsiteY169" fmla="*/ 722995 h 739526"/>
              <a:gd name="connsiteX170" fmla="*/ 5609403 w 7948307"/>
              <a:gd name="connsiteY170" fmla="*/ 396765 h 739526"/>
              <a:gd name="connsiteX171" fmla="*/ 5709453 w 7948307"/>
              <a:gd name="connsiteY171" fmla="*/ 278562 h 739526"/>
              <a:gd name="connsiteX172" fmla="*/ 5795308 w 7948307"/>
              <a:gd name="connsiteY172" fmla="*/ 377616 h 739526"/>
              <a:gd name="connsiteX173" fmla="*/ 5795308 w 7948307"/>
              <a:gd name="connsiteY173" fmla="*/ 722995 h 739526"/>
              <a:gd name="connsiteX174" fmla="*/ 5914514 w 7948307"/>
              <a:gd name="connsiteY174" fmla="*/ 722995 h 739526"/>
              <a:gd name="connsiteX175" fmla="*/ 5914514 w 7948307"/>
              <a:gd name="connsiteY175" fmla="*/ 376514 h 739526"/>
              <a:gd name="connsiteX176" fmla="*/ 5754930 w 7948307"/>
              <a:gd name="connsiteY176" fmla="*/ 207889 h 739526"/>
              <a:gd name="connsiteX177" fmla="*/ 5615466 w 7948307"/>
              <a:gd name="connsiteY177" fmla="*/ 281593 h 739526"/>
              <a:gd name="connsiteX178" fmla="*/ 5609403 w 7948307"/>
              <a:gd name="connsiteY178" fmla="*/ 281593 h 739526"/>
              <a:gd name="connsiteX179" fmla="*/ 5609403 w 7948307"/>
              <a:gd name="connsiteY179" fmla="*/ 15981 h 739526"/>
              <a:gd name="connsiteX180" fmla="*/ 3954447 w 7948307"/>
              <a:gd name="connsiteY180" fmla="*/ 665409 h 739526"/>
              <a:gd name="connsiteX181" fmla="*/ 3797895 w 7948307"/>
              <a:gd name="connsiteY181" fmla="*/ 502845 h 739526"/>
              <a:gd name="connsiteX182" fmla="*/ 3859496 w 7948307"/>
              <a:gd name="connsiteY182" fmla="*/ 374585 h 739526"/>
              <a:gd name="connsiteX183" fmla="*/ 4087847 w 7948307"/>
              <a:gd name="connsiteY183" fmla="*/ 624079 h 739526"/>
              <a:gd name="connsiteX184" fmla="*/ 3954447 w 7948307"/>
              <a:gd name="connsiteY184" fmla="*/ 665546 h 739526"/>
              <a:gd name="connsiteX185" fmla="*/ 4176734 w 7948307"/>
              <a:gd name="connsiteY185" fmla="*/ 541282 h 739526"/>
              <a:gd name="connsiteX186" fmla="*/ 3978702 w 7948307"/>
              <a:gd name="connsiteY186" fmla="*/ 323061 h 739526"/>
              <a:gd name="connsiteX187" fmla="*/ 4076684 w 7948307"/>
              <a:gd name="connsiteY187" fmla="*/ 303911 h 739526"/>
              <a:gd name="connsiteX188" fmla="*/ 4208981 w 7948307"/>
              <a:gd name="connsiteY188" fmla="*/ 433273 h 739526"/>
              <a:gd name="connsiteX189" fmla="*/ 4176596 w 7948307"/>
              <a:gd name="connsiteY189" fmla="*/ 541282 h 739526"/>
              <a:gd name="connsiteX190" fmla="*/ 3951278 w 7948307"/>
              <a:gd name="connsiteY190" fmla="*/ 293854 h 739526"/>
              <a:gd name="connsiteX191" fmla="*/ 3907868 w 7948307"/>
              <a:gd name="connsiteY191" fmla="*/ 245361 h 739526"/>
              <a:gd name="connsiteX192" fmla="*/ 3858394 w 7948307"/>
              <a:gd name="connsiteY192" fmla="*/ 145343 h 739526"/>
              <a:gd name="connsiteX193" fmla="*/ 3954309 w 7948307"/>
              <a:gd name="connsiteY193" fmla="*/ 53453 h 739526"/>
              <a:gd name="connsiteX194" fmla="*/ 4049260 w 7948307"/>
              <a:gd name="connsiteY194" fmla="*/ 150440 h 739526"/>
              <a:gd name="connsiteX195" fmla="*/ 3951278 w 7948307"/>
              <a:gd name="connsiteY195" fmla="*/ 293854 h 739526"/>
              <a:gd name="connsiteX196" fmla="*/ 3957341 w 7948307"/>
              <a:gd name="connsiteY196" fmla="*/ 0 h 739526"/>
              <a:gd name="connsiteX197" fmla="*/ 3749249 w 7948307"/>
              <a:gd name="connsiteY197" fmla="*/ 174687 h 739526"/>
              <a:gd name="connsiteX198" fmla="*/ 3830143 w 7948307"/>
              <a:gd name="connsiteY198" fmla="*/ 343312 h 739526"/>
              <a:gd name="connsiteX199" fmla="*/ 3831108 w 7948307"/>
              <a:gd name="connsiteY199" fmla="*/ 345379 h 739526"/>
              <a:gd name="connsiteX200" fmla="*/ 3686683 w 7948307"/>
              <a:gd name="connsiteY200" fmla="*/ 548445 h 739526"/>
              <a:gd name="connsiteX201" fmla="*/ 3889815 w 7948307"/>
              <a:gd name="connsiteY201" fmla="*/ 739389 h 739526"/>
              <a:gd name="connsiteX202" fmla="*/ 4118165 w 7948307"/>
              <a:gd name="connsiteY202" fmla="*/ 657556 h 739526"/>
              <a:gd name="connsiteX203" fmla="*/ 4178801 w 7948307"/>
              <a:gd name="connsiteY203" fmla="*/ 723270 h 739526"/>
              <a:gd name="connsiteX204" fmla="*/ 4337420 w 7948307"/>
              <a:gd name="connsiteY204" fmla="*/ 723270 h 739526"/>
              <a:gd name="connsiteX205" fmla="*/ 4337420 w 7948307"/>
              <a:gd name="connsiteY205" fmla="*/ 718173 h 739526"/>
              <a:gd name="connsiteX206" fmla="*/ 4208155 w 7948307"/>
              <a:gd name="connsiteY206" fmla="*/ 575723 h 739526"/>
              <a:gd name="connsiteX207" fmla="*/ 4294011 w 7948307"/>
              <a:gd name="connsiteY207" fmla="*/ 378718 h 739526"/>
              <a:gd name="connsiteX208" fmla="*/ 4161713 w 7948307"/>
              <a:gd name="connsiteY208" fmla="*/ 250458 h 739526"/>
              <a:gd name="connsiteX209" fmla="*/ 4040440 w 7948307"/>
              <a:gd name="connsiteY209" fmla="*/ 274705 h 739526"/>
              <a:gd name="connsiteX210" fmla="*/ 4038373 w 7948307"/>
              <a:gd name="connsiteY210" fmla="*/ 270710 h 739526"/>
              <a:gd name="connsiteX211" fmla="*/ 4147518 w 7948307"/>
              <a:gd name="connsiteY211" fmla="*/ 137352 h 739526"/>
              <a:gd name="connsiteX212" fmla="*/ 3957617 w 7948307"/>
              <a:gd name="connsiteY212" fmla="*/ 0 h 73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7948307" h="739526">
                <a:moveTo>
                  <a:pt x="786066" y="677532"/>
                </a:moveTo>
                <a:cubicBezTo>
                  <a:pt x="708204" y="677532"/>
                  <a:pt x="664794" y="603827"/>
                  <a:pt x="664794" y="470470"/>
                </a:cubicBezTo>
                <a:cubicBezTo>
                  <a:pt x="664794" y="337113"/>
                  <a:pt x="708204" y="263408"/>
                  <a:pt x="786066" y="263408"/>
                </a:cubicBezTo>
                <a:cubicBezTo>
                  <a:pt x="863929" y="263408"/>
                  <a:pt x="907339" y="336148"/>
                  <a:pt x="907339" y="470470"/>
                </a:cubicBezTo>
                <a:cubicBezTo>
                  <a:pt x="907339" y="604792"/>
                  <a:pt x="863929" y="677532"/>
                  <a:pt x="786066" y="677532"/>
                </a:cubicBezTo>
                <a:moveTo>
                  <a:pt x="786066" y="207889"/>
                </a:moveTo>
                <a:cubicBezTo>
                  <a:pt x="627447" y="207889"/>
                  <a:pt x="539525" y="326091"/>
                  <a:pt x="539525" y="470470"/>
                </a:cubicBezTo>
                <a:cubicBezTo>
                  <a:pt x="539525" y="614849"/>
                  <a:pt x="627447" y="733052"/>
                  <a:pt x="786066" y="733052"/>
                </a:cubicBezTo>
                <a:cubicBezTo>
                  <a:pt x="944685" y="733052"/>
                  <a:pt x="1032607" y="614849"/>
                  <a:pt x="1032607" y="470470"/>
                </a:cubicBezTo>
                <a:cubicBezTo>
                  <a:pt x="1032607" y="326091"/>
                  <a:pt x="944685" y="207889"/>
                  <a:pt x="786066" y="207889"/>
                </a:cubicBezTo>
                <a:moveTo>
                  <a:pt x="1888405" y="207889"/>
                </a:moveTo>
                <a:cubicBezTo>
                  <a:pt x="1813575" y="207889"/>
                  <a:pt x="1772232" y="240263"/>
                  <a:pt x="1748942" y="281593"/>
                </a:cubicBezTo>
                <a:lnTo>
                  <a:pt x="1742878" y="281593"/>
                </a:lnTo>
                <a:lnTo>
                  <a:pt x="1742878" y="217945"/>
                </a:lnTo>
                <a:lnTo>
                  <a:pt x="1623673" y="217945"/>
                </a:lnTo>
                <a:lnTo>
                  <a:pt x="1623673" y="722995"/>
                </a:lnTo>
                <a:lnTo>
                  <a:pt x="1742878" y="722995"/>
                </a:lnTo>
                <a:lnTo>
                  <a:pt x="1742878" y="396765"/>
                </a:lnTo>
                <a:cubicBezTo>
                  <a:pt x="1742878" y="322096"/>
                  <a:pt x="1781327" y="278562"/>
                  <a:pt x="1842928" y="278562"/>
                </a:cubicBezTo>
                <a:cubicBezTo>
                  <a:pt x="1904529" y="278562"/>
                  <a:pt x="1928783" y="317963"/>
                  <a:pt x="1928783" y="377616"/>
                </a:cubicBezTo>
                <a:lnTo>
                  <a:pt x="1928783" y="722995"/>
                </a:lnTo>
                <a:lnTo>
                  <a:pt x="2047989" y="722995"/>
                </a:lnTo>
                <a:lnTo>
                  <a:pt x="2047989" y="376514"/>
                </a:lnTo>
                <a:cubicBezTo>
                  <a:pt x="2047989" y="272501"/>
                  <a:pt x="1993416" y="207889"/>
                  <a:pt x="1888405" y="207889"/>
                </a:cubicBezTo>
                <a:moveTo>
                  <a:pt x="2318785" y="207889"/>
                </a:moveTo>
                <a:cubicBezTo>
                  <a:pt x="2208675" y="207889"/>
                  <a:pt x="2125851" y="254316"/>
                  <a:pt x="2125851" y="353369"/>
                </a:cubicBezTo>
                <a:cubicBezTo>
                  <a:pt x="2125851" y="437269"/>
                  <a:pt x="2183456" y="482731"/>
                  <a:pt x="2248089" y="498850"/>
                </a:cubicBezTo>
                <a:lnTo>
                  <a:pt x="2349103" y="524061"/>
                </a:lnTo>
                <a:cubicBezTo>
                  <a:pt x="2402711" y="537149"/>
                  <a:pt x="2426965" y="556436"/>
                  <a:pt x="2426965" y="598868"/>
                </a:cubicBezTo>
                <a:cubicBezTo>
                  <a:pt x="2426965" y="650392"/>
                  <a:pt x="2390584" y="679736"/>
                  <a:pt x="2326916" y="679736"/>
                </a:cubicBezTo>
                <a:cubicBezTo>
                  <a:pt x="2258148" y="679736"/>
                  <a:pt x="2222869" y="646397"/>
                  <a:pt x="2211707" y="562635"/>
                </a:cubicBezTo>
                <a:lnTo>
                  <a:pt x="2104629" y="592944"/>
                </a:lnTo>
                <a:cubicBezTo>
                  <a:pt x="2110692" y="679874"/>
                  <a:pt x="2191587" y="733327"/>
                  <a:pt x="2313824" y="733327"/>
                </a:cubicBezTo>
                <a:cubicBezTo>
                  <a:pt x="2450255" y="733327"/>
                  <a:pt x="2523983" y="669679"/>
                  <a:pt x="2523983" y="568697"/>
                </a:cubicBezTo>
                <a:cubicBezTo>
                  <a:pt x="2523983" y="473776"/>
                  <a:pt x="2458248" y="434375"/>
                  <a:pt x="2389619" y="417155"/>
                </a:cubicBezTo>
                <a:lnTo>
                  <a:pt x="2292601" y="392908"/>
                </a:lnTo>
                <a:cubicBezTo>
                  <a:pt x="2244092" y="380784"/>
                  <a:pt x="2222869" y="358604"/>
                  <a:pt x="2222869" y="326229"/>
                </a:cubicBezTo>
                <a:cubicBezTo>
                  <a:pt x="2222869" y="285864"/>
                  <a:pt x="2257184" y="261617"/>
                  <a:pt x="2308725" y="261617"/>
                </a:cubicBezTo>
                <a:cubicBezTo>
                  <a:pt x="2369361" y="261617"/>
                  <a:pt x="2406707" y="294957"/>
                  <a:pt x="2411806" y="358604"/>
                </a:cubicBezTo>
                <a:lnTo>
                  <a:pt x="2512821" y="328296"/>
                </a:lnTo>
                <a:cubicBezTo>
                  <a:pt x="2500693" y="257622"/>
                  <a:pt x="2430962" y="208164"/>
                  <a:pt x="2318785" y="208164"/>
                </a:cubicBezTo>
                <a:moveTo>
                  <a:pt x="2819861" y="677807"/>
                </a:moveTo>
                <a:cubicBezTo>
                  <a:pt x="2741998" y="677807"/>
                  <a:pt x="2698588" y="604103"/>
                  <a:pt x="2698588" y="470746"/>
                </a:cubicBezTo>
                <a:cubicBezTo>
                  <a:pt x="2698588" y="337388"/>
                  <a:pt x="2741998" y="263684"/>
                  <a:pt x="2819861" y="263684"/>
                </a:cubicBezTo>
                <a:cubicBezTo>
                  <a:pt x="2897723" y="263684"/>
                  <a:pt x="2941133" y="336424"/>
                  <a:pt x="2941133" y="470746"/>
                </a:cubicBezTo>
                <a:cubicBezTo>
                  <a:pt x="2941133" y="605067"/>
                  <a:pt x="2897723" y="677807"/>
                  <a:pt x="2819861" y="677807"/>
                </a:cubicBezTo>
                <a:moveTo>
                  <a:pt x="2819861" y="208164"/>
                </a:moveTo>
                <a:cubicBezTo>
                  <a:pt x="2661242" y="208164"/>
                  <a:pt x="2573319" y="326367"/>
                  <a:pt x="2573319" y="470746"/>
                </a:cubicBezTo>
                <a:cubicBezTo>
                  <a:pt x="2573319" y="615124"/>
                  <a:pt x="2661242" y="733327"/>
                  <a:pt x="2819861" y="733327"/>
                </a:cubicBezTo>
                <a:cubicBezTo>
                  <a:pt x="2978480" y="733327"/>
                  <a:pt x="3066402" y="615124"/>
                  <a:pt x="3066402" y="470746"/>
                </a:cubicBezTo>
                <a:cubicBezTo>
                  <a:pt x="3066402" y="326367"/>
                  <a:pt x="2978480" y="208164"/>
                  <a:pt x="2819861" y="208164"/>
                </a:cubicBezTo>
                <a:moveTo>
                  <a:pt x="3401831" y="208164"/>
                </a:moveTo>
                <a:cubicBezTo>
                  <a:pt x="3327000" y="208164"/>
                  <a:pt x="3285657" y="240539"/>
                  <a:pt x="3262367" y="281869"/>
                </a:cubicBezTo>
                <a:lnTo>
                  <a:pt x="3256304" y="281869"/>
                </a:lnTo>
                <a:lnTo>
                  <a:pt x="3256304" y="218221"/>
                </a:lnTo>
                <a:lnTo>
                  <a:pt x="3137098" y="218221"/>
                </a:lnTo>
                <a:lnTo>
                  <a:pt x="3137098" y="723270"/>
                </a:lnTo>
                <a:lnTo>
                  <a:pt x="3256304" y="723270"/>
                </a:lnTo>
                <a:lnTo>
                  <a:pt x="3256304" y="397041"/>
                </a:lnTo>
                <a:cubicBezTo>
                  <a:pt x="3256304" y="322372"/>
                  <a:pt x="3294752" y="278838"/>
                  <a:pt x="3356353" y="278838"/>
                </a:cubicBezTo>
                <a:cubicBezTo>
                  <a:pt x="3417954" y="278838"/>
                  <a:pt x="3442209" y="318239"/>
                  <a:pt x="3442209" y="377891"/>
                </a:cubicBezTo>
                <a:lnTo>
                  <a:pt x="3442209" y="723270"/>
                </a:lnTo>
                <a:lnTo>
                  <a:pt x="3561414" y="723270"/>
                </a:lnTo>
                <a:lnTo>
                  <a:pt x="3561414" y="376789"/>
                </a:lnTo>
                <a:cubicBezTo>
                  <a:pt x="3561414" y="272776"/>
                  <a:pt x="3506842" y="208164"/>
                  <a:pt x="3401831" y="208164"/>
                </a:cubicBezTo>
                <a:moveTo>
                  <a:pt x="5172960" y="677807"/>
                </a:moveTo>
                <a:cubicBezTo>
                  <a:pt x="5095097" y="677807"/>
                  <a:pt x="5051688" y="604103"/>
                  <a:pt x="5051688" y="470746"/>
                </a:cubicBezTo>
                <a:cubicBezTo>
                  <a:pt x="5051688" y="337388"/>
                  <a:pt x="5095097" y="263684"/>
                  <a:pt x="5172960" y="263684"/>
                </a:cubicBezTo>
                <a:cubicBezTo>
                  <a:pt x="5250823" y="263684"/>
                  <a:pt x="5294232" y="336424"/>
                  <a:pt x="5294232" y="470746"/>
                </a:cubicBezTo>
                <a:cubicBezTo>
                  <a:pt x="5294232" y="605067"/>
                  <a:pt x="5250823" y="677807"/>
                  <a:pt x="5172960" y="677807"/>
                </a:cubicBezTo>
                <a:moveTo>
                  <a:pt x="5172960" y="208164"/>
                </a:moveTo>
                <a:cubicBezTo>
                  <a:pt x="5014341" y="208164"/>
                  <a:pt x="4926418" y="326367"/>
                  <a:pt x="4926418" y="470746"/>
                </a:cubicBezTo>
                <a:cubicBezTo>
                  <a:pt x="4926418" y="615124"/>
                  <a:pt x="5014341" y="733327"/>
                  <a:pt x="5172960" y="733327"/>
                </a:cubicBezTo>
                <a:cubicBezTo>
                  <a:pt x="5331579" y="733327"/>
                  <a:pt x="5419502" y="615124"/>
                  <a:pt x="5419502" y="470746"/>
                </a:cubicBezTo>
                <a:cubicBezTo>
                  <a:pt x="5419502" y="326367"/>
                  <a:pt x="5331579" y="208164"/>
                  <a:pt x="5172960" y="208164"/>
                </a:cubicBezTo>
                <a:moveTo>
                  <a:pt x="6275299" y="208164"/>
                </a:moveTo>
                <a:cubicBezTo>
                  <a:pt x="6200468" y="208164"/>
                  <a:pt x="6159126" y="240539"/>
                  <a:pt x="6135836" y="281869"/>
                </a:cubicBezTo>
                <a:lnTo>
                  <a:pt x="6129772" y="281869"/>
                </a:lnTo>
                <a:lnTo>
                  <a:pt x="6129772" y="218221"/>
                </a:lnTo>
                <a:lnTo>
                  <a:pt x="6010567" y="218221"/>
                </a:lnTo>
                <a:lnTo>
                  <a:pt x="6010567" y="723270"/>
                </a:lnTo>
                <a:lnTo>
                  <a:pt x="6129772" y="723270"/>
                </a:lnTo>
                <a:lnTo>
                  <a:pt x="6129772" y="397041"/>
                </a:lnTo>
                <a:cubicBezTo>
                  <a:pt x="6129772" y="322372"/>
                  <a:pt x="6168222" y="278838"/>
                  <a:pt x="6229822" y="278838"/>
                </a:cubicBezTo>
                <a:cubicBezTo>
                  <a:pt x="6291422" y="278838"/>
                  <a:pt x="6315677" y="318239"/>
                  <a:pt x="6315677" y="377891"/>
                </a:cubicBezTo>
                <a:lnTo>
                  <a:pt x="6315677" y="723270"/>
                </a:lnTo>
                <a:lnTo>
                  <a:pt x="6434883" y="723270"/>
                </a:lnTo>
                <a:lnTo>
                  <a:pt x="6434883" y="376789"/>
                </a:lnTo>
                <a:cubicBezTo>
                  <a:pt x="6434883" y="272776"/>
                  <a:pt x="6380310" y="208164"/>
                  <a:pt x="6275299" y="208164"/>
                </a:cubicBezTo>
                <a:moveTo>
                  <a:pt x="6705679" y="208164"/>
                </a:moveTo>
                <a:cubicBezTo>
                  <a:pt x="6595568" y="208164"/>
                  <a:pt x="6512746" y="254591"/>
                  <a:pt x="6512746" y="353645"/>
                </a:cubicBezTo>
                <a:cubicBezTo>
                  <a:pt x="6512746" y="437544"/>
                  <a:pt x="6570350" y="483007"/>
                  <a:pt x="6634983" y="499125"/>
                </a:cubicBezTo>
                <a:lnTo>
                  <a:pt x="6735996" y="524336"/>
                </a:lnTo>
                <a:cubicBezTo>
                  <a:pt x="6789605" y="537424"/>
                  <a:pt x="6813859" y="556711"/>
                  <a:pt x="6813859" y="599143"/>
                </a:cubicBezTo>
                <a:cubicBezTo>
                  <a:pt x="6813859" y="650668"/>
                  <a:pt x="6777477" y="680012"/>
                  <a:pt x="6713809" y="680012"/>
                </a:cubicBezTo>
                <a:cubicBezTo>
                  <a:pt x="6645042" y="680012"/>
                  <a:pt x="6609763" y="646672"/>
                  <a:pt x="6598601" y="562911"/>
                </a:cubicBezTo>
                <a:lnTo>
                  <a:pt x="6491522" y="593219"/>
                </a:lnTo>
                <a:cubicBezTo>
                  <a:pt x="6497586" y="680149"/>
                  <a:pt x="6578480" y="733603"/>
                  <a:pt x="6700717" y="733603"/>
                </a:cubicBezTo>
                <a:cubicBezTo>
                  <a:pt x="6837149" y="733603"/>
                  <a:pt x="6910877" y="669955"/>
                  <a:pt x="6910877" y="568973"/>
                </a:cubicBezTo>
                <a:cubicBezTo>
                  <a:pt x="6910877" y="474052"/>
                  <a:pt x="6845142" y="434651"/>
                  <a:pt x="6776513" y="417430"/>
                </a:cubicBezTo>
                <a:lnTo>
                  <a:pt x="6679495" y="393183"/>
                </a:lnTo>
                <a:cubicBezTo>
                  <a:pt x="6630986" y="381060"/>
                  <a:pt x="6609763" y="358880"/>
                  <a:pt x="6609763" y="326505"/>
                </a:cubicBezTo>
                <a:cubicBezTo>
                  <a:pt x="6609763" y="286140"/>
                  <a:pt x="6644078" y="261893"/>
                  <a:pt x="6695618" y="261893"/>
                </a:cubicBezTo>
                <a:cubicBezTo>
                  <a:pt x="6756255" y="261893"/>
                  <a:pt x="6793601" y="295232"/>
                  <a:pt x="6798701" y="358880"/>
                </a:cubicBezTo>
                <a:lnTo>
                  <a:pt x="6899714" y="328571"/>
                </a:lnTo>
                <a:cubicBezTo>
                  <a:pt x="6887587" y="257897"/>
                  <a:pt x="6817855" y="208440"/>
                  <a:pt x="6705679" y="208440"/>
                </a:cubicBezTo>
                <a:moveTo>
                  <a:pt x="7206755" y="678083"/>
                </a:moveTo>
                <a:cubicBezTo>
                  <a:pt x="7128892" y="678083"/>
                  <a:pt x="7085482" y="604378"/>
                  <a:pt x="7085482" y="471021"/>
                </a:cubicBezTo>
                <a:cubicBezTo>
                  <a:pt x="7085482" y="337664"/>
                  <a:pt x="7128892" y="263959"/>
                  <a:pt x="7206755" y="263959"/>
                </a:cubicBezTo>
                <a:cubicBezTo>
                  <a:pt x="7284617" y="263959"/>
                  <a:pt x="7328027" y="336700"/>
                  <a:pt x="7328027" y="471021"/>
                </a:cubicBezTo>
                <a:cubicBezTo>
                  <a:pt x="7328027" y="605343"/>
                  <a:pt x="7284617" y="678083"/>
                  <a:pt x="7206755" y="678083"/>
                </a:cubicBezTo>
                <a:moveTo>
                  <a:pt x="7206755" y="208440"/>
                </a:moveTo>
                <a:cubicBezTo>
                  <a:pt x="7048136" y="208440"/>
                  <a:pt x="6960213" y="326643"/>
                  <a:pt x="6960213" y="471021"/>
                </a:cubicBezTo>
                <a:cubicBezTo>
                  <a:pt x="6960213" y="615400"/>
                  <a:pt x="7048136" y="733603"/>
                  <a:pt x="7206755" y="733603"/>
                </a:cubicBezTo>
                <a:cubicBezTo>
                  <a:pt x="7365374" y="733603"/>
                  <a:pt x="7453296" y="615400"/>
                  <a:pt x="7453296" y="471021"/>
                </a:cubicBezTo>
                <a:cubicBezTo>
                  <a:pt x="7453296" y="326643"/>
                  <a:pt x="7365374" y="208440"/>
                  <a:pt x="7206755" y="208440"/>
                </a:cubicBezTo>
                <a:moveTo>
                  <a:pt x="7788724" y="208440"/>
                </a:moveTo>
                <a:cubicBezTo>
                  <a:pt x="7713894" y="208440"/>
                  <a:pt x="7672551" y="240815"/>
                  <a:pt x="7649261" y="282144"/>
                </a:cubicBezTo>
                <a:lnTo>
                  <a:pt x="7643197" y="282144"/>
                </a:lnTo>
                <a:lnTo>
                  <a:pt x="7643197" y="218496"/>
                </a:lnTo>
                <a:lnTo>
                  <a:pt x="7523992" y="218496"/>
                </a:lnTo>
                <a:lnTo>
                  <a:pt x="7523992" y="723546"/>
                </a:lnTo>
                <a:lnTo>
                  <a:pt x="7643197" y="723546"/>
                </a:lnTo>
                <a:lnTo>
                  <a:pt x="7643197" y="397316"/>
                </a:lnTo>
                <a:cubicBezTo>
                  <a:pt x="7643197" y="322647"/>
                  <a:pt x="7681646" y="279113"/>
                  <a:pt x="7743247" y="279113"/>
                </a:cubicBezTo>
                <a:cubicBezTo>
                  <a:pt x="7804848" y="279113"/>
                  <a:pt x="7829102" y="318514"/>
                  <a:pt x="7829102" y="378167"/>
                </a:cubicBezTo>
                <a:lnTo>
                  <a:pt x="7829102" y="723546"/>
                </a:lnTo>
                <a:lnTo>
                  <a:pt x="7948308" y="723546"/>
                </a:lnTo>
                <a:lnTo>
                  <a:pt x="7948308" y="377065"/>
                </a:lnTo>
                <a:cubicBezTo>
                  <a:pt x="7948308" y="273052"/>
                  <a:pt x="7893735" y="208440"/>
                  <a:pt x="7788724" y="208440"/>
                </a:cubicBezTo>
                <a:moveTo>
                  <a:pt x="468828" y="16532"/>
                </a:moveTo>
                <a:lnTo>
                  <a:pt x="343559" y="16532"/>
                </a:lnTo>
                <a:lnTo>
                  <a:pt x="343559" y="538664"/>
                </a:lnTo>
                <a:cubicBezTo>
                  <a:pt x="343559" y="623528"/>
                  <a:pt x="311174" y="673950"/>
                  <a:pt x="234414" y="673950"/>
                </a:cubicBezTo>
                <a:cubicBezTo>
                  <a:pt x="157654" y="673950"/>
                  <a:pt x="125269" y="620359"/>
                  <a:pt x="125269" y="528469"/>
                </a:cubicBezTo>
                <a:lnTo>
                  <a:pt x="125269" y="431482"/>
                </a:lnTo>
                <a:lnTo>
                  <a:pt x="0" y="462755"/>
                </a:lnTo>
                <a:lnTo>
                  <a:pt x="0" y="506151"/>
                </a:lnTo>
                <a:cubicBezTo>
                  <a:pt x="0" y="638406"/>
                  <a:pt x="65735" y="739527"/>
                  <a:pt x="234414" y="739527"/>
                </a:cubicBezTo>
                <a:cubicBezTo>
                  <a:pt x="403093" y="739527"/>
                  <a:pt x="468828" y="638544"/>
                  <a:pt x="468828" y="506151"/>
                </a:cubicBezTo>
                <a:lnTo>
                  <a:pt x="468828" y="16256"/>
                </a:lnTo>
                <a:moveTo>
                  <a:pt x="1222509" y="16256"/>
                </a:moveTo>
                <a:lnTo>
                  <a:pt x="1103304" y="16256"/>
                </a:lnTo>
                <a:lnTo>
                  <a:pt x="1103304" y="723270"/>
                </a:lnTo>
                <a:lnTo>
                  <a:pt x="1222509" y="723270"/>
                </a:lnTo>
                <a:lnTo>
                  <a:pt x="1222509" y="397041"/>
                </a:lnTo>
                <a:cubicBezTo>
                  <a:pt x="1222509" y="322372"/>
                  <a:pt x="1260958" y="278838"/>
                  <a:pt x="1322559" y="278838"/>
                </a:cubicBezTo>
                <a:cubicBezTo>
                  <a:pt x="1384160" y="278838"/>
                  <a:pt x="1408415" y="318239"/>
                  <a:pt x="1408415" y="377891"/>
                </a:cubicBezTo>
                <a:lnTo>
                  <a:pt x="1408415" y="723270"/>
                </a:lnTo>
                <a:lnTo>
                  <a:pt x="1527620" y="723270"/>
                </a:lnTo>
                <a:lnTo>
                  <a:pt x="1527620" y="376789"/>
                </a:lnTo>
                <a:cubicBezTo>
                  <a:pt x="1527620" y="272776"/>
                  <a:pt x="1473047" y="208164"/>
                  <a:pt x="1368036" y="208164"/>
                </a:cubicBezTo>
                <a:cubicBezTo>
                  <a:pt x="1293206" y="208164"/>
                  <a:pt x="1251863" y="240539"/>
                  <a:pt x="1228573" y="281869"/>
                </a:cubicBezTo>
                <a:lnTo>
                  <a:pt x="1222509" y="281869"/>
                </a:lnTo>
                <a:lnTo>
                  <a:pt x="1222509" y="16256"/>
                </a:lnTo>
                <a:moveTo>
                  <a:pt x="4855722" y="16256"/>
                </a:moveTo>
                <a:lnTo>
                  <a:pt x="4730453" y="16256"/>
                </a:lnTo>
                <a:lnTo>
                  <a:pt x="4730453" y="538389"/>
                </a:lnTo>
                <a:cubicBezTo>
                  <a:pt x="4730453" y="623252"/>
                  <a:pt x="4698068" y="673675"/>
                  <a:pt x="4621308" y="673675"/>
                </a:cubicBezTo>
                <a:cubicBezTo>
                  <a:pt x="4544548" y="673675"/>
                  <a:pt x="4512163" y="620084"/>
                  <a:pt x="4512163" y="528194"/>
                </a:cubicBezTo>
                <a:lnTo>
                  <a:pt x="4512163" y="431207"/>
                </a:lnTo>
                <a:lnTo>
                  <a:pt x="4386894" y="462480"/>
                </a:lnTo>
                <a:lnTo>
                  <a:pt x="4386894" y="505876"/>
                </a:lnTo>
                <a:cubicBezTo>
                  <a:pt x="4386894" y="638131"/>
                  <a:pt x="4452629" y="739251"/>
                  <a:pt x="4621308" y="739251"/>
                </a:cubicBezTo>
                <a:cubicBezTo>
                  <a:pt x="4789987" y="739251"/>
                  <a:pt x="4855722" y="638269"/>
                  <a:pt x="4855722" y="505876"/>
                </a:cubicBezTo>
                <a:lnTo>
                  <a:pt x="4855722" y="15981"/>
                </a:lnTo>
                <a:moveTo>
                  <a:pt x="5609403" y="15981"/>
                </a:moveTo>
                <a:lnTo>
                  <a:pt x="5490198" y="15981"/>
                </a:lnTo>
                <a:lnTo>
                  <a:pt x="5490198" y="722995"/>
                </a:lnTo>
                <a:lnTo>
                  <a:pt x="5609403" y="722995"/>
                </a:lnTo>
                <a:lnTo>
                  <a:pt x="5609403" y="396765"/>
                </a:lnTo>
                <a:cubicBezTo>
                  <a:pt x="5609403" y="322096"/>
                  <a:pt x="5647852" y="278562"/>
                  <a:pt x="5709453" y="278562"/>
                </a:cubicBezTo>
                <a:cubicBezTo>
                  <a:pt x="5771054" y="278562"/>
                  <a:pt x="5795308" y="317963"/>
                  <a:pt x="5795308" y="377616"/>
                </a:cubicBezTo>
                <a:lnTo>
                  <a:pt x="5795308" y="722995"/>
                </a:lnTo>
                <a:lnTo>
                  <a:pt x="5914514" y="722995"/>
                </a:lnTo>
                <a:lnTo>
                  <a:pt x="5914514" y="376514"/>
                </a:lnTo>
                <a:cubicBezTo>
                  <a:pt x="5914514" y="272501"/>
                  <a:pt x="5859941" y="207889"/>
                  <a:pt x="5754930" y="207889"/>
                </a:cubicBezTo>
                <a:cubicBezTo>
                  <a:pt x="5680099" y="207889"/>
                  <a:pt x="5638756" y="240263"/>
                  <a:pt x="5615466" y="281593"/>
                </a:cubicBezTo>
                <a:lnTo>
                  <a:pt x="5609403" y="281593"/>
                </a:lnTo>
                <a:lnTo>
                  <a:pt x="5609403" y="15981"/>
                </a:lnTo>
                <a:moveTo>
                  <a:pt x="3954447" y="665409"/>
                </a:moveTo>
                <a:cubicBezTo>
                  <a:pt x="3857429" y="665409"/>
                  <a:pt x="3797895" y="586607"/>
                  <a:pt x="3797895" y="502845"/>
                </a:cubicBezTo>
                <a:cubicBezTo>
                  <a:pt x="3797895" y="450356"/>
                  <a:pt x="3821185" y="401863"/>
                  <a:pt x="3859496" y="374585"/>
                </a:cubicBezTo>
                <a:lnTo>
                  <a:pt x="4087847" y="624079"/>
                </a:lnTo>
                <a:cubicBezTo>
                  <a:pt x="4045401" y="649290"/>
                  <a:pt x="3997857" y="665546"/>
                  <a:pt x="3954447" y="665546"/>
                </a:cubicBezTo>
                <a:moveTo>
                  <a:pt x="4176734" y="541282"/>
                </a:moveTo>
                <a:lnTo>
                  <a:pt x="3978702" y="323061"/>
                </a:lnTo>
                <a:cubicBezTo>
                  <a:pt x="4014119" y="308871"/>
                  <a:pt x="4048433" y="303911"/>
                  <a:pt x="4076684" y="303911"/>
                </a:cubicBezTo>
                <a:cubicBezTo>
                  <a:pt x="4158543" y="303911"/>
                  <a:pt x="4208981" y="351440"/>
                  <a:pt x="4208981" y="433273"/>
                </a:cubicBezTo>
                <a:cubicBezTo>
                  <a:pt x="4208981" y="469643"/>
                  <a:pt x="4198922" y="506978"/>
                  <a:pt x="4176596" y="541282"/>
                </a:cubicBezTo>
                <a:moveTo>
                  <a:pt x="3951278" y="293854"/>
                </a:moveTo>
                <a:lnTo>
                  <a:pt x="3907868" y="245361"/>
                </a:lnTo>
                <a:cubicBezTo>
                  <a:pt x="3869419" y="202929"/>
                  <a:pt x="3858394" y="176616"/>
                  <a:pt x="3858394" y="145343"/>
                </a:cubicBezTo>
                <a:cubicBezTo>
                  <a:pt x="3858394" y="86792"/>
                  <a:pt x="3895740" y="53453"/>
                  <a:pt x="3954309" y="53453"/>
                </a:cubicBezTo>
                <a:cubicBezTo>
                  <a:pt x="4012879" y="53453"/>
                  <a:pt x="4049260" y="87757"/>
                  <a:pt x="4049260" y="150440"/>
                </a:cubicBezTo>
                <a:cubicBezTo>
                  <a:pt x="4049260" y="208026"/>
                  <a:pt x="4021009" y="262582"/>
                  <a:pt x="3951278" y="293854"/>
                </a:cubicBezTo>
                <a:moveTo>
                  <a:pt x="3957341" y="0"/>
                </a:moveTo>
                <a:cubicBezTo>
                  <a:pt x="3817878" y="0"/>
                  <a:pt x="3749249" y="77838"/>
                  <a:pt x="3749249" y="174687"/>
                </a:cubicBezTo>
                <a:cubicBezTo>
                  <a:pt x="3749249" y="227176"/>
                  <a:pt x="3771436" y="279802"/>
                  <a:pt x="3830143" y="343312"/>
                </a:cubicBezTo>
                <a:lnTo>
                  <a:pt x="3831108" y="345379"/>
                </a:lnTo>
                <a:cubicBezTo>
                  <a:pt x="3732160" y="392908"/>
                  <a:pt x="3686683" y="469643"/>
                  <a:pt x="3686683" y="548445"/>
                </a:cubicBezTo>
                <a:cubicBezTo>
                  <a:pt x="3686683" y="652459"/>
                  <a:pt x="3766475" y="739389"/>
                  <a:pt x="3889815" y="739389"/>
                </a:cubicBezTo>
                <a:cubicBezTo>
                  <a:pt x="3960511" y="739389"/>
                  <a:pt x="4043334" y="710045"/>
                  <a:pt x="4118165" y="657556"/>
                </a:cubicBezTo>
                <a:lnTo>
                  <a:pt x="4178801" y="723270"/>
                </a:lnTo>
                <a:lnTo>
                  <a:pt x="4337420" y="723270"/>
                </a:lnTo>
                <a:lnTo>
                  <a:pt x="4337420" y="718173"/>
                </a:lnTo>
                <a:lnTo>
                  <a:pt x="4208155" y="575723"/>
                </a:lnTo>
                <a:cubicBezTo>
                  <a:pt x="4262728" y="511111"/>
                  <a:pt x="4294011" y="440437"/>
                  <a:pt x="4294011" y="378718"/>
                </a:cubicBezTo>
                <a:cubicBezTo>
                  <a:pt x="4294011" y="301982"/>
                  <a:pt x="4242469" y="250458"/>
                  <a:pt x="4161713" y="250458"/>
                </a:cubicBezTo>
                <a:cubicBezTo>
                  <a:pt x="4119268" y="250458"/>
                  <a:pt x="4071723" y="262582"/>
                  <a:pt x="4040440" y="274705"/>
                </a:cubicBezTo>
                <a:lnTo>
                  <a:pt x="4038373" y="270710"/>
                </a:lnTo>
                <a:cubicBezTo>
                  <a:pt x="4115133" y="229242"/>
                  <a:pt x="4147518" y="190943"/>
                  <a:pt x="4147518" y="137352"/>
                </a:cubicBezTo>
                <a:cubicBezTo>
                  <a:pt x="4147518" y="60617"/>
                  <a:pt x="4078752" y="0"/>
                  <a:pt x="3957617" y="0"/>
                </a:cubicBezTo>
              </a:path>
            </a:pathLst>
          </a:custGeom>
          <a:solidFill>
            <a:schemeClr val="bg1"/>
          </a:solidFill>
          <a:ln w="13780" cap="flat">
            <a:noFill/>
            <a:prstDash val="solid"/>
            <a:miter/>
          </a:ln>
        </p:spPr>
        <p:txBody>
          <a:bodyPr rtlCol="0" anchor="t"/>
          <a:lstStyle/>
          <a:p>
            <a:endParaRPr lang="en-GB" b="0" i="0">
              <a:solidFill>
                <a:schemeClr val="bg1"/>
              </a:solidFill>
              <a:latin typeface="Johnson Text" pitchFamily="2" charset="77"/>
            </a:endParaRPr>
          </a:p>
        </p:txBody>
      </p:sp>
      <p:sp>
        <p:nvSpPr>
          <p:cNvPr id="2" name="Title 1">
            <a:extLst>
              <a:ext uri="{FF2B5EF4-FFF2-40B4-BE49-F238E27FC236}">
                <a16:creationId xmlns:a16="http://schemas.microsoft.com/office/drawing/2014/main" id="{241F71E3-AC39-2207-0CC4-1E2486610795}"/>
              </a:ext>
            </a:extLst>
          </p:cNvPr>
          <p:cNvSpPr>
            <a:spLocks noGrp="1"/>
          </p:cNvSpPr>
          <p:nvPr>
            <p:ph type="ctrTitle"/>
          </p:nvPr>
        </p:nvSpPr>
        <p:spPr>
          <a:xfrm>
            <a:off x="6165850" y="266955"/>
            <a:ext cx="5734050" cy="2585323"/>
          </a:xfrm>
        </p:spPr>
        <p:txBody>
          <a:bodyPr wrap="square" anchor="t">
            <a:spAutoFit/>
          </a:bodyPr>
          <a:lstStyle>
            <a:lvl1pPr algn="l">
              <a:lnSpc>
                <a:spcPct val="80000"/>
              </a:lnSpc>
              <a:defRPr sz="7000" b="0" i="0" spc="0" baseline="0">
                <a:solidFill>
                  <a:schemeClr val="bg1"/>
                </a:solidFill>
                <a:latin typeface="+mj-lt"/>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565D7B25-1665-DB97-EC26-F653F638EABF}"/>
              </a:ext>
            </a:extLst>
          </p:cNvPr>
          <p:cNvSpPr>
            <a:spLocks noGrp="1"/>
          </p:cNvSpPr>
          <p:nvPr>
            <p:ph type="subTitle" idx="1" hasCustomPrompt="1"/>
          </p:nvPr>
        </p:nvSpPr>
        <p:spPr>
          <a:xfrm>
            <a:off x="6165850" y="5892920"/>
            <a:ext cx="2795587" cy="717180"/>
          </a:xfrm>
        </p:spPr>
        <p:txBody>
          <a:bodyPr anchor="b"/>
          <a:lstStyle>
            <a:lvl1pPr marL="0" indent="0" algn="l">
              <a:lnSpc>
                <a:spcPct val="100000"/>
              </a:lnSpc>
              <a:spcBef>
                <a:spcPts val="0"/>
              </a:spcBef>
              <a:spcAft>
                <a:spcPts val="0"/>
              </a:spcAft>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pporting details – delete if not required</a:t>
            </a:r>
          </a:p>
        </p:txBody>
      </p:sp>
      <p:sp>
        <p:nvSpPr>
          <p:cNvPr id="3" name="Footer Placeholder 4">
            <a:extLst>
              <a:ext uri="{FF2B5EF4-FFF2-40B4-BE49-F238E27FC236}">
                <a16:creationId xmlns:a16="http://schemas.microsoft.com/office/drawing/2014/main" id="{1B7393A2-96C5-C7B1-994C-693B4ADADD97}"/>
              </a:ext>
            </a:extLst>
          </p:cNvPr>
          <p:cNvSpPr txBox="1">
            <a:spLocks/>
          </p:cNvSpPr>
          <p:nvPr userDrawn="1"/>
        </p:nvSpPr>
        <p:spPr>
          <a:xfrm>
            <a:off x="9772073" y="6424023"/>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0" i="0" kern="1200">
                <a:solidFill>
                  <a:schemeClr val="bg1"/>
                </a:solidFill>
                <a:latin typeface="+mn-lt"/>
                <a:ea typeface="+mn-ea"/>
                <a:cs typeface="+mn-cs"/>
              </a:rPr>
              <a:t>HEALTH CARE COMPLIANCE</a:t>
            </a:r>
          </a:p>
        </p:txBody>
      </p:sp>
    </p:spTree>
    <p:extLst>
      <p:ext uri="{BB962C8B-B14F-4D97-AF65-F5344CB8AC3E}">
        <p14:creationId xmlns:p14="http://schemas.microsoft.com/office/powerpoint/2010/main" val="32669878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and Captio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3225800" y="0"/>
            <a:ext cx="8966200" cy="6858000"/>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289384" y="2338387"/>
            <a:ext cx="2793541" cy="3932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52A37889-B558-B868-1094-BA62A7B3E70A}"/>
              </a:ext>
            </a:extLst>
          </p:cNvPr>
          <p:cNvSpPr>
            <a:spLocks noGrp="1"/>
          </p:cNvSpPr>
          <p:nvPr>
            <p:ph type="title"/>
          </p:nvPr>
        </p:nvSpPr>
        <p:spPr>
          <a:xfrm>
            <a:off x="288303" y="262800"/>
            <a:ext cx="2793541" cy="1934833"/>
          </a:xfrm>
        </p:spPr>
        <p:txBody>
          <a:bodyPr/>
          <a:lstStyle/>
          <a:p>
            <a:r>
              <a:rPr lang="en-US"/>
              <a:t>Click to edit Master title style</a:t>
            </a:r>
            <a:endParaRPr lang="en-GB"/>
          </a:p>
        </p:txBody>
      </p:sp>
    </p:spTree>
    <p:extLst>
      <p:ext uri="{BB962C8B-B14F-4D97-AF65-F5344CB8AC3E}">
        <p14:creationId xmlns:p14="http://schemas.microsoft.com/office/powerpoint/2010/main" val="4787830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6170614" y="0"/>
            <a:ext cx="6021385" cy="6858000"/>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r>
              <a:rPr lang="en-US"/>
              <a:t>Job Aid and Guidance Document still under review.</a:t>
            </a:r>
            <a:endParaRPr lang="en-GB"/>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289384" y="2338387"/>
            <a:ext cx="5732003" cy="3932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ubtitle 2">
            <a:extLst>
              <a:ext uri="{FF2B5EF4-FFF2-40B4-BE49-F238E27FC236}">
                <a16:creationId xmlns:a16="http://schemas.microsoft.com/office/drawing/2014/main" id="{42BB7518-D6BA-C538-D249-365B42C98C35}"/>
              </a:ext>
            </a:extLst>
          </p:cNvPr>
          <p:cNvSpPr>
            <a:spLocks noGrp="1"/>
          </p:cNvSpPr>
          <p:nvPr>
            <p:ph type="subTitle" idx="16" hasCustomPrompt="1"/>
          </p:nvPr>
        </p:nvSpPr>
        <p:spPr>
          <a:xfrm>
            <a:off x="288302" y="713620"/>
            <a:ext cx="5732003"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
        <p:nvSpPr>
          <p:cNvPr id="9" name="Title 8">
            <a:extLst>
              <a:ext uri="{FF2B5EF4-FFF2-40B4-BE49-F238E27FC236}">
                <a16:creationId xmlns:a16="http://schemas.microsoft.com/office/drawing/2014/main" id="{80AE2DF2-849C-72E8-013B-74CCFF6C4882}"/>
              </a:ext>
            </a:extLst>
          </p:cNvPr>
          <p:cNvSpPr>
            <a:spLocks noGrp="1"/>
          </p:cNvSpPr>
          <p:nvPr>
            <p:ph type="title" hasCustomPrompt="1"/>
          </p:nvPr>
        </p:nvSpPr>
        <p:spPr>
          <a:xfrm>
            <a:off x="288303" y="262267"/>
            <a:ext cx="5732002" cy="468590"/>
          </a:xfrm>
        </p:spPr>
        <p:txBody>
          <a:bodyPr/>
          <a:lstStyle/>
          <a:p>
            <a:r>
              <a:rPr lang="en-GB"/>
              <a:t>Master title style</a:t>
            </a:r>
          </a:p>
        </p:txBody>
      </p:sp>
    </p:spTree>
    <p:extLst>
      <p:ext uri="{BB962C8B-B14F-4D97-AF65-F5344CB8AC3E}">
        <p14:creationId xmlns:p14="http://schemas.microsoft.com/office/powerpoint/2010/main" val="7514979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Content Right S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0" y="0"/>
            <a:ext cx="6021385" cy="6858000"/>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0" name="Freeform 29">
            <a:extLst>
              <a:ext uri="{FF2B5EF4-FFF2-40B4-BE49-F238E27FC236}">
                <a16:creationId xmlns:a16="http://schemas.microsoft.com/office/drawing/2014/main" id="{1B94300B-C77D-1F3F-A75F-F3E8D1A2D0B2}"/>
              </a:ext>
            </a:extLst>
          </p:cNvPr>
          <p:cNvSpPr txBox="1">
            <a:spLocks/>
          </p:cNvSpPr>
          <p:nvPr/>
        </p:nvSpPr>
        <p:spPr>
          <a:xfrm>
            <a:off x="114300" y="6096000"/>
            <a:ext cx="1009650" cy="660400"/>
          </a:xfrm>
          <a:custGeom>
            <a:avLst/>
            <a:gdLst>
              <a:gd name="connsiteX0" fmla="*/ 0 w 1009650"/>
              <a:gd name="connsiteY0" fmla="*/ 0 h 660400"/>
              <a:gd name="connsiteX1" fmla="*/ 1009650 w 1009650"/>
              <a:gd name="connsiteY1" fmla="*/ 0 h 660400"/>
              <a:gd name="connsiteX2" fmla="*/ 1009650 w 1009650"/>
              <a:gd name="connsiteY2" fmla="*/ 660400 h 660400"/>
              <a:gd name="connsiteX3" fmla="*/ 0 w 1009650"/>
              <a:gd name="connsiteY3" fmla="*/ 660400 h 660400"/>
              <a:gd name="connsiteX4" fmla="*/ 0 w 1009650"/>
              <a:gd name="connsiteY4" fmla="*/ 0 h 660400"/>
              <a:gd name="connsiteX5" fmla="*/ 334111 w 1009650"/>
              <a:gd name="connsiteY5" fmla="*/ 317500 h 660400"/>
              <a:gd name="connsiteX6" fmla="*/ 290920 w 1009650"/>
              <a:gd name="connsiteY6" fmla="*/ 353764 h 660400"/>
              <a:gd name="connsiteX7" fmla="*/ 307700 w 1009650"/>
              <a:gd name="connsiteY7" fmla="*/ 388779 h 660400"/>
              <a:gd name="connsiteX8" fmla="*/ 307903 w 1009650"/>
              <a:gd name="connsiteY8" fmla="*/ 389200 h 660400"/>
              <a:gd name="connsiteX9" fmla="*/ 277918 w 1009650"/>
              <a:gd name="connsiteY9" fmla="*/ 431331 h 660400"/>
              <a:gd name="connsiteX10" fmla="*/ 320063 w 1009650"/>
              <a:gd name="connsiteY10" fmla="*/ 470950 h 660400"/>
              <a:gd name="connsiteX11" fmla="*/ 367452 w 1009650"/>
              <a:gd name="connsiteY11" fmla="*/ 453972 h 660400"/>
              <a:gd name="connsiteX12" fmla="*/ 380033 w 1009650"/>
              <a:gd name="connsiteY12" fmla="*/ 467595 h 660400"/>
              <a:gd name="connsiteX13" fmla="*/ 412953 w 1009650"/>
              <a:gd name="connsiteY13" fmla="*/ 467595 h 660400"/>
              <a:gd name="connsiteX14" fmla="*/ 412953 w 1009650"/>
              <a:gd name="connsiteY14" fmla="*/ 466549 h 660400"/>
              <a:gd name="connsiteX15" fmla="*/ 386106 w 1009650"/>
              <a:gd name="connsiteY15" fmla="*/ 436995 h 660400"/>
              <a:gd name="connsiteX16" fmla="*/ 386120 w 1009650"/>
              <a:gd name="connsiteY16" fmla="*/ 436995 h 660400"/>
              <a:gd name="connsiteX17" fmla="*/ 403945 w 1009650"/>
              <a:gd name="connsiteY17" fmla="*/ 396113 h 660400"/>
              <a:gd name="connsiteX18" fmla="*/ 376474 w 1009650"/>
              <a:gd name="connsiteY18" fmla="*/ 369492 h 660400"/>
              <a:gd name="connsiteX19" fmla="*/ 351312 w 1009650"/>
              <a:gd name="connsiteY19" fmla="*/ 374518 h 660400"/>
              <a:gd name="connsiteX20" fmla="*/ 350891 w 1009650"/>
              <a:gd name="connsiteY20" fmla="*/ 373675 h 660400"/>
              <a:gd name="connsiteX21" fmla="*/ 373539 w 1009650"/>
              <a:gd name="connsiteY21" fmla="*/ 346009 h 660400"/>
              <a:gd name="connsiteX22" fmla="*/ 334111 w 1009650"/>
              <a:gd name="connsiteY22" fmla="*/ 317500 h 660400"/>
              <a:gd name="connsiteX23" fmla="*/ 494539 w 1009650"/>
              <a:gd name="connsiteY23" fmla="*/ 320869 h 660400"/>
              <a:gd name="connsiteX24" fmla="*/ 494539 w 1009650"/>
              <a:gd name="connsiteY24" fmla="*/ 429253 h 660400"/>
              <a:gd name="connsiteX25" fmla="*/ 471890 w 1009650"/>
              <a:gd name="connsiteY25" fmla="*/ 457341 h 660400"/>
              <a:gd name="connsiteX26" fmla="*/ 449242 w 1009650"/>
              <a:gd name="connsiteY26" fmla="*/ 427148 h 660400"/>
              <a:gd name="connsiteX27" fmla="*/ 449242 w 1009650"/>
              <a:gd name="connsiteY27" fmla="*/ 407019 h 660400"/>
              <a:gd name="connsiteX28" fmla="*/ 423238 w 1009650"/>
              <a:gd name="connsiteY28" fmla="*/ 413511 h 660400"/>
              <a:gd name="connsiteX29" fmla="*/ 423238 w 1009650"/>
              <a:gd name="connsiteY29" fmla="*/ 422530 h 660400"/>
              <a:gd name="connsiteX30" fmla="*/ 471890 w 1009650"/>
              <a:gd name="connsiteY30" fmla="*/ 470950 h 660400"/>
              <a:gd name="connsiteX31" fmla="*/ 471890 w 1009650"/>
              <a:gd name="connsiteY31" fmla="*/ 470963 h 660400"/>
              <a:gd name="connsiteX32" fmla="*/ 520543 w 1009650"/>
              <a:gd name="connsiteY32" fmla="*/ 422543 h 660400"/>
              <a:gd name="connsiteX33" fmla="*/ 520543 w 1009650"/>
              <a:gd name="connsiteY33" fmla="*/ 320869 h 660400"/>
              <a:gd name="connsiteX34" fmla="*/ 494539 w 1009650"/>
              <a:gd name="connsiteY34" fmla="*/ 320869 h 660400"/>
              <a:gd name="connsiteX35" fmla="*/ 231154 w 1009650"/>
              <a:gd name="connsiteY35" fmla="*/ 320869 h 660400"/>
              <a:gd name="connsiteX36" fmla="*/ 231154 w 1009650"/>
              <a:gd name="connsiteY36" fmla="*/ 429253 h 660400"/>
              <a:gd name="connsiteX37" fmla="*/ 208506 w 1009650"/>
              <a:gd name="connsiteY37" fmla="*/ 457341 h 660400"/>
              <a:gd name="connsiteX38" fmla="*/ 185857 w 1009650"/>
              <a:gd name="connsiteY38" fmla="*/ 427148 h 660400"/>
              <a:gd name="connsiteX39" fmla="*/ 185857 w 1009650"/>
              <a:gd name="connsiteY39" fmla="*/ 407019 h 660400"/>
              <a:gd name="connsiteX40" fmla="*/ 159853 w 1009650"/>
              <a:gd name="connsiteY40" fmla="*/ 413511 h 660400"/>
              <a:gd name="connsiteX41" fmla="*/ 159853 w 1009650"/>
              <a:gd name="connsiteY41" fmla="*/ 422530 h 660400"/>
              <a:gd name="connsiteX42" fmla="*/ 208506 w 1009650"/>
              <a:gd name="connsiteY42" fmla="*/ 470950 h 660400"/>
              <a:gd name="connsiteX43" fmla="*/ 257158 w 1009650"/>
              <a:gd name="connsiteY43" fmla="*/ 422530 h 660400"/>
              <a:gd name="connsiteX44" fmla="*/ 257158 w 1009650"/>
              <a:gd name="connsiteY44" fmla="*/ 320869 h 660400"/>
              <a:gd name="connsiteX45" fmla="*/ 231154 w 1009650"/>
              <a:gd name="connsiteY45" fmla="*/ 320869 h 66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9650" h="660400">
                <a:moveTo>
                  <a:pt x="0" y="0"/>
                </a:moveTo>
                <a:lnTo>
                  <a:pt x="1009650" y="0"/>
                </a:lnTo>
                <a:lnTo>
                  <a:pt x="1009650" y="660400"/>
                </a:lnTo>
                <a:lnTo>
                  <a:pt x="0" y="660400"/>
                </a:lnTo>
                <a:lnTo>
                  <a:pt x="0" y="0"/>
                </a:lnTo>
                <a:close/>
                <a:moveTo>
                  <a:pt x="334111" y="317500"/>
                </a:moveTo>
                <a:cubicBezTo>
                  <a:pt x="305173" y="317500"/>
                  <a:pt x="290920" y="333636"/>
                  <a:pt x="290920" y="353764"/>
                </a:cubicBezTo>
                <a:cubicBezTo>
                  <a:pt x="290920" y="364670"/>
                  <a:pt x="295540" y="375563"/>
                  <a:pt x="307700" y="388779"/>
                </a:cubicBezTo>
                <a:lnTo>
                  <a:pt x="307903" y="389200"/>
                </a:lnTo>
                <a:cubicBezTo>
                  <a:pt x="287347" y="399047"/>
                  <a:pt x="277918" y="414978"/>
                  <a:pt x="277918" y="431331"/>
                </a:cubicBezTo>
                <a:cubicBezTo>
                  <a:pt x="277918" y="452926"/>
                  <a:pt x="294480" y="470950"/>
                  <a:pt x="320063" y="470950"/>
                </a:cubicBezTo>
                <a:cubicBezTo>
                  <a:pt x="334736" y="470950"/>
                  <a:pt x="351937" y="464865"/>
                  <a:pt x="367452" y="453972"/>
                </a:cubicBezTo>
                <a:lnTo>
                  <a:pt x="380033" y="467595"/>
                </a:lnTo>
                <a:lnTo>
                  <a:pt x="412953" y="467595"/>
                </a:lnTo>
                <a:lnTo>
                  <a:pt x="412953" y="466549"/>
                </a:lnTo>
                <a:lnTo>
                  <a:pt x="386106" y="436995"/>
                </a:lnTo>
                <a:lnTo>
                  <a:pt x="386120" y="436995"/>
                </a:lnTo>
                <a:cubicBezTo>
                  <a:pt x="397437" y="423576"/>
                  <a:pt x="403945" y="408907"/>
                  <a:pt x="403945" y="396113"/>
                </a:cubicBezTo>
                <a:cubicBezTo>
                  <a:pt x="403945" y="380181"/>
                  <a:pt x="393253" y="369492"/>
                  <a:pt x="376474" y="369492"/>
                </a:cubicBezTo>
                <a:cubicBezTo>
                  <a:pt x="367670" y="369492"/>
                  <a:pt x="357806" y="372005"/>
                  <a:pt x="351312" y="374518"/>
                </a:cubicBezTo>
                <a:lnTo>
                  <a:pt x="350891" y="373675"/>
                </a:lnTo>
                <a:cubicBezTo>
                  <a:pt x="366827" y="365078"/>
                  <a:pt x="373539" y="357119"/>
                  <a:pt x="373539" y="346009"/>
                </a:cubicBezTo>
                <a:cubicBezTo>
                  <a:pt x="373539" y="330077"/>
                  <a:pt x="359273" y="317500"/>
                  <a:pt x="334111" y="317500"/>
                </a:cubicBezTo>
                <a:close/>
                <a:moveTo>
                  <a:pt x="494539" y="320869"/>
                </a:moveTo>
                <a:lnTo>
                  <a:pt x="494539" y="429253"/>
                </a:lnTo>
                <a:cubicBezTo>
                  <a:pt x="494539" y="446855"/>
                  <a:pt x="487827" y="457341"/>
                  <a:pt x="471890" y="457341"/>
                </a:cubicBezTo>
                <a:cubicBezTo>
                  <a:pt x="455954" y="457341"/>
                  <a:pt x="449242" y="446230"/>
                  <a:pt x="449242" y="427148"/>
                </a:cubicBezTo>
                <a:lnTo>
                  <a:pt x="449242" y="407019"/>
                </a:lnTo>
                <a:lnTo>
                  <a:pt x="423238" y="413511"/>
                </a:lnTo>
                <a:lnTo>
                  <a:pt x="423238" y="422530"/>
                </a:lnTo>
                <a:cubicBezTo>
                  <a:pt x="423238" y="449993"/>
                  <a:pt x="436865" y="470950"/>
                  <a:pt x="471890" y="470950"/>
                </a:cubicBezTo>
                <a:lnTo>
                  <a:pt x="471890" y="470963"/>
                </a:lnTo>
                <a:cubicBezTo>
                  <a:pt x="506916" y="470963"/>
                  <a:pt x="520543" y="450006"/>
                  <a:pt x="520543" y="422543"/>
                </a:cubicBezTo>
                <a:lnTo>
                  <a:pt x="520543" y="320869"/>
                </a:lnTo>
                <a:lnTo>
                  <a:pt x="494539" y="320869"/>
                </a:lnTo>
                <a:close/>
                <a:moveTo>
                  <a:pt x="231154" y="320869"/>
                </a:moveTo>
                <a:lnTo>
                  <a:pt x="231154" y="429253"/>
                </a:lnTo>
                <a:cubicBezTo>
                  <a:pt x="231154" y="446855"/>
                  <a:pt x="224443" y="457341"/>
                  <a:pt x="208506" y="457341"/>
                </a:cubicBezTo>
                <a:cubicBezTo>
                  <a:pt x="192569" y="457341"/>
                  <a:pt x="185857" y="446230"/>
                  <a:pt x="185857" y="427148"/>
                </a:cubicBezTo>
                <a:lnTo>
                  <a:pt x="185857" y="407019"/>
                </a:lnTo>
                <a:lnTo>
                  <a:pt x="159853" y="413511"/>
                </a:lnTo>
                <a:lnTo>
                  <a:pt x="159853" y="422530"/>
                </a:lnTo>
                <a:cubicBezTo>
                  <a:pt x="159853" y="449993"/>
                  <a:pt x="173480" y="470950"/>
                  <a:pt x="208506" y="470950"/>
                </a:cubicBezTo>
                <a:cubicBezTo>
                  <a:pt x="243531" y="470950"/>
                  <a:pt x="257158" y="449993"/>
                  <a:pt x="257158" y="422530"/>
                </a:cubicBezTo>
                <a:lnTo>
                  <a:pt x="257158" y="320869"/>
                </a:lnTo>
                <a:lnTo>
                  <a:pt x="231154" y="320869"/>
                </a:lnTo>
                <a:close/>
              </a:path>
            </a:pathLst>
          </a:custGeom>
        </p:spPr>
        <p:txBody>
          <a:bodyPr vert="horz" wrap="square"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sz="1400" kern="1200">
                <a:solidFill>
                  <a:schemeClr val="tx1"/>
                </a:solidFill>
                <a:latin typeface="Basel Grotesk" panose="020B0503020202020204" pitchFamily="34" charset="0"/>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400" kern="1200">
                <a:solidFill>
                  <a:schemeClr val="tx1"/>
                </a:solidFill>
                <a:latin typeface="Basel Grotesk" panose="020B0503020202020204" pitchFamily="34" charset="0"/>
                <a:ea typeface="+mn-ea"/>
                <a:cs typeface="+mn-cs"/>
              </a:defRPr>
            </a:lvl2pPr>
            <a:lvl3pPr marL="546100" indent="-260350" algn="l" defTabSz="914400" rtl="0" eaLnBrk="1" latinLnBrk="0" hangingPunct="1">
              <a:lnSpc>
                <a:spcPct val="110000"/>
              </a:lnSpc>
              <a:spcBef>
                <a:spcPts val="0"/>
              </a:spcBef>
              <a:spcAft>
                <a:spcPts val="600"/>
              </a:spcAft>
              <a:buFont typeface="Arial" panose="020B0604020202020204" pitchFamily="34" charset="0"/>
              <a:buChar char="•"/>
              <a:tabLst/>
              <a:defRPr sz="1200" kern="1200">
                <a:solidFill>
                  <a:schemeClr val="tx1"/>
                </a:solidFill>
                <a:latin typeface="Basel Grotesk" panose="020B0503020202020204" pitchFamily="34" charset="0"/>
                <a:ea typeface="+mn-ea"/>
                <a:cs typeface="+mn-cs"/>
              </a:defRPr>
            </a:lvl3pPr>
            <a:lvl4pPr marL="0" indent="0" algn="l" defTabSz="914400" rtl="0" eaLnBrk="1" latinLnBrk="0" hangingPunct="1">
              <a:lnSpc>
                <a:spcPct val="85000"/>
              </a:lnSpc>
              <a:spcBef>
                <a:spcPts val="600"/>
              </a:spcBef>
              <a:spcAft>
                <a:spcPts val="0"/>
              </a:spcAft>
              <a:buFont typeface="Arial" panose="020B0604020202020204" pitchFamily="34" charset="0"/>
              <a:buNone/>
              <a:tabLst/>
              <a:defRPr sz="4500" kern="1200">
                <a:solidFill>
                  <a:schemeClr val="tx2"/>
                </a:solidFill>
                <a:latin typeface="Johnson Display BETA Display" pitchFamily="2" charset="77"/>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1400" kern="1200">
                <a:solidFill>
                  <a:schemeClr val="tx1"/>
                </a:solidFill>
                <a:latin typeface="Basel Grotesk"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b="0" i="0">
              <a:latin typeface="Johnson Text" pitchFamily="2" charset="77"/>
            </a:endParaRPr>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6321758" y="4376738"/>
            <a:ext cx="5580856" cy="1893886"/>
          </a:xfrm>
        </p:spPr>
        <p:txBody>
          <a:bodyPr/>
          <a:lstStyle>
            <a:lvl4pPr>
              <a:defRPr sz="50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6">
            <a:extLst>
              <a:ext uri="{FF2B5EF4-FFF2-40B4-BE49-F238E27FC236}">
                <a16:creationId xmlns:a16="http://schemas.microsoft.com/office/drawing/2014/main" id="{57139A87-57BC-3EA5-1A50-C7A9DA1DB2C1}"/>
              </a:ext>
            </a:extLst>
          </p:cNvPr>
          <p:cNvSpPr>
            <a:spLocks noGrp="1"/>
          </p:cNvSpPr>
          <p:nvPr>
            <p:ph type="title"/>
          </p:nvPr>
        </p:nvSpPr>
        <p:spPr>
          <a:xfrm>
            <a:off x="6323798" y="279525"/>
            <a:ext cx="5578817" cy="2733056"/>
          </a:xfrm>
        </p:spPr>
        <p:txBody>
          <a:bodyPr/>
          <a:lstStyle>
            <a:lvl1pPr>
              <a:lnSpc>
                <a:spcPct val="80000"/>
              </a:lnSpc>
              <a:defRPr sz="7400"/>
            </a:lvl1pPr>
          </a:lstStyle>
          <a:p>
            <a:r>
              <a:rPr lang="en-US"/>
              <a:t>Click to edit Master title style</a:t>
            </a:r>
          </a:p>
        </p:txBody>
      </p:sp>
    </p:spTree>
    <p:extLst>
      <p:ext uri="{BB962C8B-B14F-4D97-AF65-F5344CB8AC3E}">
        <p14:creationId xmlns:p14="http://schemas.microsoft.com/office/powerpoint/2010/main" val="27681864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Images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6170614" y="0"/>
            <a:ext cx="6021385" cy="3429000"/>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r>
              <a:rPr lang="en-US"/>
              <a:t>Job Aid and Guidance Document still under review.</a:t>
            </a:r>
            <a:endParaRPr lang="en-GB"/>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289384" y="2338387"/>
            <a:ext cx="5732003" cy="3932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Picture Placeholder 5">
            <a:extLst>
              <a:ext uri="{FF2B5EF4-FFF2-40B4-BE49-F238E27FC236}">
                <a16:creationId xmlns:a16="http://schemas.microsoft.com/office/drawing/2014/main" id="{1CA8347E-5487-FBA2-2DD4-3FD601BD3B4C}"/>
              </a:ext>
            </a:extLst>
          </p:cNvPr>
          <p:cNvSpPr>
            <a:spLocks noGrp="1"/>
          </p:cNvSpPr>
          <p:nvPr>
            <p:ph type="pic" sz="quarter" idx="14" hasCustomPrompt="1"/>
          </p:nvPr>
        </p:nvSpPr>
        <p:spPr>
          <a:xfrm>
            <a:off x="6170614" y="3429000"/>
            <a:ext cx="6021385" cy="3429000"/>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9" name="Title 7">
            <a:extLst>
              <a:ext uri="{FF2B5EF4-FFF2-40B4-BE49-F238E27FC236}">
                <a16:creationId xmlns:a16="http://schemas.microsoft.com/office/drawing/2014/main" id="{B6AE2399-BFCA-491C-607D-8EC33F29B034}"/>
              </a:ext>
            </a:extLst>
          </p:cNvPr>
          <p:cNvSpPr>
            <a:spLocks noGrp="1"/>
          </p:cNvSpPr>
          <p:nvPr>
            <p:ph type="title" hasCustomPrompt="1"/>
          </p:nvPr>
        </p:nvSpPr>
        <p:spPr>
          <a:xfrm>
            <a:off x="288303" y="262800"/>
            <a:ext cx="5733085" cy="454529"/>
          </a:xfrm>
        </p:spPr>
        <p:txBody>
          <a:bodyPr/>
          <a:lstStyle/>
          <a:p>
            <a:r>
              <a:rPr lang="en-US"/>
              <a:t>Master title style</a:t>
            </a:r>
            <a:endParaRPr lang="en-GB"/>
          </a:p>
        </p:txBody>
      </p:sp>
      <p:sp>
        <p:nvSpPr>
          <p:cNvPr id="8" name="Subtitle 2">
            <a:extLst>
              <a:ext uri="{FF2B5EF4-FFF2-40B4-BE49-F238E27FC236}">
                <a16:creationId xmlns:a16="http://schemas.microsoft.com/office/drawing/2014/main" id="{42AEA74B-CBA6-2617-8389-0A8FBEB074F7}"/>
              </a:ext>
            </a:extLst>
          </p:cNvPr>
          <p:cNvSpPr>
            <a:spLocks noGrp="1"/>
          </p:cNvSpPr>
          <p:nvPr>
            <p:ph type="subTitle" idx="16" hasCustomPrompt="1"/>
          </p:nvPr>
        </p:nvSpPr>
        <p:spPr>
          <a:xfrm>
            <a:off x="288302" y="713620"/>
            <a:ext cx="5732003"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9700210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Images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6170615" y="0"/>
            <a:ext cx="3010694" cy="3429000"/>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r>
              <a:rPr lang="en-US"/>
              <a:t>Job Aid and Guidance Document still under review.</a:t>
            </a:r>
            <a:endParaRPr lang="en-GB"/>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289384" y="2338387"/>
            <a:ext cx="5732003" cy="3932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Picture Placeholder 5">
            <a:extLst>
              <a:ext uri="{FF2B5EF4-FFF2-40B4-BE49-F238E27FC236}">
                <a16:creationId xmlns:a16="http://schemas.microsoft.com/office/drawing/2014/main" id="{1CA8347E-5487-FBA2-2DD4-3FD601BD3B4C}"/>
              </a:ext>
            </a:extLst>
          </p:cNvPr>
          <p:cNvSpPr>
            <a:spLocks noGrp="1"/>
          </p:cNvSpPr>
          <p:nvPr>
            <p:ph type="pic" sz="quarter" idx="14" hasCustomPrompt="1"/>
          </p:nvPr>
        </p:nvSpPr>
        <p:spPr>
          <a:xfrm>
            <a:off x="6170614" y="3429000"/>
            <a:ext cx="6021385" cy="3429000"/>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8" name="Picture Placeholder 5">
            <a:extLst>
              <a:ext uri="{FF2B5EF4-FFF2-40B4-BE49-F238E27FC236}">
                <a16:creationId xmlns:a16="http://schemas.microsoft.com/office/drawing/2014/main" id="{341FD64A-0587-F581-84E0-EA06B4D33540}"/>
              </a:ext>
            </a:extLst>
          </p:cNvPr>
          <p:cNvSpPr>
            <a:spLocks noGrp="1"/>
          </p:cNvSpPr>
          <p:nvPr>
            <p:ph type="pic" sz="quarter" idx="15" hasCustomPrompt="1"/>
          </p:nvPr>
        </p:nvSpPr>
        <p:spPr>
          <a:xfrm>
            <a:off x="9181307" y="0"/>
            <a:ext cx="3010694" cy="3429000"/>
          </a:xfrm>
          <a:solidFill>
            <a:srgbClr val="F6F3F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0" name="Title 7">
            <a:extLst>
              <a:ext uri="{FF2B5EF4-FFF2-40B4-BE49-F238E27FC236}">
                <a16:creationId xmlns:a16="http://schemas.microsoft.com/office/drawing/2014/main" id="{27A145F5-DB46-62B4-C485-DD186AF7BDC2}"/>
              </a:ext>
            </a:extLst>
          </p:cNvPr>
          <p:cNvSpPr>
            <a:spLocks noGrp="1"/>
          </p:cNvSpPr>
          <p:nvPr>
            <p:ph type="title" hasCustomPrompt="1"/>
          </p:nvPr>
        </p:nvSpPr>
        <p:spPr>
          <a:xfrm>
            <a:off x="288303" y="262800"/>
            <a:ext cx="5733085" cy="454529"/>
          </a:xfrm>
        </p:spPr>
        <p:txBody>
          <a:bodyPr/>
          <a:lstStyle/>
          <a:p>
            <a:r>
              <a:rPr lang="en-US"/>
              <a:t>Master title style</a:t>
            </a:r>
            <a:endParaRPr lang="en-GB"/>
          </a:p>
        </p:txBody>
      </p:sp>
      <p:sp>
        <p:nvSpPr>
          <p:cNvPr id="9" name="Subtitle 2">
            <a:extLst>
              <a:ext uri="{FF2B5EF4-FFF2-40B4-BE49-F238E27FC236}">
                <a16:creationId xmlns:a16="http://schemas.microsoft.com/office/drawing/2014/main" id="{A588C0CC-43FB-4401-B34D-842E1E15D0E5}"/>
              </a:ext>
            </a:extLst>
          </p:cNvPr>
          <p:cNvSpPr>
            <a:spLocks noGrp="1"/>
          </p:cNvSpPr>
          <p:nvPr>
            <p:ph type="subTitle" idx="16" hasCustomPrompt="1"/>
          </p:nvPr>
        </p:nvSpPr>
        <p:spPr>
          <a:xfrm>
            <a:off x="288302" y="713620"/>
            <a:ext cx="5732003"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99293720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Content and Captio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6165850" y="2338388"/>
            <a:ext cx="5734051" cy="3932235"/>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r>
              <a:rPr lang="en-US"/>
              <a:t>Job Aid and Guidance Document still under review.</a:t>
            </a:r>
            <a:endParaRPr lang="en-GB"/>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289384" y="2338387"/>
            <a:ext cx="5732003" cy="3932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3">
            <a:extLst>
              <a:ext uri="{FF2B5EF4-FFF2-40B4-BE49-F238E27FC236}">
                <a16:creationId xmlns:a16="http://schemas.microsoft.com/office/drawing/2014/main" id="{1F2CC53D-B78D-E756-7E3B-FA565E8B9E1D}"/>
              </a:ext>
            </a:extLst>
          </p:cNvPr>
          <p:cNvSpPr>
            <a:spLocks noGrp="1"/>
          </p:cNvSpPr>
          <p:nvPr>
            <p:ph type="body" sz="quarter" idx="14"/>
          </p:nvPr>
        </p:nvSpPr>
        <p:spPr>
          <a:xfrm>
            <a:off x="10083801" y="1306513"/>
            <a:ext cx="1816100" cy="904875"/>
          </a:xfrm>
        </p:spPr>
        <p:txBody>
          <a:bodyPr anchor="b"/>
          <a:lstStyle>
            <a:lvl1pPr>
              <a:spcBef>
                <a:spcPts val="0"/>
              </a:spcBef>
              <a:spcAft>
                <a:spcPts val="300"/>
              </a:spcAft>
              <a:defRPr lang="en-GB" sz="1000" b="0" i="0" kern="1200" dirty="0">
                <a:solidFill>
                  <a:schemeClr val="tx1"/>
                </a:solidFill>
                <a:latin typeface="+mn-lt"/>
                <a:ea typeface="+mn-ea"/>
                <a:cs typeface="+mn-cs"/>
              </a:defRPr>
            </a:lvl1pPr>
            <a:lvl2pPr marL="93663" indent="-93663">
              <a:spcBef>
                <a:spcPts val="0"/>
              </a:spcBef>
              <a:spcAft>
                <a:spcPts val="300"/>
              </a:spcAft>
              <a:tabLst/>
              <a:defRPr lang="en-GB" sz="1000" b="0" i="0" kern="1200" dirty="0">
                <a:solidFill>
                  <a:schemeClr val="tx1"/>
                </a:solidFill>
                <a:latin typeface="+mn-lt"/>
                <a:ea typeface="+mn-ea"/>
                <a:cs typeface="+mn-cs"/>
              </a:defRPr>
            </a:lvl2pPr>
            <a:lvl3pPr marL="179388" indent="-85725">
              <a:spcBef>
                <a:spcPts val="0"/>
              </a:spcBef>
              <a:spcAft>
                <a:spcPts val="300"/>
              </a:spcAft>
              <a:tabLst/>
              <a:defRPr lang="en-GB" sz="1000" b="0" i="0" kern="1200" dirty="0">
                <a:solidFill>
                  <a:schemeClr val="tx1"/>
                </a:solidFill>
                <a:latin typeface="+mn-lt"/>
                <a:ea typeface="+mn-ea"/>
                <a:cs typeface="+mn-cs"/>
              </a:defRPr>
            </a:lvl3pPr>
            <a:lvl4pPr>
              <a:defRPr sz="1000"/>
            </a:lvl4pPr>
            <a:lvl5pPr>
              <a:defRPr sz="1000"/>
            </a:lvl5pPr>
          </a:lstStyle>
          <a:p>
            <a:pPr lvl="0"/>
            <a:r>
              <a:rPr lang="en-US"/>
              <a:t>Click to edit Master text styles</a:t>
            </a:r>
          </a:p>
          <a:p>
            <a:pPr lvl="1"/>
            <a:r>
              <a:rPr lang="en-US"/>
              <a:t>Second level</a:t>
            </a:r>
          </a:p>
          <a:p>
            <a:pPr lvl="2"/>
            <a:r>
              <a:rPr lang="en-US"/>
              <a:t>Third level</a:t>
            </a:r>
          </a:p>
        </p:txBody>
      </p:sp>
      <p:sp>
        <p:nvSpPr>
          <p:cNvPr id="9" name="Title 8">
            <a:extLst>
              <a:ext uri="{FF2B5EF4-FFF2-40B4-BE49-F238E27FC236}">
                <a16:creationId xmlns:a16="http://schemas.microsoft.com/office/drawing/2014/main" id="{86327D50-E20F-7EBC-9440-36E657CCB2B0}"/>
              </a:ext>
            </a:extLst>
          </p:cNvPr>
          <p:cNvSpPr>
            <a:spLocks noGrp="1"/>
          </p:cNvSpPr>
          <p:nvPr>
            <p:ph type="title"/>
          </p:nvPr>
        </p:nvSpPr>
        <p:spPr>
          <a:xfrm>
            <a:off x="288303" y="262267"/>
            <a:ext cx="8672513" cy="457818"/>
          </a:xfrm>
        </p:spPr>
        <p:txBody>
          <a:bodyPr/>
          <a:lstStyle/>
          <a:p>
            <a:r>
              <a:rPr lang="en-US"/>
              <a:t>Click to edit Master title style</a:t>
            </a:r>
            <a:endParaRPr lang="en-GB"/>
          </a:p>
        </p:txBody>
      </p:sp>
      <p:sp>
        <p:nvSpPr>
          <p:cNvPr id="7" name="Subtitle 2">
            <a:extLst>
              <a:ext uri="{FF2B5EF4-FFF2-40B4-BE49-F238E27FC236}">
                <a16:creationId xmlns:a16="http://schemas.microsoft.com/office/drawing/2014/main" id="{28482B98-7AE9-6F29-768C-189744E8C745}"/>
              </a:ext>
            </a:extLst>
          </p:cNvPr>
          <p:cNvSpPr>
            <a:spLocks noGrp="1"/>
          </p:cNvSpPr>
          <p:nvPr>
            <p:ph type="subTitle" idx="16" hasCustomPrompt="1"/>
          </p:nvPr>
        </p:nvSpPr>
        <p:spPr>
          <a:xfrm>
            <a:off x="288301" y="713620"/>
            <a:ext cx="8672513"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29660380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Images, Content and Captions">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9104313" y="2338386"/>
            <a:ext cx="2795588" cy="3932237"/>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r>
              <a:rPr lang="en-US"/>
              <a:t>Job Aid and Guidance Document still under review.</a:t>
            </a:r>
            <a:endParaRPr lang="en-GB"/>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289384" y="2338387"/>
            <a:ext cx="5732003" cy="3932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3">
            <a:extLst>
              <a:ext uri="{FF2B5EF4-FFF2-40B4-BE49-F238E27FC236}">
                <a16:creationId xmlns:a16="http://schemas.microsoft.com/office/drawing/2014/main" id="{1F2CC53D-B78D-E756-7E3B-FA565E8B9E1D}"/>
              </a:ext>
            </a:extLst>
          </p:cNvPr>
          <p:cNvSpPr>
            <a:spLocks noGrp="1"/>
          </p:cNvSpPr>
          <p:nvPr>
            <p:ph type="body" sz="quarter" idx="14"/>
          </p:nvPr>
        </p:nvSpPr>
        <p:spPr>
          <a:xfrm>
            <a:off x="9104313" y="1306513"/>
            <a:ext cx="1816100" cy="904875"/>
          </a:xfrm>
        </p:spPr>
        <p:txBody>
          <a:bodyPr anchor="b"/>
          <a:lstStyle>
            <a:lvl1pPr>
              <a:spcBef>
                <a:spcPts val="0"/>
              </a:spcBef>
              <a:spcAft>
                <a:spcPts val="300"/>
              </a:spcAft>
              <a:defRPr lang="en-GB" sz="1000" b="0" i="0" kern="1200" dirty="0">
                <a:solidFill>
                  <a:schemeClr val="tx1"/>
                </a:solidFill>
                <a:latin typeface="+mn-lt"/>
                <a:ea typeface="+mn-ea"/>
                <a:cs typeface="+mn-cs"/>
              </a:defRPr>
            </a:lvl1pPr>
            <a:lvl2pPr marL="93663" indent="-93663">
              <a:spcBef>
                <a:spcPts val="0"/>
              </a:spcBef>
              <a:spcAft>
                <a:spcPts val="300"/>
              </a:spcAft>
              <a:tabLst/>
              <a:defRPr lang="en-GB" sz="1000" b="0" i="0" kern="1200" dirty="0">
                <a:solidFill>
                  <a:schemeClr val="tx1"/>
                </a:solidFill>
                <a:latin typeface="+mn-lt"/>
                <a:ea typeface="+mn-ea"/>
                <a:cs typeface="+mn-cs"/>
              </a:defRPr>
            </a:lvl2pPr>
            <a:lvl3pPr marL="179388" indent="-85725">
              <a:spcBef>
                <a:spcPts val="0"/>
              </a:spcBef>
              <a:spcAft>
                <a:spcPts val="300"/>
              </a:spcAft>
              <a:tabLst/>
              <a:defRPr lang="en-GB" sz="1000" b="0" i="0" kern="1200" dirty="0">
                <a:solidFill>
                  <a:schemeClr val="tx1"/>
                </a:solidFill>
                <a:latin typeface="+mn-lt"/>
                <a:ea typeface="+mn-ea"/>
                <a:cs typeface="+mn-cs"/>
              </a:defRPr>
            </a:lvl3pPr>
            <a:lvl4pPr>
              <a:defRPr sz="1000"/>
            </a:lvl4pPr>
            <a:lvl5pPr>
              <a:defRPr sz="1000"/>
            </a:lvl5pPr>
          </a:lstStyle>
          <a:p>
            <a:pPr lvl="0"/>
            <a:r>
              <a:rPr lang="en-US"/>
              <a:t>Click to edit Master text styles</a:t>
            </a:r>
          </a:p>
          <a:p>
            <a:pPr lvl="1"/>
            <a:r>
              <a:rPr lang="en-US"/>
              <a:t>Second level</a:t>
            </a:r>
          </a:p>
          <a:p>
            <a:pPr lvl="2"/>
            <a:r>
              <a:rPr lang="en-US"/>
              <a:t>Third level</a:t>
            </a:r>
          </a:p>
        </p:txBody>
      </p:sp>
      <p:sp>
        <p:nvSpPr>
          <p:cNvPr id="7" name="Picture Placeholder 5">
            <a:extLst>
              <a:ext uri="{FF2B5EF4-FFF2-40B4-BE49-F238E27FC236}">
                <a16:creationId xmlns:a16="http://schemas.microsoft.com/office/drawing/2014/main" id="{07C8FFB5-0C36-EA56-18AE-AE4E3A5B96B2}"/>
              </a:ext>
            </a:extLst>
          </p:cNvPr>
          <p:cNvSpPr>
            <a:spLocks noGrp="1"/>
          </p:cNvSpPr>
          <p:nvPr>
            <p:ph type="pic" sz="quarter" idx="15" hasCustomPrompt="1"/>
          </p:nvPr>
        </p:nvSpPr>
        <p:spPr>
          <a:xfrm>
            <a:off x="6165850" y="2338386"/>
            <a:ext cx="2800351" cy="3932237"/>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9" name="Text Placeholder 3">
            <a:extLst>
              <a:ext uri="{FF2B5EF4-FFF2-40B4-BE49-F238E27FC236}">
                <a16:creationId xmlns:a16="http://schemas.microsoft.com/office/drawing/2014/main" id="{D8A04C51-CF13-9F12-8A02-3FDDCF07D12F}"/>
              </a:ext>
            </a:extLst>
          </p:cNvPr>
          <p:cNvSpPr>
            <a:spLocks noGrp="1"/>
          </p:cNvSpPr>
          <p:nvPr>
            <p:ph type="body" sz="quarter" idx="16"/>
          </p:nvPr>
        </p:nvSpPr>
        <p:spPr>
          <a:xfrm>
            <a:off x="6165850" y="1306513"/>
            <a:ext cx="1816100" cy="904875"/>
          </a:xfrm>
        </p:spPr>
        <p:txBody>
          <a:bodyPr anchor="b"/>
          <a:lstStyle>
            <a:lvl1pPr>
              <a:spcBef>
                <a:spcPts val="0"/>
              </a:spcBef>
              <a:spcAft>
                <a:spcPts val="300"/>
              </a:spcAft>
              <a:defRPr lang="en-GB" sz="1000" b="0" i="0" kern="1200" dirty="0">
                <a:solidFill>
                  <a:schemeClr val="tx1"/>
                </a:solidFill>
                <a:latin typeface="+mn-lt"/>
                <a:ea typeface="+mn-ea"/>
                <a:cs typeface="+mn-cs"/>
              </a:defRPr>
            </a:lvl1pPr>
            <a:lvl2pPr marL="93663" indent="-93663">
              <a:spcBef>
                <a:spcPts val="0"/>
              </a:spcBef>
              <a:spcAft>
                <a:spcPts val="300"/>
              </a:spcAft>
              <a:tabLst/>
              <a:defRPr lang="en-GB" sz="1000" b="0" i="0" kern="1200" dirty="0">
                <a:solidFill>
                  <a:schemeClr val="tx1"/>
                </a:solidFill>
                <a:latin typeface="+mn-lt"/>
                <a:ea typeface="+mn-ea"/>
                <a:cs typeface="+mn-cs"/>
              </a:defRPr>
            </a:lvl2pPr>
            <a:lvl3pPr marL="179388" indent="-85725">
              <a:spcBef>
                <a:spcPts val="0"/>
              </a:spcBef>
              <a:spcAft>
                <a:spcPts val="300"/>
              </a:spcAft>
              <a:tabLst/>
              <a:defRPr lang="en-GB" sz="1000" b="0" i="0" kern="1200" dirty="0">
                <a:solidFill>
                  <a:schemeClr val="tx1"/>
                </a:solidFill>
                <a:latin typeface="+mn-lt"/>
                <a:ea typeface="+mn-ea"/>
                <a:cs typeface="+mn-cs"/>
              </a:defRPr>
            </a:lvl3pPr>
            <a:lvl4pPr>
              <a:defRPr sz="1000"/>
            </a:lvl4pPr>
            <a:lvl5pPr>
              <a:defRPr sz="1000"/>
            </a:lvl5pPr>
          </a:lstStyle>
          <a:p>
            <a:pPr lvl="0"/>
            <a:r>
              <a:rPr lang="en-US"/>
              <a:t>Click to edit Master text styles</a:t>
            </a:r>
          </a:p>
          <a:p>
            <a:pPr lvl="1"/>
            <a:r>
              <a:rPr lang="en-US"/>
              <a:t>Second level</a:t>
            </a:r>
          </a:p>
          <a:p>
            <a:pPr lvl="2"/>
            <a:r>
              <a:rPr lang="en-US"/>
              <a:t>Third level</a:t>
            </a:r>
          </a:p>
        </p:txBody>
      </p:sp>
      <p:sp>
        <p:nvSpPr>
          <p:cNvPr id="11" name="Title 7">
            <a:extLst>
              <a:ext uri="{FF2B5EF4-FFF2-40B4-BE49-F238E27FC236}">
                <a16:creationId xmlns:a16="http://schemas.microsoft.com/office/drawing/2014/main" id="{48C95821-C865-9139-DE3E-F11442D8306C}"/>
              </a:ext>
            </a:extLst>
          </p:cNvPr>
          <p:cNvSpPr>
            <a:spLocks noGrp="1"/>
          </p:cNvSpPr>
          <p:nvPr>
            <p:ph type="title" hasCustomPrompt="1"/>
          </p:nvPr>
        </p:nvSpPr>
        <p:spPr>
          <a:xfrm>
            <a:off x="288303" y="262800"/>
            <a:ext cx="8673135" cy="454529"/>
          </a:xfrm>
        </p:spPr>
        <p:txBody>
          <a:bodyPr/>
          <a:lstStyle/>
          <a:p>
            <a:r>
              <a:rPr lang="en-US"/>
              <a:t>Master title style</a:t>
            </a:r>
            <a:endParaRPr lang="en-GB"/>
          </a:p>
        </p:txBody>
      </p:sp>
      <p:sp>
        <p:nvSpPr>
          <p:cNvPr id="10" name="Subtitle 2">
            <a:extLst>
              <a:ext uri="{FF2B5EF4-FFF2-40B4-BE49-F238E27FC236}">
                <a16:creationId xmlns:a16="http://schemas.microsoft.com/office/drawing/2014/main" id="{949BA43B-6BD5-72DE-5D4D-B0BAD4FEEA2B}"/>
              </a:ext>
            </a:extLst>
          </p:cNvPr>
          <p:cNvSpPr>
            <a:spLocks noGrp="1"/>
          </p:cNvSpPr>
          <p:nvPr>
            <p:ph type="subTitle" idx="17" hasCustomPrompt="1"/>
          </p:nvPr>
        </p:nvSpPr>
        <p:spPr>
          <a:xfrm>
            <a:off x="288302" y="713620"/>
            <a:ext cx="8671498"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6591322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Images, Content and Captions Stacke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8124825" y="291038"/>
            <a:ext cx="3775076" cy="2922062"/>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4" name="Footer Placeholder 3">
            <a:extLst>
              <a:ext uri="{FF2B5EF4-FFF2-40B4-BE49-F238E27FC236}">
                <a16:creationId xmlns:a16="http://schemas.microsoft.com/office/drawing/2014/main" id="{4C3DE09C-0B1B-D45B-6ABB-863B5E08717C}"/>
              </a:ext>
            </a:extLst>
          </p:cNvPr>
          <p:cNvSpPr>
            <a:spLocks noGrp="1"/>
          </p:cNvSpPr>
          <p:nvPr>
            <p:ph type="ftr" sz="quarter" idx="11"/>
          </p:nvPr>
        </p:nvSpPr>
        <p:spPr/>
        <p:txBody>
          <a:bodyPr/>
          <a:lstStyle/>
          <a:p>
            <a:r>
              <a:rPr lang="en-US"/>
              <a:t>Job Aid and Guidance Document still under review.</a:t>
            </a:r>
            <a:endParaRPr lang="en-GB"/>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p:nvPr>
        </p:nvSpPr>
        <p:spPr>
          <a:xfrm>
            <a:off x="289385" y="2338387"/>
            <a:ext cx="4750422" cy="3932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3">
            <a:extLst>
              <a:ext uri="{FF2B5EF4-FFF2-40B4-BE49-F238E27FC236}">
                <a16:creationId xmlns:a16="http://schemas.microsoft.com/office/drawing/2014/main" id="{D8A04C51-CF13-9F12-8A02-3FDDCF07D12F}"/>
              </a:ext>
            </a:extLst>
          </p:cNvPr>
          <p:cNvSpPr>
            <a:spLocks noGrp="1"/>
          </p:cNvSpPr>
          <p:nvPr>
            <p:ph type="body" sz="quarter" idx="16"/>
          </p:nvPr>
        </p:nvSpPr>
        <p:spPr>
          <a:xfrm>
            <a:off x="6165850" y="263526"/>
            <a:ext cx="1816099" cy="901700"/>
          </a:xfrm>
        </p:spPr>
        <p:txBody>
          <a:bodyPr/>
          <a:lstStyle>
            <a:lvl1pPr>
              <a:spcBef>
                <a:spcPts val="0"/>
              </a:spcBef>
              <a:spcAft>
                <a:spcPts val="300"/>
              </a:spcAft>
              <a:defRPr lang="en-GB" sz="1000" b="0" i="0" kern="1200" dirty="0">
                <a:solidFill>
                  <a:schemeClr val="tx1"/>
                </a:solidFill>
                <a:latin typeface="+mn-lt"/>
                <a:ea typeface="+mn-ea"/>
                <a:cs typeface="+mn-cs"/>
              </a:defRPr>
            </a:lvl1pPr>
            <a:lvl2pPr marL="93663" indent="-93663">
              <a:spcBef>
                <a:spcPts val="0"/>
              </a:spcBef>
              <a:spcAft>
                <a:spcPts val="300"/>
              </a:spcAft>
              <a:tabLst/>
              <a:defRPr lang="en-GB" sz="1000" b="0" i="0" kern="1200" dirty="0">
                <a:solidFill>
                  <a:schemeClr val="tx1"/>
                </a:solidFill>
                <a:latin typeface="+mn-lt"/>
                <a:ea typeface="+mn-ea"/>
                <a:cs typeface="+mn-cs"/>
              </a:defRPr>
            </a:lvl2pPr>
            <a:lvl3pPr marL="179388" indent="-85725">
              <a:spcBef>
                <a:spcPts val="0"/>
              </a:spcBef>
              <a:spcAft>
                <a:spcPts val="300"/>
              </a:spcAft>
              <a:tabLst/>
              <a:defRPr lang="en-GB" sz="1000" b="0" i="0" kern="1200" dirty="0">
                <a:solidFill>
                  <a:schemeClr val="tx1"/>
                </a:solidFill>
                <a:latin typeface="+mn-lt"/>
                <a:ea typeface="+mn-ea"/>
                <a:cs typeface="+mn-cs"/>
              </a:defRPr>
            </a:lvl3pPr>
            <a:lvl4pPr>
              <a:defRPr sz="1000"/>
            </a:lvl4pPr>
            <a:lvl5pPr>
              <a:defRPr sz="1000"/>
            </a:lvl5pPr>
          </a:lstStyle>
          <a:p>
            <a:pPr lvl="0"/>
            <a:r>
              <a:rPr lang="en-US"/>
              <a:t>Click to edit Master text styles</a:t>
            </a:r>
          </a:p>
          <a:p>
            <a:pPr lvl="1"/>
            <a:r>
              <a:rPr lang="en-US"/>
              <a:t>Second level</a:t>
            </a:r>
          </a:p>
          <a:p>
            <a:pPr lvl="2"/>
            <a:r>
              <a:rPr lang="en-US"/>
              <a:t>Third level</a:t>
            </a:r>
          </a:p>
        </p:txBody>
      </p:sp>
      <p:sp>
        <p:nvSpPr>
          <p:cNvPr id="10" name="Picture Placeholder 5">
            <a:extLst>
              <a:ext uri="{FF2B5EF4-FFF2-40B4-BE49-F238E27FC236}">
                <a16:creationId xmlns:a16="http://schemas.microsoft.com/office/drawing/2014/main" id="{7E2F9960-1383-47B5-D5A0-E3568E633105}"/>
              </a:ext>
            </a:extLst>
          </p:cNvPr>
          <p:cNvSpPr>
            <a:spLocks noGrp="1"/>
          </p:cNvSpPr>
          <p:nvPr>
            <p:ph type="pic" sz="quarter" idx="17" hasCustomPrompt="1"/>
          </p:nvPr>
        </p:nvSpPr>
        <p:spPr>
          <a:xfrm>
            <a:off x="8124825" y="3357564"/>
            <a:ext cx="3775076" cy="2913062"/>
          </a:xfrm>
          <a:solidFill>
            <a:srgbClr val="F6F3F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1" name="Text Placeholder 3">
            <a:extLst>
              <a:ext uri="{FF2B5EF4-FFF2-40B4-BE49-F238E27FC236}">
                <a16:creationId xmlns:a16="http://schemas.microsoft.com/office/drawing/2014/main" id="{1157324B-BE85-4E3F-8A71-8D472DC1443F}"/>
              </a:ext>
            </a:extLst>
          </p:cNvPr>
          <p:cNvSpPr>
            <a:spLocks noGrp="1"/>
          </p:cNvSpPr>
          <p:nvPr>
            <p:ph type="body" sz="quarter" idx="18"/>
          </p:nvPr>
        </p:nvSpPr>
        <p:spPr>
          <a:xfrm>
            <a:off x="6170614" y="3334276"/>
            <a:ext cx="1811335" cy="904875"/>
          </a:xfrm>
        </p:spPr>
        <p:txBody>
          <a:bodyPr/>
          <a:lstStyle>
            <a:lvl1pPr>
              <a:spcBef>
                <a:spcPts val="0"/>
              </a:spcBef>
              <a:spcAft>
                <a:spcPts val="300"/>
              </a:spcAft>
              <a:defRPr lang="en-GB" sz="1000" b="0" i="0" kern="1200" dirty="0">
                <a:solidFill>
                  <a:schemeClr val="tx1"/>
                </a:solidFill>
                <a:latin typeface="+mn-lt"/>
                <a:ea typeface="+mn-ea"/>
                <a:cs typeface="+mn-cs"/>
              </a:defRPr>
            </a:lvl1pPr>
            <a:lvl2pPr marL="93663" indent="-93663">
              <a:spcBef>
                <a:spcPts val="0"/>
              </a:spcBef>
              <a:spcAft>
                <a:spcPts val="300"/>
              </a:spcAft>
              <a:tabLst/>
              <a:defRPr lang="en-GB" sz="1000" b="0" i="0" kern="1200" dirty="0">
                <a:solidFill>
                  <a:schemeClr val="tx1"/>
                </a:solidFill>
                <a:latin typeface="+mn-lt"/>
                <a:ea typeface="+mn-ea"/>
                <a:cs typeface="+mn-cs"/>
              </a:defRPr>
            </a:lvl2pPr>
            <a:lvl3pPr marL="179388" indent="-85725">
              <a:spcBef>
                <a:spcPts val="0"/>
              </a:spcBef>
              <a:spcAft>
                <a:spcPts val="300"/>
              </a:spcAft>
              <a:tabLst/>
              <a:defRPr lang="en-GB" sz="1000" b="0" i="0" kern="1200" dirty="0">
                <a:solidFill>
                  <a:schemeClr val="tx1"/>
                </a:solidFill>
                <a:latin typeface="+mn-lt"/>
                <a:ea typeface="+mn-ea"/>
                <a:cs typeface="+mn-cs"/>
              </a:defRPr>
            </a:lvl3pPr>
            <a:lvl4pPr>
              <a:defRPr sz="1000"/>
            </a:lvl4pPr>
            <a:lvl5pPr>
              <a:defRPr sz="1000"/>
            </a:lvl5pPr>
          </a:lstStyle>
          <a:p>
            <a:pPr lvl="0"/>
            <a:r>
              <a:rPr lang="en-US"/>
              <a:t>Click to edit Master text styles</a:t>
            </a:r>
          </a:p>
          <a:p>
            <a:pPr lvl="1"/>
            <a:r>
              <a:rPr lang="en-US"/>
              <a:t>Second level</a:t>
            </a:r>
          </a:p>
          <a:p>
            <a:pPr lvl="2"/>
            <a:r>
              <a:rPr lang="en-US"/>
              <a:t>Third level</a:t>
            </a:r>
          </a:p>
        </p:txBody>
      </p:sp>
      <p:sp>
        <p:nvSpPr>
          <p:cNvPr id="8" name="Title 7">
            <a:extLst>
              <a:ext uri="{FF2B5EF4-FFF2-40B4-BE49-F238E27FC236}">
                <a16:creationId xmlns:a16="http://schemas.microsoft.com/office/drawing/2014/main" id="{A4141273-8612-0373-5CE1-A74C8304F40A}"/>
              </a:ext>
            </a:extLst>
          </p:cNvPr>
          <p:cNvSpPr>
            <a:spLocks noGrp="1"/>
          </p:cNvSpPr>
          <p:nvPr>
            <p:ph type="title" hasCustomPrompt="1"/>
          </p:nvPr>
        </p:nvSpPr>
        <p:spPr>
          <a:xfrm>
            <a:off x="288303" y="262800"/>
            <a:ext cx="4750421" cy="454529"/>
          </a:xfrm>
        </p:spPr>
        <p:txBody>
          <a:bodyPr/>
          <a:lstStyle/>
          <a:p>
            <a:r>
              <a:rPr lang="en-US"/>
              <a:t>Master title style</a:t>
            </a:r>
            <a:endParaRPr lang="en-GB"/>
          </a:p>
        </p:txBody>
      </p:sp>
      <p:sp>
        <p:nvSpPr>
          <p:cNvPr id="7" name="Subtitle 2">
            <a:extLst>
              <a:ext uri="{FF2B5EF4-FFF2-40B4-BE49-F238E27FC236}">
                <a16:creationId xmlns:a16="http://schemas.microsoft.com/office/drawing/2014/main" id="{460EC19D-5C44-4557-54CE-FA6CE565E479}"/>
              </a:ext>
            </a:extLst>
          </p:cNvPr>
          <p:cNvSpPr>
            <a:spLocks noGrp="1"/>
          </p:cNvSpPr>
          <p:nvPr>
            <p:ph type="subTitle" idx="19" hasCustomPrompt="1"/>
          </p:nvPr>
        </p:nvSpPr>
        <p:spPr>
          <a:xfrm>
            <a:off x="288302" y="713620"/>
            <a:ext cx="4750421"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17362072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Left Side, Two Images and Text ">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7150102" y="-1"/>
            <a:ext cx="5041900" cy="3357563"/>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0" y="3357563"/>
            <a:ext cx="6022552" cy="3499955"/>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6" name="Text Placeholder 5">
            <a:extLst>
              <a:ext uri="{FF2B5EF4-FFF2-40B4-BE49-F238E27FC236}">
                <a16:creationId xmlns:a16="http://schemas.microsoft.com/office/drawing/2014/main" id="{899B3B30-291B-0259-955A-B312868ADB24}"/>
              </a:ext>
            </a:extLst>
          </p:cNvPr>
          <p:cNvSpPr>
            <a:spLocks noGrp="1"/>
          </p:cNvSpPr>
          <p:nvPr>
            <p:ph type="body" sz="quarter" idx="15"/>
          </p:nvPr>
        </p:nvSpPr>
        <p:spPr>
          <a:xfrm>
            <a:off x="7150102" y="4376738"/>
            <a:ext cx="4754562" cy="1893887"/>
          </a:xfrm>
        </p:spPr>
        <p:txBody>
          <a:bodyPr/>
          <a:lstStyle>
            <a:lvl4pPr>
              <a:defRPr lang="en-GB" sz="40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1">
            <a:extLst>
              <a:ext uri="{FF2B5EF4-FFF2-40B4-BE49-F238E27FC236}">
                <a16:creationId xmlns:a16="http://schemas.microsoft.com/office/drawing/2014/main" id="{44087789-03A9-0559-7959-C80A1DC0A306}"/>
              </a:ext>
            </a:extLst>
          </p:cNvPr>
          <p:cNvSpPr>
            <a:spLocks noGrp="1"/>
          </p:cNvSpPr>
          <p:nvPr>
            <p:ph type="title"/>
          </p:nvPr>
        </p:nvSpPr>
        <p:spPr>
          <a:xfrm>
            <a:off x="288000" y="530259"/>
            <a:ext cx="4754563" cy="2437590"/>
          </a:xfrm>
        </p:spPr>
        <p:txBody>
          <a:bodyPr anchor="ctr">
            <a:spAutoFit/>
          </a:bodyPr>
          <a:lstStyle>
            <a:lvl1pPr>
              <a:lnSpc>
                <a:spcPct val="80000"/>
              </a:lnSpc>
              <a:defRPr sz="6500">
                <a:solidFill>
                  <a:schemeClr val="tx2"/>
                </a:solidFill>
              </a:defRPr>
            </a:lvl1pPr>
          </a:lstStyle>
          <a:p>
            <a:r>
              <a:rPr lang="en-US"/>
              <a:t>Click to edit Master title style</a:t>
            </a:r>
            <a:endParaRPr lang="en-GB"/>
          </a:p>
        </p:txBody>
      </p:sp>
    </p:spTree>
    <p:extLst>
      <p:ext uri="{BB962C8B-B14F-4D97-AF65-F5344CB8AC3E}">
        <p14:creationId xmlns:p14="http://schemas.microsoft.com/office/powerpoint/2010/main" val="32429225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Right Side, Two Images and Text ">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53FA985-3B61-CED4-73DE-1DFA4E2DD7DA}"/>
              </a:ext>
            </a:extLst>
          </p:cNvPr>
          <p:cNvSpPr>
            <a:spLocks noGrp="1"/>
          </p:cNvSpPr>
          <p:nvPr>
            <p:ph type="ftr" sz="quarter" idx="10"/>
          </p:nvPr>
        </p:nvSpPr>
        <p:spPr/>
        <p:txBody>
          <a:bodyPr/>
          <a:lstStyle/>
          <a:p>
            <a:r>
              <a:rPr lang="en-US"/>
              <a:t>Job Aid and Guidance Document still under review.</a:t>
            </a:r>
            <a:endParaRPr lang="en-GB"/>
          </a:p>
        </p:txBody>
      </p:sp>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0" y="-1"/>
            <a:ext cx="5041900" cy="3357563"/>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6165850" y="3357563"/>
            <a:ext cx="6022552" cy="3499955"/>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6" name="Text Placeholder 5">
            <a:extLst>
              <a:ext uri="{FF2B5EF4-FFF2-40B4-BE49-F238E27FC236}">
                <a16:creationId xmlns:a16="http://schemas.microsoft.com/office/drawing/2014/main" id="{899B3B30-291B-0259-955A-B312868ADB24}"/>
              </a:ext>
            </a:extLst>
          </p:cNvPr>
          <p:cNvSpPr>
            <a:spLocks noGrp="1"/>
          </p:cNvSpPr>
          <p:nvPr>
            <p:ph type="body" sz="quarter" idx="15"/>
          </p:nvPr>
        </p:nvSpPr>
        <p:spPr>
          <a:xfrm>
            <a:off x="287338" y="4376738"/>
            <a:ext cx="4754562" cy="1893887"/>
          </a:xfrm>
        </p:spPr>
        <p:txBody>
          <a:bodyPr/>
          <a:lstStyle>
            <a:lvl4pPr>
              <a:defRPr lang="en-GB" sz="4000" dirty="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1">
            <a:extLst>
              <a:ext uri="{FF2B5EF4-FFF2-40B4-BE49-F238E27FC236}">
                <a16:creationId xmlns:a16="http://schemas.microsoft.com/office/drawing/2014/main" id="{44087789-03A9-0559-7959-C80A1DC0A306}"/>
              </a:ext>
            </a:extLst>
          </p:cNvPr>
          <p:cNvSpPr>
            <a:spLocks noGrp="1"/>
          </p:cNvSpPr>
          <p:nvPr>
            <p:ph type="title"/>
          </p:nvPr>
        </p:nvSpPr>
        <p:spPr>
          <a:xfrm>
            <a:off x="6165850" y="530259"/>
            <a:ext cx="4754563" cy="2437590"/>
          </a:xfrm>
        </p:spPr>
        <p:txBody>
          <a:bodyPr anchor="ctr">
            <a:spAutoFit/>
          </a:bodyPr>
          <a:lstStyle>
            <a:lvl1pPr>
              <a:lnSpc>
                <a:spcPct val="80000"/>
              </a:lnSpc>
              <a:defRPr sz="6500">
                <a:solidFill>
                  <a:schemeClr val="tx2"/>
                </a:solidFill>
              </a:defRPr>
            </a:lvl1pPr>
          </a:lstStyle>
          <a:p>
            <a:r>
              <a:rPr lang="en-US"/>
              <a:t>Click to edit Master title style</a:t>
            </a:r>
            <a:endParaRPr lang="en-GB"/>
          </a:p>
        </p:txBody>
      </p:sp>
    </p:spTree>
    <p:extLst>
      <p:ext uri="{BB962C8B-B14F-4D97-AF65-F5344CB8AC3E}">
        <p14:creationId xmlns:p14="http://schemas.microsoft.com/office/powerpoint/2010/main" val="6154250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2 with Imag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F71E3-AC39-2207-0CC4-1E2486610795}"/>
              </a:ext>
            </a:extLst>
          </p:cNvPr>
          <p:cNvSpPr>
            <a:spLocks noGrp="1"/>
          </p:cNvSpPr>
          <p:nvPr>
            <p:ph type="ctrTitle"/>
          </p:nvPr>
        </p:nvSpPr>
        <p:spPr>
          <a:xfrm>
            <a:off x="285980" y="266955"/>
            <a:ext cx="5734050" cy="2585323"/>
          </a:xfrm>
        </p:spPr>
        <p:txBody>
          <a:bodyPr wrap="square" anchor="t">
            <a:spAutoFit/>
          </a:bodyPr>
          <a:lstStyle>
            <a:lvl1pPr algn="l">
              <a:lnSpc>
                <a:spcPct val="80000"/>
              </a:lnSpc>
              <a:defRPr sz="7000" b="0" i="0" spc="0" baseline="0">
                <a:solidFill>
                  <a:schemeClr val="bg1"/>
                </a:solidFill>
                <a:latin typeface="+mj-lt"/>
              </a:defRPr>
            </a:lvl1pPr>
          </a:lstStyle>
          <a:p>
            <a:r>
              <a:rPr lang="en-US"/>
              <a:t>Click to edit Master title style</a:t>
            </a:r>
            <a:endParaRPr lang="en-GB"/>
          </a:p>
        </p:txBody>
      </p:sp>
      <p:sp>
        <p:nvSpPr>
          <p:cNvPr id="4" name="Picture Placeholder 3">
            <a:extLst>
              <a:ext uri="{FF2B5EF4-FFF2-40B4-BE49-F238E27FC236}">
                <a16:creationId xmlns:a16="http://schemas.microsoft.com/office/drawing/2014/main" id="{9E083875-577D-C85F-0FB1-123AA06C12E5}"/>
              </a:ext>
            </a:extLst>
          </p:cNvPr>
          <p:cNvSpPr>
            <a:spLocks noGrp="1"/>
          </p:cNvSpPr>
          <p:nvPr>
            <p:ph type="pic" sz="quarter" idx="11" hasCustomPrompt="1"/>
          </p:nvPr>
        </p:nvSpPr>
        <p:spPr>
          <a:xfrm>
            <a:off x="6562381" y="0"/>
            <a:ext cx="5629619" cy="6858000"/>
          </a:xfrm>
          <a:solidFill>
            <a:srgbClr val="F6F3F2"/>
          </a:solidFill>
        </p:spPr>
        <p:txBody>
          <a:bodyPr/>
          <a:lstStyle>
            <a:lvl1pPr>
              <a:defRPr lang="en-US"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5" name="Graphic 2">
            <a:extLst>
              <a:ext uri="{FF2B5EF4-FFF2-40B4-BE49-F238E27FC236}">
                <a16:creationId xmlns:a16="http://schemas.microsoft.com/office/drawing/2014/main" id="{2F7807F1-53C0-9778-02CC-E8554C5CE97D}"/>
              </a:ext>
            </a:extLst>
          </p:cNvPr>
          <p:cNvSpPr>
            <a:spLocks noChangeAspect="1"/>
          </p:cNvSpPr>
          <p:nvPr userDrawn="1"/>
        </p:nvSpPr>
        <p:spPr>
          <a:xfrm>
            <a:off x="290513" y="6377853"/>
            <a:ext cx="2034000" cy="187309"/>
          </a:xfrm>
          <a:custGeom>
            <a:avLst/>
            <a:gdLst>
              <a:gd name="connsiteX0" fmla="*/ 542692 w 5487431"/>
              <a:gd name="connsiteY0" fmla="*/ 463149 h 505330"/>
              <a:gd name="connsiteX1" fmla="*/ 458967 w 5487431"/>
              <a:gd name="connsiteY1" fmla="*/ 321634 h 505330"/>
              <a:gd name="connsiteX2" fmla="*/ 542692 w 5487431"/>
              <a:gd name="connsiteY2" fmla="*/ 180119 h 505330"/>
              <a:gd name="connsiteX3" fmla="*/ 626417 w 5487431"/>
              <a:gd name="connsiteY3" fmla="*/ 321634 h 505330"/>
              <a:gd name="connsiteX4" fmla="*/ 542692 w 5487431"/>
              <a:gd name="connsiteY4" fmla="*/ 463149 h 505330"/>
              <a:gd name="connsiteX5" fmla="*/ 542692 w 5487431"/>
              <a:gd name="connsiteY5" fmla="*/ 142174 h 505330"/>
              <a:gd name="connsiteX6" fmla="*/ 372482 w 5487431"/>
              <a:gd name="connsiteY6" fmla="*/ 321634 h 505330"/>
              <a:gd name="connsiteX7" fmla="*/ 542692 w 5487431"/>
              <a:gd name="connsiteY7" fmla="*/ 501094 h 505330"/>
              <a:gd name="connsiteX8" fmla="*/ 712902 w 5487431"/>
              <a:gd name="connsiteY8" fmla="*/ 321634 h 505330"/>
              <a:gd name="connsiteX9" fmla="*/ 542692 w 5487431"/>
              <a:gd name="connsiteY9" fmla="*/ 142174 h 505330"/>
              <a:gd name="connsiteX10" fmla="*/ 1303641 w 5487431"/>
              <a:gd name="connsiteY10" fmla="*/ 142174 h 505330"/>
              <a:gd name="connsiteX11" fmla="*/ 1207357 w 5487431"/>
              <a:gd name="connsiteY11" fmla="*/ 192547 h 505330"/>
              <a:gd name="connsiteX12" fmla="*/ 1203170 w 5487431"/>
              <a:gd name="connsiteY12" fmla="*/ 192547 h 505330"/>
              <a:gd name="connsiteX13" fmla="*/ 1203170 w 5487431"/>
              <a:gd name="connsiteY13" fmla="*/ 149048 h 505330"/>
              <a:gd name="connsiteX14" fmla="*/ 1120872 w 5487431"/>
              <a:gd name="connsiteY14" fmla="*/ 149048 h 505330"/>
              <a:gd name="connsiteX15" fmla="*/ 1120872 w 5487431"/>
              <a:gd name="connsiteY15" fmla="*/ 494221 h 505330"/>
              <a:gd name="connsiteX16" fmla="*/ 1203170 w 5487431"/>
              <a:gd name="connsiteY16" fmla="*/ 494221 h 505330"/>
              <a:gd name="connsiteX17" fmla="*/ 1203170 w 5487431"/>
              <a:gd name="connsiteY17" fmla="*/ 271261 h 505330"/>
              <a:gd name="connsiteX18" fmla="*/ 1272244 w 5487431"/>
              <a:gd name="connsiteY18" fmla="*/ 190476 h 505330"/>
              <a:gd name="connsiteX19" fmla="*/ 1331518 w 5487431"/>
              <a:gd name="connsiteY19" fmla="*/ 258173 h 505330"/>
              <a:gd name="connsiteX20" fmla="*/ 1331518 w 5487431"/>
              <a:gd name="connsiteY20" fmla="*/ 494221 h 505330"/>
              <a:gd name="connsiteX21" fmla="*/ 1413816 w 5487431"/>
              <a:gd name="connsiteY21" fmla="*/ 494221 h 505330"/>
              <a:gd name="connsiteX22" fmla="*/ 1413816 w 5487431"/>
              <a:gd name="connsiteY22" fmla="*/ 257420 h 505330"/>
              <a:gd name="connsiteX23" fmla="*/ 1303641 w 5487431"/>
              <a:gd name="connsiteY23" fmla="*/ 142174 h 505330"/>
              <a:gd name="connsiteX24" fmla="*/ 1600771 w 5487431"/>
              <a:gd name="connsiteY24" fmla="*/ 142174 h 505330"/>
              <a:gd name="connsiteX25" fmla="*/ 1467571 w 5487431"/>
              <a:gd name="connsiteY25" fmla="*/ 241602 h 505330"/>
              <a:gd name="connsiteX26" fmla="*/ 1551962 w 5487431"/>
              <a:gd name="connsiteY26" fmla="*/ 341030 h 505330"/>
              <a:gd name="connsiteX27" fmla="*/ 1621702 w 5487431"/>
              <a:gd name="connsiteY27" fmla="*/ 358260 h 505330"/>
              <a:gd name="connsiteX28" fmla="*/ 1675457 w 5487431"/>
              <a:gd name="connsiteY28" fmla="*/ 409387 h 505330"/>
              <a:gd name="connsiteX29" fmla="*/ 1606384 w 5487431"/>
              <a:gd name="connsiteY29" fmla="*/ 464656 h 505330"/>
              <a:gd name="connsiteX30" fmla="*/ 1526845 w 5487431"/>
              <a:gd name="connsiteY30" fmla="*/ 384624 h 505330"/>
              <a:gd name="connsiteX31" fmla="*/ 1452919 w 5487431"/>
              <a:gd name="connsiteY31" fmla="*/ 405338 h 505330"/>
              <a:gd name="connsiteX32" fmla="*/ 1597345 w 5487431"/>
              <a:gd name="connsiteY32" fmla="*/ 501282 h 505330"/>
              <a:gd name="connsiteX33" fmla="*/ 1742438 w 5487431"/>
              <a:gd name="connsiteY33" fmla="*/ 388767 h 505330"/>
              <a:gd name="connsiteX34" fmla="*/ 1649674 w 5487431"/>
              <a:gd name="connsiteY34" fmla="*/ 285196 h 505330"/>
              <a:gd name="connsiteX35" fmla="*/ 1582693 w 5487431"/>
              <a:gd name="connsiteY35" fmla="*/ 268625 h 505330"/>
              <a:gd name="connsiteX36" fmla="*/ 1534551 w 5487431"/>
              <a:gd name="connsiteY36" fmla="*/ 223054 h 505330"/>
              <a:gd name="connsiteX37" fmla="*/ 1593825 w 5487431"/>
              <a:gd name="connsiteY37" fmla="*/ 178895 h 505330"/>
              <a:gd name="connsiteX38" fmla="*/ 1664992 w 5487431"/>
              <a:gd name="connsiteY38" fmla="*/ 245180 h 505330"/>
              <a:gd name="connsiteX39" fmla="*/ 1734731 w 5487431"/>
              <a:gd name="connsiteY39" fmla="*/ 224466 h 505330"/>
              <a:gd name="connsiteX40" fmla="*/ 1600771 w 5487431"/>
              <a:gd name="connsiteY40" fmla="*/ 142174 h 505330"/>
              <a:gd name="connsiteX41" fmla="*/ 1946803 w 5487431"/>
              <a:gd name="connsiteY41" fmla="*/ 463149 h 505330"/>
              <a:gd name="connsiteX42" fmla="*/ 1863078 w 5487431"/>
              <a:gd name="connsiteY42" fmla="*/ 321634 h 505330"/>
              <a:gd name="connsiteX43" fmla="*/ 1946803 w 5487431"/>
              <a:gd name="connsiteY43" fmla="*/ 180119 h 505330"/>
              <a:gd name="connsiteX44" fmla="*/ 2030529 w 5487431"/>
              <a:gd name="connsiteY44" fmla="*/ 321634 h 505330"/>
              <a:gd name="connsiteX45" fmla="*/ 1946803 w 5487431"/>
              <a:gd name="connsiteY45" fmla="*/ 463149 h 505330"/>
              <a:gd name="connsiteX46" fmla="*/ 1946803 w 5487431"/>
              <a:gd name="connsiteY46" fmla="*/ 142174 h 505330"/>
              <a:gd name="connsiteX47" fmla="*/ 1776594 w 5487431"/>
              <a:gd name="connsiteY47" fmla="*/ 321634 h 505330"/>
              <a:gd name="connsiteX48" fmla="*/ 1946803 w 5487431"/>
              <a:gd name="connsiteY48" fmla="*/ 501094 h 505330"/>
              <a:gd name="connsiteX49" fmla="*/ 2117013 w 5487431"/>
              <a:gd name="connsiteY49" fmla="*/ 321634 h 505330"/>
              <a:gd name="connsiteX50" fmla="*/ 1946803 w 5487431"/>
              <a:gd name="connsiteY50" fmla="*/ 142174 h 505330"/>
              <a:gd name="connsiteX51" fmla="*/ 2348590 w 5487431"/>
              <a:gd name="connsiteY51" fmla="*/ 142174 h 505330"/>
              <a:gd name="connsiteX52" fmla="*/ 2252306 w 5487431"/>
              <a:gd name="connsiteY52" fmla="*/ 192547 h 505330"/>
              <a:gd name="connsiteX53" fmla="*/ 2248119 w 5487431"/>
              <a:gd name="connsiteY53" fmla="*/ 192547 h 505330"/>
              <a:gd name="connsiteX54" fmla="*/ 2248119 w 5487431"/>
              <a:gd name="connsiteY54" fmla="*/ 149048 h 505330"/>
              <a:gd name="connsiteX55" fmla="*/ 2165821 w 5487431"/>
              <a:gd name="connsiteY55" fmla="*/ 149048 h 505330"/>
              <a:gd name="connsiteX56" fmla="*/ 2165821 w 5487431"/>
              <a:gd name="connsiteY56" fmla="*/ 494221 h 505330"/>
              <a:gd name="connsiteX57" fmla="*/ 2248119 w 5487431"/>
              <a:gd name="connsiteY57" fmla="*/ 494221 h 505330"/>
              <a:gd name="connsiteX58" fmla="*/ 2248119 w 5487431"/>
              <a:gd name="connsiteY58" fmla="*/ 271261 h 505330"/>
              <a:gd name="connsiteX59" fmla="*/ 2317193 w 5487431"/>
              <a:gd name="connsiteY59" fmla="*/ 190476 h 505330"/>
              <a:gd name="connsiteX60" fmla="*/ 2376466 w 5487431"/>
              <a:gd name="connsiteY60" fmla="*/ 258173 h 505330"/>
              <a:gd name="connsiteX61" fmla="*/ 2376466 w 5487431"/>
              <a:gd name="connsiteY61" fmla="*/ 494221 h 505330"/>
              <a:gd name="connsiteX62" fmla="*/ 2458764 w 5487431"/>
              <a:gd name="connsiteY62" fmla="*/ 494221 h 505330"/>
              <a:gd name="connsiteX63" fmla="*/ 2458764 w 5487431"/>
              <a:gd name="connsiteY63" fmla="*/ 257420 h 505330"/>
              <a:gd name="connsiteX64" fmla="*/ 2348590 w 5487431"/>
              <a:gd name="connsiteY64" fmla="*/ 142174 h 505330"/>
              <a:gd name="connsiteX65" fmla="*/ 3571359 w 5487431"/>
              <a:gd name="connsiteY65" fmla="*/ 463149 h 505330"/>
              <a:gd name="connsiteX66" fmla="*/ 3487634 w 5487431"/>
              <a:gd name="connsiteY66" fmla="*/ 321634 h 505330"/>
              <a:gd name="connsiteX67" fmla="*/ 3571359 w 5487431"/>
              <a:gd name="connsiteY67" fmla="*/ 180119 h 505330"/>
              <a:gd name="connsiteX68" fmla="*/ 3655085 w 5487431"/>
              <a:gd name="connsiteY68" fmla="*/ 321634 h 505330"/>
              <a:gd name="connsiteX69" fmla="*/ 3571359 w 5487431"/>
              <a:gd name="connsiteY69" fmla="*/ 463149 h 505330"/>
              <a:gd name="connsiteX70" fmla="*/ 3571359 w 5487431"/>
              <a:gd name="connsiteY70" fmla="*/ 142174 h 505330"/>
              <a:gd name="connsiteX71" fmla="*/ 3401150 w 5487431"/>
              <a:gd name="connsiteY71" fmla="*/ 321634 h 505330"/>
              <a:gd name="connsiteX72" fmla="*/ 3571359 w 5487431"/>
              <a:gd name="connsiteY72" fmla="*/ 501094 h 505330"/>
              <a:gd name="connsiteX73" fmla="*/ 3741569 w 5487431"/>
              <a:gd name="connsiteY73" fmla="*/ 321634 h 505330"/>
              <a:gd name="connsiteX74" fmla="*/ 3571359 w 5487431"/>
              <a:gd name="connsiteY74" fmla="*/ 142174 h 505330"/>
              <a:gd name="connsiteX75" fmla="*/ 4332308 w 5487431"/>
              <a:gd name="connsiteY75" fmla="*/ 142174 h 505330"/>
              <a:gd name="connsiteX76" fmla="*/ 4236024 w 5487431"/>
              <a:gd name="connsiteY76" fmla="*/ 192547 h 505330"/>
              <a:gd name="connsiteX77" fmla="*/ 4231838 w 5487431"/>
              <a:gd name="connsiteY77" fmla="*/ 192547 h 505330"/>
              <a:gd name="connsiteX78" fmla="*/ 4231838 w 5487431"/>
              <a:gd name="connsiteY78" fmla="*/ 149048 h 505330"/>
              <a:gd name="connsiteX79" fmla="*/ 4149539 w 5487431"/>
              <a:gd name="connsiteY79" fmla="*/ 149048 h 505330"/>
              <a:gd name="connsiteX80" fmla="*/ 4149539 w 5487431"/>
              <a:gd name="connsiteY80" fmla="*/ 494221 h 505330"/>
              <a:gd name="connsiteX81" fmla="*/ 4231838 w 5487431"/>
              <a:gd name="connsiteY81" fmla="*/ 494221 h 505330"/>
              <a:gd name="connsiteX82" fmla="*/ 4231838 w 5487431"/>
              <a:gd name="connsiteY82" fmla="*/ 271261 h 505330"/>
              <a:gd name="connsiteX83" fmla="*/ 4300911 w 5487431"/>
              <a:gd name="connsiteY83" fmla="*/ 190476 h 505330"/>
              <a:gd name="connsiteX84" fmla="*/ 4360185 w 5487431"/>
              <a:gd name="connsiteY84" fmla="*/ 258173 h 505330"/>
              <a:gd name="connsiteX85" fmla="*/ 4360185 w 5487431"/>
              <a:gd name="connsiteY85" fmla="*/ 494221 h 505330"/>
              <a:gd name="connsiteX86" fmla="*/ 4442483 w 5487431"/>
              <a:gd name="connsiteY86" fmla="*/ 494221 h 505330"/>
              <a:gd name="connsiteX87" fmla="*/ 4442483 w 5487431"/>
              <a:gd name="connsiteY87" fmla="*/ 257420 h 505330"/>
              <a:gd name="connsiteX88" fmla="*/ 4332308 w 5487431"/>
              <a:gd name="connsiteY88" fmla="*/ 142174 h 505330"/>
              <a:gd name="connsiteX89" fmla="*/ 4629533 w 5487431"/>
              <a:gd name="connsiteY89" fmla="*/ 142174 h 505330"/>
              <a:gd name="connsiteX90" fmla="*/ 4496334 w 5487431"/>
              <a:gd name="connsiteY90" fmla="*/ 241602 h 505330"/>
              <a:gd name="connsiteX91" fmla="*/ 4580725 w 5487431"/>
              <a:gd name="connsiteY91" fmla="*/ 341030 h 505330"/>
              <a:gd name="connsiteX92" fmla="*/ 4650464 w 5487431"/>
              <a:gd name="connsiteY92" fmla="*/ 358260 h 505330"/>
              <a:gd name="connsiteX93" fmla="*/ 4704220 w 5487431"/>
              <a:gd name="connsiteY93" fmla="*/ 409387 h 505330"/>
              <a:gd name="connsiteX94" fmla="*/ 4635146 w 5487431"/>
              <a:gd name="connsiteY94" fmla="*/ 464656 h 505330"/>
              <a:gd name="connsiteX95" fmla="*/ 4555607 w 5487431"/>
              <a:gd name="connsiteY95" fmla="*/ 384624 h 505330"/>
              <a:gd name="connsiteX96" fmla="*/ 4481682 w 5487431"/>
              <a:gd name="connsiteY96" fmla="*/ 405338 h 505330"/>
              <a:gd name="connsiteX97" fmla="*/ 4626108 w 5487431"/>
              <a:gd name="connsiteY97" fmla="*/ 501282 h 505330"/>
              <a:gd name="connsiteX98" fmla="*/ 4771200 w 5487431"/>
              <a:gd name="connsiteY98" fmla="*/ 388767 h 505330"/>
              <a:gd name="connsiteX99" fmla="*/ 4678436 w 5487431"/>
              <a:gd name="connsiteY99" fmla="*/ 285196 h 505330"/>
              <a:gd name="connsiteX100" fmla="*/ 4611456 w 5487431"/>
              <a:gd name="connsiteY100" fmla="*/ 268625 h 505330"/>
              <a:gd name="connsiteX101" fmla="*/ 4563314 w 5487431"/>
              <a:gd name="connsiteY101" fmla="*/ 223054 h 505330"/>
              <a:gd name="connsiteX102" fmla="*/ 4622588 w 5487431"/>
              <a:gd name="connsiteY102" fmla="*/ 178895 h 505330"/>
              <a:gd name="connsiteX103" fmla="*/ 4693754 w 5487431"/>
              <a:gd name="connsiteY103" fmla="*/ 245180 h 505330"/>
              <a:gd name="connsiteX104" fmla="*/ 4763493 w 5487431"/>
              <a:gd name="connsiteY104" fmla="*/ 224466 h 505330"/>
              <a:gd name="connsiteX105" fmla="*/ 4629533 w 5487431"/>
              <a:gd name="connsiteY105" fmla="*/ 142174 h 505330"/>
              <a:gd name="connsiteX106" fmla="*/ 4975471 w 5487431"/>
              <a:gd name="connsiteY106" fmla="*/ 463149 h 505330"/>
              <a:gd name="connsiteX107" fmla="*/ 4891745 w 5487431"/>
              <a:gd name="connsiteY107" fmla="*/ 321634 h 505330"/>
              <a:gd name="connsiteX108" fmla="*/ 4975471 w 5487431"/>
              <a:gd name="connsiteY108" fmla="*/ 180119 h 505330"/>
              <a:gd name="connsiteX109" fmla="*/ 5059196 w 5487431"/>
              <a:gd name="connsiteY109" fmla="*/ 321634 h 505330"/>
              <a:gd name="connsiteX110" fmla="*/ 4975471 w 5487431"/>
              <a:gd name="connsiteY110" fmla="*/ 463149 h 505330"/>
              <a:gd name="connsiteX111" fmla="*/ 4975471 w 5487431"/>
              <a:gd name="connsiteY111" fmla="*/ 142174 h 505330"/>
              <a:gd name="connsiteX112" fmla="*/ 4805261 w 5487431"/>
              <a:gd name="connsiteY112" fmla="*/ 321634 h 505330"/>
              <a:gd name="connsiteX113" fmla="*/ 4975471 w 5487431"/>
              <a:gd name="connsiteY113" fmla="*/ 501094 h 505330"/>
              <a:gd name="connsiteX114" fmla="*/ 5145680 w 5487431"/>
              <a:gd name="connsiteY114" fmla="*/ 321634 h 505330"/>
              <a:gd name="connsiteX115" fmla="*/ 4975471 w 5487431"/>
              <a:gd name="connsiteY115" fmla="*/ 142174 h 505330"/>
              <a:gd name="connsiteX116" fmla="*/ 5377257 w 5487431"/>
              <a:gd name="connsiteY116" fmla="*/ 142174 h 505330"/>
              <a:gd name="connsiteX117" fmla="*/ 5280973 w 5487431"/>
              <a:gd name="connsiteY117" fmla="*/ 192547 h 505330"/>
              <a:gd name="connsiteX118" fmla="*/ 5276787 w 5487431"/>
              <a:gd name="connsiteY118" fmla="*/ 192547 h 505330"/>
              <a:gd name="connsiteX119" fmla="*/ 5276787 w 5487431"/>
              <a:gd name="connsiteY119" fmla="*/ 149048 h 505330"/>
              <a:gd name="connsiteX120" fmla="*/ 5194488 w 5487431"/>
              <a:gd name="connsiteY120" fmla="*/ 149048 h 505330"/>
              <a:gd name="connsiteX121" fmla="*/ 5194488 w 5487431"/>
              <a:gd name="connsiteY121" fmla="*/ 494221 h 505330"/>
              <a:gd name="connsiteX122" fmla="*/ 5276787 w 5487431"/>
              <a:gd name="connsiteY122" fmla="*/ 494221 h 505330"/>
              <a:gd name="connsiteX123" fmla="*/ 5276787 w 5487431"/>
              <a:gd name="connsiteY123" fmla="*/ 271261 h 505330"/>
              <a:gd name="connsiteX124" fmla="*/ 5345860 w 5487431"/>
              <a:gd name="connsiteY124" fmla="*/ 190476 h 505330"/>
              <a:gd name="connsiteX125" fmla="*/ 5405134 w 5487431"/>
              <a:gd name="connsiteY125" fmla="*/ 258173 h 505330"/>
              <a:gd name="connsiteX126" fmla="*/ 5405134 w 5487431"/>
              <a:gd name="connsiteY126" fmla="*/ 494221 h 505330"/>
              <a:gd name="connsiteX127" fmla="*/ 5487432 w 5487431"/>
              <a:gd name="connsiteY127" fmla="*/ 494221 h 505330"/>
              <a:gd name="connsiteX128" fmla="*/ 5487432 w 5487431"/>
              <a:gd name="connsiteY128" fmla="*/ 257420 h 505330"/>
              <a:gd name="connsiteX129" fmla="*/ 5377257 w 5487431"/>
              <a:gd name="connsiteY129" fmla="*/ 142174 h 505330"/>
              <a:gd name="connsiteX130" fmla="*/ 323674 w 5487431"/>
              <a:gd name="connsiteY130" fmla="*/ 11016 h 505330"/>
              <a:gd name="connsiteX131" fmla="*/ 237190 w 5487431"/>
              <a:gd name="connsiteY131" fmla="*/ 11016 h 505330"/>
              <a:gd name="connsiteX132" fmla="*/ 237190 w 5487431"/>
              <a:gd name="connsiteY132" fmla="*/ 367864 h 505330"/>
              <a:gd name="connsiteX133" fmla="*/ 161837 w 5487431"/>
              <a:gd name="connsiteY133" fmla="*/ 460325 h 505330"/>
              <a:gd name="connsiteX134" fmla="*/ 86484 w 5487431"/>
              <a:gd name="connsiteY134" fmla="*/ 360897 h 505330"/>
              <a:gd name="connsiteX135" fmla="*/ 86484 w 5487431"/>
              <a:gd name="connsiteY135" fmla="*/ 294612 h 505330"/>
              <a:gd name="connsiteX136" fmla="*/ 0 w 5487431"/>
              <a:gd name="connsiteY136" fmla="*/ 315985 h 505330"/>
              <a:gd name="connsiteX137" fmla="*/ 0 w 5487431"/>
              <a:gd name="connsiteY137" fmla="*/ 345644 h 505330"/>
              <a:gd name="connsiteX138" fmla="*/ 161837 w 5487431"/>
              <a:gd name="connsiteY138" fmla="*/ 505143 h 505330"/>
              <a:gd name="connsiteX139" fmla="*/ 323674 w 5487431"/>
              <a:gd name="connsiteY139" fmla="*/ 345644 h 505330"/>
              <a:gd name="connsiteX140" fmla="*/ 323674 w 5487431"/>
              <a:gd name="connsiteY140" fmla="*/ 11016 h 505330"/>
              <a:gd name="connsiteX141" fmla="*/ 844008 w 5487431"/>
              <a:gd name="connsiteY141" fmla="*/ 11016 h 505330"/>
              <a:gd name="connsiteX142" fmla="*/ 761710 w 5487431"/>
              <a:gd name="connsiteY142" fmla="*/ 11016 h 505330"/>
              <a:gd name="connsiteX143" fmla="*/ 761710 w 5487431"/>
              <a:gd name="connsiteY143" fmla="*/ 494221 h 505330"/>
              <a:gd name="connsiteX144" fmla="*/ 844008 w 5487431"/>
              <a:gd name="connsiteY144" fmla="*/ 494221 h 505330"/>
              <a:gd name="connsiteX145" fmla="*/ 844008 w 5487431"/>
              <a:gd name="connsiteY145" fmla="*/ 271261 h 505330"/>
              <a:gd name="connsiteX146" fmla="*/ 913081 w 5487431"/>
              <a:gd name="connsiteY146" fmla="*/ 190476 h 505330"/>
              <a:gd name="connsiteX147" fmla="*/ 972355 w 5487431"/>
              <a:gd name="connsiteY147" fmla="*/ 258173 h 505330"/>
              <a:gd name="connsiteX148" fmla="*/ 972355 w 5487431"/>
              <a:gd name="connsiteY148" fmla="*/ 494221 h 505330"/>
              <a:gd name="connsiteX149" fmla="*/ 1054653 w 5487431"/>
              <a:gd name="connsiteY149" fmla="*/ 494221 h 505330"/>
              <a:gd name="connsiteX150" fmla="*/ 1054653 w 5487431"/>
              <a:gd name="connsiteY150" fmla="*/ 257420 h 505330"/>
              <a:gd name="connsiteX151" fmla="*/ 944478 w 5487431"/>
              <a:gd name="connsiteY151" fmla="*/ 142174 h 505330"/>
              <a:gd name="connsiteX152" fmla="*/ 848194 w 5487431"/>
              <a:gd name="connsiteY152" fmla="*/ 192547 h 505330"/>
              <a:gd name="connsiteX153" fmla="*/ 844008 w 5487431"/>
              <a:gd name="connsiteY153" fmla="*/ 192547 h 505330"/>
              <a:gd name="connsiteX154" fmla="*/ 844008 w 5487431"/>
              <a:gd name="connsiteY154" fmla="*/ 11016 h 505330"/>
              <a:gd name="connsiteX155" fmla="*/ 3352342 w 5487431"/>
              <a:gd name="connsiteY155" fmla="*/ 11016 h 505330"/>
              <a:gd name="connsiteX156" fmla="*/ 3265857 w 5487431"/>
              <a:gd name="connsiteY156" fmla="*/ 11016 h 505330"/>
              <a:gd name="connsiteX157" fmla="*/ 3265857 w 5487431"/>
              <a:gd name="connsiteY157" fmla="*/ 367864 h 505330"/>
              <a:gd name="connsiteX158" fmla="*/ 3190504 w 5487431"/>
              <a:gd name="connsiteY158" fmla="*/ 460325 h 505330"/>
              <a:gd name="connsiteX159" fmla="*/ 3115152 w 5487431"/>
              <a:gd name="connsiteY159" fmla="*/ 360897 h 505330"/>
              <a:gd name="connsiteX160" fmla="*/ 3115152 w 5487431"/>
              <a:gd name="connsiteY160" fmla="*/ 294612 h 505330"/>
              <a:gd name="connsiteX161" fmla="*/ 3028667 w 5487431"/>
              <a:gd name="connsiteY161" fmla="*/ 315985 h 505330"/>
              <a:gd name="connsiteX162" fmla="*/ 3028667 w 5487431"/>
              <a:gd name="connsiteY162" fmla="*/ 345644 h 505330"/>
              <a:gd name="connsiteX163" fmla="*/ 3190504 w 5487431"/>
              <a:gd name="connsiteY163" fmla="*/ 505143 h 505330"/>
              <a:gd name="connsiteX164" fmla="*/ 3352342 w 5487431"/>
              <a:gd name="connsiteY164" fmla="*/ 345644 h 505330"/>
              <a:gd name="connsiteX165" fmla="*/ 3352342 w 5487431"/>
              <a:gd name="connsiteY165" fmla="*/ 11016 h 505330"/>
              <a:gd name="connsiteX166" fmla="*/ 3872675 w 5487431"/>
              <a:gd name="connsiteY166" fmla="*/ 11016 h 505330"/>
              <a:gd name="connsiteX167" fmla="*/ 3790377 w 5487431"/>
              <a:gd name="connsiteY167" fmla="*/ 11016 h 505330"/>
              <a:gd name="connsiteX168" fmla="*/ 3790377 w 5487431"/>
              <a:gd name="connsiteY168" fmla="*/ 494221 h 505330"/>
              <a:gd name="connsiteX169" fmla="*/ 3872675 w 5487431"/>
              <a:gd name="connsiteY169" fmla="*/ 494221 h 505330"/>
              <a:gd name="connsiteX170" fmla="*/ 3872675 w 5487431"/>
              <a:gd name="connsiteY170" fmla="*/ 271261 h 505330"/>
              <a:gd name="connsiteX171" fmla="*/ 3941749 w 5487431"/>
              <a:gd name="connsiteY171" fmla="*/ 190476 h 505330"/>
              <a:gd name="connsiteX172" fmla="*/ 4001022 w 5487431"/>
              <a:gd name="connsiteY172" fmla="*/ 258173 h 505330"/>
              <a:gd name="connsiteX173" fmla="*/ 4001022 w 5487431"/>
              <a:gd name="connsiteY173" fmla="*/ 494221 h 505330"/>
              <a:gd name="connsiteX174" fmla="*/ 4083320 w 5487431"/>
              <a:gd name="connsiteY174" fmla="*/ 494221 h 505330"/>
              <a:gd name="connsiteX175" fmla="*/ 4083320 w 5487431"/>
              <a:gd name="connsiteY175" fmla="*/ 257420 h 505330"/>
              <a:gd name="connsiteX176" fmla="*/ 3973146 w 5487431"/>
              <a:gd name="connsiteY176" fmla="*/ 142174 h 505330"/>
              <a:gd name="connsiteX177" fmla="*/ 3876861 w 5487431"/>
              <a:gd name="connsiteY177" fmla="*/ 192547 h 505330"/>
              <a:gd name="connsiteX178" fmla="*/ 3872675 w 5487431"/>
              <a:gd name="connsiteY178" fmla="*/ 192547 h 505330"/>
              <a:gd name="connsiteX179" fmla="*/ 3872675 w 5487431"/>
              <a:gd name="connsiteY179" fmla="*/ 11016 h 505330"/>
              <a:gd name="connsiteX180" fmla="*/ 2730110 w 5487431"/>
              <a:gd name="connsiteY180" fmla="*/ 454864 h 505330"/>
              <a:gd name="connsiteX181" fmla="*/ 2622029 w 5487431"/>
              <a:gd name="connsiteY181" fmla="*/ 343761 h 505330"/>
              <a:gd name="connsiteX182" fmla="*/ 2664557 w 5487431"/>
              <a:gd name="connsiteY182" fmla="*/ 256102 h 505330"/>
              <a:gd name="connsiteX183" fmla="*/ 2822208 w 5487431"/>
              <a:gd name="connsiteY183" fmla="*/ 426617 h 505330"/>
              <a:gd name="connsiteX184" fmla="*/ 2730110 w 5487431"/>
              <a:gd name="connsiteY184" fmla="*/ 454864 h 505330"/>
              <a:gd name="connsiteX185" fmla="*/ 2883575 w 5487431"/>
              <a:gd name="connsiteY185" fmla="*/ 369936 h 505330"/>
              <a:gd name="connsiteX186" fmla="*/ 2746856 w 5487431"/>
              <a:gd name="connsiteY186" fmla="*/ 220794 h 505330"/>
              <a:gd name="connsiteX187" fmla="*/ 2814502 w 5487431"/>
              <a:gd name="connsiteY187" fmla="*/ 207706 h 505330"/>
              <a:gd name="connsiteX188" fmla="*/ 2905838 w 5487431"/>
              <a:gd name="connsiteY188" fmla="*/ 296118 h 505330"/>
              <a:gd name="connsiteX189" fmla="*/ 2883575 w 5487431"/>
              <a:gd name="connsiteY189" fmla="*/ 369936 h 505330"/>
              <a:gd name="connsiteX190" fmla="*/ 2728017 w 5487431"/>
              <a:gd name="connsiteY190" fmla="*/ 200833 h 505330"/>
              <a:gd name="connsiteX191" fmla="*/ 2698047 w 5487431"/>
              <a:gd name="connsiteY191" fmla="*/ 167690 h 505330"/>
              <a:gd name="connsiteX192" fmla="*/ 2663891 w 5487431"/>
              <a:gd name="connsiteY192" fmla="*/ 99334 h 505330"/>
              <a:gd name="connsiteX193" fmla="*/ 2730110 w 5487431"/>
              <a:gd name="connsiteY193" fmla="*/ 36532 h 505330"/>
              <a:gd name="connsiteX194" fmla="*/ 2795664 w 5487431"/>
              <a:gd name="connsiteY194" fmla="*/ 102817 h 505330"/>
              <a:gd name="connsiteX195" fmla="*/ 2728017 w 5487431"/>
              <a:gd name="connsiteY195" fmla="*/ 200833 h 505330"/>
              <a:gd name="connsiteX196" fmla="*/ 2732204 w 5487431"/>
              <a:gd name="connsiteY196" fmla="*/ 0 h 505330"/>
              <a:gd name="connsiteX197" fmla="*/ 2588539 w 5487431"/>
              <a:gd name="connsiteY197" fmla="*/ 119389 h 505330"/>
              <a:gd name="connsiteX198" fmla="*/ 2644387 w 5487431"/>
              <a:gd name="connsiteY198" fmla="*/ 234635 h 505330"/>
              <a:gd name="connsiteX199" fmla="*/ 2645053 w 5487431"/>
              <a:gd name="connsiteY199" fmla="*/ 236047 h 505330"/>
              <a:gd name="connsiteX200" fmla="*/ 2545344 w 5487431"/>
              <a:gd name="connsiteY200" fmla="*/ 374832 h 505330"/>
              <a:gd name="connsiteX201" fmla="*/ 2685584 w 5487431"/>
              <a:gd name="connsiteY201" fmla="*/ 505331 h 505330"/>
              <a:gd name="connsiteX202" fmla="*/ 2843235 w 5487431"/>
              <a:gd name="connsiteY202" fmla="*/ 449403 h 505330"/>
              <a:gd name="connsiteX203" fmla="*/ 2885097 w 5487431"/>
              <a:gd name="connsiteY203" fmla="*/ 494315 h 505330"/>
              <a:gd name="connsiteX204" fmla="*/ 2994606 w 5487431"/>
              <a:gd name="connsiteY204" fmla="*/ 494315 h 505330"/>
              <a:gd name="connsiteX205" fmla="*/ 2994606 w 5487431"/>
              <a:gd name="connsiteY205" fmla="*/ 490831 h 505330"/>
              <a:gd name="connsiteX206" fmla="*/ 2905363 w 5487431"/>
              <a:gd name="connsiteY206" fmla="*/ 393474 h 505330"/>
              <a:gd name="connsiteX207" fmla="*/ 2964637 w 5487431"/>
              <a:gd name="connsiteY207" fmla="*/ 258833 h 505330"/>
              <a:gd name="connsiteX208" fmla="*/ 2873300 w 5487431"/>
              <a:gd name="connsiteY208" fmla="*/ 171174 h 505330"/>
              <a:gd name="connsiteX209" fmla="*/ 2789574 w 5487431"/>
              <a:gd name="connsiteY209" fmla="*/ 187745 h 505330"/>
              <a:gd name="connsiteX210" fmla="*/ 2788147 w 5487431"/>
              <a:gd name="connsiteY210" fmla="*/ 185015 h 505330"/>
              <a:gd name="connsiteX211" fmla="*/ 2863500 w 5487431"/>
              <a:gd name="connsiteY211" fmla="*/ 93873 h 505330"/>
              <a:gd name="connsiteX212" fmla="*/ 2732204 w 5487431"/>
              <a:gd name="connsiteY212" fmla="*/ 0 h 50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5487431" h="505330">
                <a:moveTo>
                  <a:pt x="542692" y="463149"/>
                </a:moveTo>
                <a:cubicBezTo>
                  <a:pt x="488937" y="463149"/>
                  <a:pt x="458967" y="412776"/>
                  <a:pt x="458967" y="321634"/>
                </a:cubicBezTo>
                <a:cubicBezTo>
                  <a:pt x="458967" y="229080"/>
                  <a:pt x="488937" y="180119"/>
                  <a:pt x="542692" y="180119"/>
                </a:cubicBezTo>
                <a:cubicBezTo>
                  <a:pt x="596448" y="180119"/>
                  <a:pt x="626417" y="229833"/>
                  <a:pt x="626417" y="321634"/>
                </a:cubicBezTo>
                <a:cubicBezTo>
                  <a:pt x="626322" y="414189"/>
                  <a:pt x="596352" y="463149"/>
                  <a:pt x="542692" y="463149"/>
                </a:cubicBezTo>
                <a:moveTo>
                  <a:pt x="542692" y="142174"/>
                </a:moveTo>
                <a:cubicBezTo>
                  <a:pt x="433183" y="142174"/>
                  <a:pt x="372482" y="222959"/>
                  <a:pt x="372482" y="321634"/>
                </a:cubicBezTo>
                <a:cubicBezTo>
                  <a:pt x="372482" y="420309"/>
                  <a:pt x="433183" y="501094"/>
                  <a:pt x="542692" y="501094"/>
                </a:cubicBezTo>
                <a:cubicBezTo>
                  <a:pt x="652201" y="501094"/>
                  <a:pt x="712902" y="420309"/>
                  <a:pt x="712902" y="321634"/>
                </a:cubicBezTo>
                <a:cubicBezTo>
                  <a:pt x="712902" y="222959"/>
                  <a:pt x="652201" y="142174"/>
                  <a:pt x="542692" y="142174"/>
                </a:cubicBezTo>
                <a:moveTo>
                  <a:pt x="1303641" y="142174"/>
                </a:moveTo>
                <a:cubicBezTo>
                  <a:pt x="1251979" y="142174"/>
                  <a:pt x="1223436" y="164301"/>
                  <a:pt x="1207357" y="192547"/>
                </a:cubicBezTo>
                <a:lnTo>
                  <a:pt x="1203170" y="192547"/>
                </a:lnTo>
                <a:lnTo>
                  <a:pt x="1203170" y="149048"/>
                </a:lnTo>
                <a:lnTo>
                  <a:pt x="1120872" y="149048"/>
                </a:lnTo>
                <a:lnTo>
                  <a:pt x="1120872" y="494221"/>
                </a:lnTo>
                <a:lnTo>
                  <a:pt x="1203170" y="494221"/>
                </a:lnTo>
                <a:lnTo>
                  <a:pt x="1203170" y="271261"/>
                </a:lnTo>
                <a:cubicBezTo>
                  <a:pt x="1203170" y="220229"/>
                  <a:pt x="1229715" y="190476"/>
                  <a:pt x="1272244" y="190476"/>
                </a:cubicBezTo>
                <a:cubicBezTo>
                  <a:pt x="1313440" y="190476"/>
                  <a:pt x="1331518" y="217404"/>
                  <a:pt x="1331518" y="258173"/>
                </a:cubicBezTo>
                <a:lnTo>
                  <a:pt x="1331518" y="494221"/>
                </a:lnTo>
                <a:lnTo>
                  <a:pt x="1413816" y="494221"/>
                </a:lnTo>
                <a:lnTo>
                  <a:pt x="1413816" y="257420"/>
                </a:lnTo>
                <a:cubicBezTo>
                  <a:pt x="1413911" y="186333"/>
                  <a:pt x="1376234" y="142174"/>
                  <a:pt x="1303641" y="142174"/>
                </a:cubicBezTo>
                <a:moveTo>
                  <a:pt x="1600771" y="142174"/>
                </a:moveTo>
                <a:cubicBezTo>
                  <a:pt x="1524752" y="142174"/>
                  <a:pt x="1467571" y="173905"/>
                  <a:pt x="1467571" y="241602"/>
                </a:cubicBezTo>
                <a:cubicBezTo>
                  <a:pt x="1467571" y="298943"/>
                  <a:pt x="1507341" y="330014"/>
                  <a:pt x="1551962" y="341030"/>
                </a:cubicBezTo>
                <a:lnTo>
                  <a:pt x="1621702" y="358260"/>
                </a:lnTo>
                <a:cubicBezTo>
                  <a:pt x="1658712" y="367205"/>
                  <a:pt x="1675457" y="380387"/>
                  <a:pt x="1675457" y="409387"/>
                </a:cubicBezTo>
                <a:cubicBezTo>
                  <a:pt x="1675457" y="444601"/>
                  <a:pt x="1650340" y="464656"/>
                  <a:pt x="1606384" y="464656"/>
                </a:cubicBezTo>
                <a:cubicBezTo>
                  <a:pt x="1558908" y="464656"/>
                  <a:pt x="1534551" y="441870"/>
                  <a:pt x="1526845" y="384624"/>
                </a:cubicBezTo>
                <a:lnTo>
                  <a:pt x="1452919" y="405338"/>
                </a:lnTo>
                <a:cubicBezTo>
                  <a:pt x="1457106" y="464750"/>
                  <a:pt x="1512954" y="501282"/>
                  <a:pt x="1597345" y="501282"/>
                </a:cubicBezTo>
                <a:cubicBezTo>
                  <a:pt x="1691536" y="501282"/>
                  <a:pt x="1742438" y="457782"/>
                  <a:pt x="1742438" y="388767"/>
                </a:cubicBezTo>
                <a:cubicBezTo>
                  <a:pt x="1742438" y="323894"/>
                  <a:pt x="1697055" y="296965"/>
                  <a:pt x="1649674" y="285196"/>
                </a:cubicBezTo>
                <a:lnTo>
                  <a:pt x="1582693" y="268625"/>
                </a:lnTo>
                <a:cubicBezTo>
                  <a:pt x="1549203" y="260339"/>
                  <a:pt x="1534551" y="245180"/>
                  <a:pt x="1534551" y="223054"/>
                </a:cubicBezTo>
                <a:cubicBezTo>
                  <a:pt x="1534551" y="195466"/>
                  <a:pt x="1558242" y="178895"/>
                  <a:pt x="1593825" y="178895"/>
                </a:cubicBezTo>
                <a:cubicBezTo>
                  <a:pt x="1635688" y="178895"/>
                  <a:pt x="1661471" y="201680"/>
                  <a:pt x="1664992" y="245180"/>
                </a:cubicBezTo>
                <a:lnTo>
                  <a:pt x="1734731" y="224466"/>
                </a:lnTo>
                <a:cubicBezTo>
                  <a:pt x="1726358" y="175976"/>
                  <a:pt x="1678216" y="142174"/>
                  <a:pt x="1600771" y="142174"/>
                </a:cubicBezTo>
                <a:moveTo>
                  <a:pt x="1946803" y="463149"/>
                </a:moveTo>
                <a:cubicBezTo>
                  <a:pt x="1893048" y="463149"/>
                  <a:pt x="1863078" y="412776"/>
                  <a:pt x="1863078" y="321634"/>
                </a:cubicBezTo>
                <a:cubicBezTo>
                  <a:pt x="1863078" y="229080"/>
                  <a:pt x="1893048" y="180119"/>
                  <a:pt x="1946803" y="180119"/>
                </a:cubicBezTo>
                <a:cubicBezTo>
                  <a:pt x="2000559" y="180119"/>
                  <a:pt x="2030529" y="229833"/>
                  <a:pt x="2030529" y="321634"/>
                </a:cubicBezTo>
                <a:cubicBezTo>
                  <a:pt x="2030529" y="414189"/>
                  <a:pt x="2000464" y="463149"/>
                  <a:pt x="1946803" y="463149"/>
                </a:cubicBezTo>
                <a:moveTo>
                  <a:pt x="1946803" y="142174"/>
                </a:moveTo>
                <a:cubicBezTo>
                  <a:pt x="1837294" y="142174"/>
                  <a:pt x="1776594" y="222959"/>
                  <a:pt x="1776594" y="321634"/>
                </a:cubicBezTo>
                <a:cubicBezTo>
                  <a:pt x="1776594" y="420309"/>
                  <a:pt x="1837294" y="501094"/>
                  <a:pt x="1946803" y="501094"/>
                </a:cubicBezTo>
                <a:cubicBezTo>
                  <a:pt x="2056312" y="501094"/>
                  <a:pt x="2117013" y="420309"/>
                  <a:pt x="2117013" y="321634"/>
                </a:cubicBezTo>
                <a:cubicBezTo>
                  <a:pt x="2117013" y="222959"/>
                  <a:pt x="2056312" y="142174"/>
                  <a:pt x="1946803" y="142174"/>
                </a:cubicBezTo>
                <a:moveTo>
                  <a:pt x="2348590" y="142174"/>
                </a:moveTo>
                <a:cubicBezTo>
                  <a:pt x="2296927" y="142174"/>
                  <a:pt x="2268385" y="164301"/>
                  <a:pt x="2252306" y="192547"/>
                </a:cubicBezTo>
                <a:lnTo>
                  <a:pt x="2248119" y="192547"/>
                </a:lnTo>
                <a:lnTo>
                  <a:pt x="2248119" y="149048"/>
                </a:lnTo>
                <a:lnTo>
                  <a:pt x="2165821" y="149048"/>
                </a:lnTo>
                <a:lnTo>
                  <a:pt x="2165821" y="494221"/>
                </a:lnTo>
                <a:lnTo>
                  <a:pt x="2248119" y="494221"/>
                </a:lnTo>
                <a:lnTo>
                  <a:pt x="2248119" y="271261"/>
                </a:lnTo>
                <a:cubicBezTo>
                  <a:pt x="2248119" y="220229"/>
                  <a:pt x="2274664" y="190476"/>
                  <a:pt x="2317193" y="190476"/>
                </a:cubicBezTo>
                <a:cubicBezTo>
                  <a:pt x="2358389" y="190476"/>
                  <a:pt x="2376466" y="217404"/>
                  <a:pt x="2376466" y="258173"/>
                </a:cubicBezTo>
                <a:lnTo>
                  <a:pt x="2376466" y="494221"/>
                </a:lnTo>
                <a:lnTo>
                  <a:pt x="2458764" y="494221"/>
                </a:lnTo>
                <a:lnTo>
                  <a:pt x="2458764" y="257420"/>
                </a:lnTo>
                <a:cubicBezTo>
                  <a:pt x="2458764" y="186333"/>
                  <a:pt x="2421088" y="142174"/>
                  <a:pt x="2348590" y="142174"/>
                </a:cubicBezTo>
                <a:moveTo>
                  <a:pt x="3571359" y="463149"/>
                </a:moveTo>
                <a:cubicBezTo>
                  <a:pt x="3517604" y="463149"/>
                  <a:pt x="3487634" y="412776"/>
                  <a:pt x="3487634" y="321634"/>
                </a:cubicBezTo>
                <a:cubicBezTo>
                  <a:pt x="3487634" y="229080"/>
                  <a:pt x="3517604" y="180119"/>
                  <a:pt x="3571359" y="180119"/>
                </a:cubicBezTo>
                <a:cubicBezTo>
                  <a:pt x="3625115" y="180119"/>
                  <a:pt x="3655085" y="229833"/>
                  <a:pt x="3655085" y="321634"/>
                </a:cubicBezTo>
                <a:cubicBezTo>
                  <a:pt x="3655085" y="414189"/>
                  <a:pt x="3625020" y="463149"/>
                  <a:pt x="3571359" y="463149"/>
                </a:cubicBezTo>
                <a:moveTo>
                  <a:pt x="3571359" y="142174"/>
                </a:moveTo>
                <a:cubicBezTo>
                  <a:pt x="3461850" y="142174"/>
                  <a:pt x="3401150" y="222959"/>
                  <a:pt x="3401150" y="321634"/>
                </a:cubicBezTo>
                <a:cubicBezTo>
                  <a:pt x="3401150" y="420309"/>
                  <a:pt x="3461850" y="501094"/>
                  <a:pt x="3571359" y="501094"/>
                </a:cubicBezTo>
                <a:cubicBezTo>
                  <a:pt x="3680868" y="501094"/>
                  <a:pt x="3741569" y="420309"/>
                  <a:pt x="3741569" y="321634"/>
                </a:cubicBezTo>
                <a:cubicBezTo>
                  <a:pt x="3741569" y="222959"/>
                  <a:pt x="3680868" y="142174"/>
                  <a:pt x="3571359" y="142174"/>
                </a:cubicBezTo>
                <a:moveTo>
                  <a:pt x="4332308" y="142174"/>
                </a:moveTo>
                <a:cubicBezTo>
                  <a:pt x="4280646" y="142174"/>
                  <a:pt x="4252103" y="164301"/>
                  <a:pt x="4236024" y="192547"/>
                </a:cubicBezTo>
                <a:lnTo>
                  <a:pt x="4231838" y="192547"/>
                </a:lnTo>
                <a:lnTo>
                  <a:pt x="4231838" y="149048"/>
                </a:lnTo>
                <a:lnTo>
                  <a:pt x="4149539" y="149048"/>
                </a:lnTo>
                <a:lnTo>
                  <a:pt x="4149539" y="494221"/>
                </a:lnTo>
                <a:lnTo>
                  <a:pt x="4231838" y="494221"/>
                </a:lnTo>
                <a:lnTo>
                  <a:pt x="4231838" y="271261"/>
                </a:lnTo>
                <a:cubicBezTo>
                  <a:pt x="4231838" y="220229"/>
                  <a:pt x="4258383" y="190476"/>
                  <a:pt x="4300911" y="190476"/>
                </a:cubicBezTo>
                <a:cubicBezTo>
                  <a:pt x="4342108" y="190476"/>
                  <a:pt x="4360185" y="217404"/>
                  <a:pt x="4360185" y="258173"/>
                </a:cubicBezTo>
                <a:lnTo>
                  <a:pt x="4360185" y="494221"/>
                </a:lnTo>
                <a:lnTo>
                  <a:pt x="4442483" y="494221"/>
                </a:lnTo>
                <a:lnTo>
                  <a:pt x="4442483" y="257420"/>
                </a:lnTo>
                <a:cubicBezTo>
                  <a:pt x="4442578" y="186333"/>
                  <a:pt x="4404902" y="142174"/>
                  <a:pt x="4332308" y="142174"/>
                </a:cubicBezTo>
                <a:moveTo>
                  <a:pt x="4629533" y="142174"/>
                </a:moveTo>
                <a:cubicBezTo>
                  <a:pt x="4553514" y="142174"/>
                  <a:pt x="4496334" y="173905"/>
                  <a:pt x="4496334" y="241602"/>
                </a:cubicBezTo>
                <a:cubicBezTo>
                  <a:pt x="4496334" y="298943"/>
                  <a:pt x="4536103" y="330014"/>
                  <a:pt x="4580725" y="341030"/>
                </a:cubicBezTo>
                <a:lnTo>
                  <a:pt x="4650464" y="358260"/>
                </a:lnTo>
                <a:cubicBezTo>
                  <a:pt x="4687475" y="367205"/>
                  <a:pt x="4704220" y="380387"/>
                  <a:pt x="4704220" y="409387"/>
                </a:cubicBezTo>
                <a:cubicBezTo>
                  <a:pt x="4704220" y="444601"/>
                  <a:pt x="4679102" y="464656"/>
                  <a:pt x="4635146" y="464656"/>
                </a:cubicBezTo>
                <a:cubicBezTo>
                  <a:pt x="4587670" y="464656"/>
                  <a:pt x="4563314" y="441870"/>
                  <a:pt x="4555607" y="384624"/>
                </a:cubicBezTo>
                <a:lnTo>
                  <a:pt x="4481682" y="405338"/>
                </a:lnTo>
                <a:cubicBezTo>
                  <a:pt x="4485868" y="464750"/>
                  <a:pt x="4541716" y="501282"/>
                  <a:pt x="4626108" y="501282"/>
                </a:cubicBezTo>
                <a:cubicBezTo>
                  <a:pt x="4720299" y="501282"/>
                  <a:pt x="4771200" y="457782"/>
                  <a:pt x="4771200" y="388767"/>
                </a:cubicBezTo>
                <a:cubicBezTo>
                  <a:pt x="4771200" y="323894"/>
                  <a:pt x="4725817" y="296965"/>
                  <a:pt x="4678436" y="285196"/>
                </a:cubicBezTo>
                <a:lnTo>
                  <a:pt x="4611456" y="268625"/>
                </a:lnTo>
                <a:cubicBezTo>
                  <a:pt x="4577966" y="260339"/>
                  <a:pt x="4563314" y="245180"/>
                  <a:pt x="4563314" y="223054"/>
                </a:cubicBezTo>
                <a:cubicBezTo>
                  <a:pt x="4563314" y="195466"/>
                  <a:pt x="4587004" y="178895"/>
                  <a:pt x="4622588" y="178895"/>
                </a:cubicBezTo>
                <a:cubicBezTo>
                  <a:pt x="4664450" y="178895"/>
                  <a:pt x="4690234" y="201680"/>
                  <a:pt x="4693754" y="245180"/>
                </a:cubicBezTo>
                <a:lnTo>
                  <a:pt x="4763493" y="224466"/>
                </a:lnTo>
                <a:cubicBezTo>
                  <a:pt x="4755026" y="175976"/>
                  <a:pt x="4706884" y="142174"/>
                  <a:pt x="4629533" y="142174"/>
                </a:cubicBezTo>
                <a:moveTo>
                  <a:pt x="4975471" y="463149"/>
                </a:moveTo>
                <a:cubicBezTo>
                  <a:pt x="4921715" y="463149"/>
                  <a:pt x="4891745" y="412776"/>
                  <a:pt x="4891745" y="321634"/>
                </a:cubicBezTo>
                <a:cubicBezTo>
                  <a:pt x="4891745" y="229080"/>
                  <a:pt x="4921715" y="180119"/>
                  <a:pt x="4975471" y="180119"/>
                </a:cubicBezTo>
                <a:cubicBezTo>
                  <a:pt x="5029226" y="180119"/>
                  <a:pt x="5059196" y="229833"/>
                  <a:pt x="5059196" y="321634"/>
                </a:cubicBezTo>
                <a:cubicBezTo>
                  <a:pt x="5059196" y="414189"/>
                  <a:pt x="5029131" y="463149"/>
                  <a:pt x="4975471" y="463149"/>
                </a:cubicBezTo>
                <a:moveTo>
                  <a:pt x="4975471" y="142174"/>
                </a:moveTo>
                <a:cubicBezTo>
                  <a:pt x="4865962" y="142174"/>
                  <a:pt x="4805261" y="222959"/>
                  <a:pt x="4805261" y="321634"/>
                </a:cubicBezTo>
                <a:cubicBezTo>
                  <a:pt x="4805261" y="420309"/>
                  <a:pt x="4865962" y="501094"/>
                  <a:pt x="4975471" y="501094"/>
                </a:cubicBezTo>
                <a:cubicBezTo>
                  <a:pt x="5084980" y="501094"/>
                  <a:pt x="5145680" y="420309"/>
                  <a:pt x="5145680" y="321634"/>
                </a:cubicBezTo>
                <a:cubicBezTo>
                  <a:pt x="5145680" y="222959"/>
                  <a:pt x="5084980" y="142174"/>
                  <a:pt x="4975471" y="142174"/>
                </a:cubicBezTo>
                <a:moveTo>
                  <a:pt x="5377257" y="142174"/>
                </a:moveTo>
                <a:cubicBezTo>
                  <a:pt x="5325595" y="142174"/>
                  <a:pt x="5297052" y="164301"/>
                  <a:pt x="5280973" y="192547"/>
                </a:cubicBezTo>
                <a:lnTo>
                  <a:pt x="5276787" y="192547"/>
                </a:lnTo>
                <a:lnTo>
                  <a:pt x="5276787" y="149048"/>
                </a:lnTo>
                <a:lnTo>
                  <a:pt x="5194488" y="149048"/>
                </a:lnTo>
                <a:lnTo>
                  <a:pt x="5194488" y="494221"/>
                </a:lnTo>
                <a:lnTo>
                  <a:pt x="5276787" y="494221"/>
                </a:lnTo>
                <a:lnTo>
                  <a:pt x="5276787" y="271261"/>
                </a:lnTo>
                <a:cubicBezTo>
                  <a:pt x="5276787" y="220229"/>
                  <a:pt x="5303331" y="190476"/>
                  <a:pt x="5345860" y="190476"/>
                </a:cubicBezTo>
                <a:cubicBezTo>
                  <a:pt x="5387057" y="190476"/>
                  <a:pt x="5405134" y="217404"/>
                  <a:pt x="5405134" y="258173"/>
                </a:cubicBezTo>
                <a:lnTo>
                  <a:pt x="5405134" y="494221"/>
                </a:lnTo>
                <a:lnTo>
                  <a:pt x="5487432" y="494221"/>
                </a:lnTo>
                <a:lnTo>
                  <a:pt x="5487432" y="257420"/>
                </a:lnTo>
                <a:cubicBezTo>
                  <a:pt x="5487432" y="186333"/>
                  <a:pt x="5449755" y="142174"/>
                  <a:pt x="5377257" y="142174"/>
                </a:cubicBezTo>
                <a:moveTo>
                  <a:pt x="323674" y="11016"/>
                </a:moveTo>
                <a:lnTo>
                  <a:pt x="237190" y="11016"/>
                </a:lnTo>
                <a:lnTo>
                  <a:pt x="237190" y="367864"/>
                </a:lnTo>
                <a:cubicBezTo>
                  <a:pt x="237190" y="425864"/>
                  <a:pt x="214831" y="460325"/>
                  <a:pt x="161837" y="460325"/>
                </a:cubicBezTo>
                <a:cubicBezTo>
                  <a:pt x="109509" y="460325"/>
                  <a:pt x="86484" y="423698"/>
                  <a:pt x="86484" y="360897"/>
                </a:cubicBezTo>
                <a:lnTo>
                  <a:pt x="86484" y="294612"/>
                </a:lnTo>
                <a:lnTo>
                  <a:pt x="0" y="315985"/>
                </a:lnTo>
                <a:lnTo>
                  <a:pt x="0" y="345644"/>
                </a:lnTo>
                <a:cubicBezTo>
                  <a:pt x="0" y="436033"/>
                  <a:pt x="45383" y="505143"/>
                  <a:pt x="161837" y="505143"/>
                </a:cubicBezTo>
                <a:cubicBezTo>
                  <a:pt x="278291" y="505143"/>
                  <a:pt x="323674" y="436127"/>
                  <a:pt x="323674" y="345644"/>
                </a:cubicBezTo>
                <a:lnTo>
                  <a:pt x="323674" y="11016"/>
                </a:lnTo>
                <a:moveTo>
                  <a:pt x="844008" y="11016"/>
                </a:moveTo>
                <a:lnTo>
                  <a:pt x="761710" y="11016"/>
                </a:lnTo>
                <a:lnTo>
                  <a:pt x="761710" y="494221"/>
                </a:lnTo>
                <a:lnTo>
                  <a:pt x="844008" y="494221"/>
                </a:lnTo>
                <a:lnTo>
                  <a:pt x="844008" y="271261"/>
                </a:lnTo>
                <a:cubicBezTo>
                  <a:pt x="844008" y="220229"/>
                  <a:pt x="870553" y="190476"/>
                  <a:pt x="913081" y="190476"/>
                </a:cubicBezTo>
                <a:cubicBezTo>
                  <a:pt x="954278" y="190476"/>
                  <a:pt x="972355" y="217404"/>
                  <a:pt x="972355" y="258173"/>
                </a:cubicBezTo>
                <a:lnTo>
                  <a:pt x="972355" y="494221"/>
                </a:lnTo>
                <a:lnTo>
                  <a:pt x="1054653" y="494221"/>
                </a:lnTo>
                <a:lnTo>
                  <a:pt x="1054653" y="257420"/>
                </a:lnTo>
                <a:cubicBezTo>
                  <a:pt x="1054653" y="186333"/>
                  <a:pt x="1016977" y="142174"/>
                  <a:pt x="944478" y="142174"/>
                </a:cubicBezTo>
                <a:cubicBezTo>
                  <a:pt x="892816" y="142174"/>
                  <a:pt x="864273" y="164301"/>
                  <a:pt x="848194" y="192547"/>
                </a:cubicBezTo>
                <a:lnTo>
                  <a:pt x="844008" y="192547"/>
                </a:lnTo>
                <a:lnTo>
                  <a:pt x="844008" y="11016"/>
                </a:lnTo>
                <a:moveTo>
                  <a:pt x="3352342" y="11016"/>
                </a:moveTo>
                <a:lnTo>
                  <a:pt x="3265857" y="11016"/>
                </a:lnTo>
                <a:lnTo>
                  <a:pt x="3265857" y="367864"/>
                </a:lnTo>
                <a:cubicBezTo>
                  <a:pt x="3265857" y="425864"/>
                  <a:pt x="3243499" y="460325"/>
                  <a:pt x="3190504" y="460325"/>
                </a:cubicBezTo>
                <a:cubicBezTo>
                  <a:pt x="3138176" y="460325"/>
                  <a:pt x="3115152" y="423698"/>
                  <a:pt x="3115152" y="360897"/>
                </a:cubicBezTo>
                <a:lnTo>
                  <a:pt x="3115152" y="294612"/>
                </a:lnTo>
                <a:lnTo>
                  <a:pt x="3028667" y="315985"/>
                </a:lnTo>
                <a:lnTo>
                  <a:pt x="3028667" y="345644"/>
                </a:lnTo>
                <a:cubicBezTo>
                  <a:pt x="3028667" y="436033"/>
                  <a:pt x="3074050" y="505143"/>
                  <a:pt x="3190504" y="505143"/>
                </a:cubicBezTo>
                <a:cubicBezTo>
                  <a:pt x="3306959" y="505143"/>
                  <a:pt x="3352342" y="436127"/>
                  <a:pt x="3352342" y="345644"/>
                </a:cubicBezTo>
                <a:lnTo>
                  <a:pt x="3352342" y="11016"/>
                </a:lnTo>
                <a:moveTo>
                  <a:pt x="3872675" y="11016"/>
                </a:moveTo>
                <a:lnTo>
                  <a:pt x="3790377" y="11016"/>
                </a:lnTo>
                <a:lnTo>
                  <a:pt x="3790377" y="494221"/>
                </a:lnTo>
                <a:lnTo>
                  <a:pt x="3872675" y="494221"/>
                </a:lnTo>
                <a:lnTo>
                  <a:pt x="3872675" y="271261"/>
                </a:lnTo>
                <a:cubicBezTo>
                  <a:pt x="3872675" y="220229"/>
                  <a:pt x="3899220" y="190476"/>
                  <a:pt x="3941749" y="190476"/>
                </a:cubicBezTo>
                <a:cubicBezTo>
                  <a:pt x="3982945" y="190476"/>
                  <a:pt x="4001022" y="217404"/>
                  <a:pt x="4001022" y="258173"/>
                </a:cubicBezTo>
                <a:lnTo>
                  <a:pt x="4001022" y="494221"/>
                </a:lnTo>
                <a:lnTo>
                  <a:pt x="4083320" y="494221"/>
                </a:lnTo>
                <a:lnTo>
                  <a:pt x="4083320" y="257420"/>
                </a:lnTo>
                <a:cubicBezTo>
                  <a:pt x="4083320" y="186333"/>
                  <a:pt x="4045644" y="142174"/>
                  <a:pt x="3973146" y="142174"/>
                </a:cubicBezTo>
                <a:cubicBezTo>
                  <a:pt x="3921483" y="142174"/>
                  <a:pt x="3892941" y="164301"/>
                  <a:pt x="3876861" y="192547"/>
                </a:cubicBezTo>
                <a:lnTo>
                  <a:pt x="3872675" y="192547"/>
                </a:lnTo>
                <a:lnTo>
                  <a:pt x="3872675" y="11016"/>
                </a:lnTo>
                <a:moveTo>
                  <a:pt x="2730110" y="454864"/>
                </a:moveTo>
                <a:cubicBezTo>
                  <a:pt x="2663130" y="454864"/>
                  <a:pt x="2622029" y="401007"/>
                  <a:pt x="2622029" y="343761"/>
                </a:cubicBezTo>
                <a:cubicBezTo>
                  <a:pt x="2622029" y="307887"/>
                  <a:pt x="2638108" y="274745"/>
                  <a:pt x="2664557" y="256102"/>
                </a:cubicBezTo>
                <a:lnTo>
                  <a:pt x="2822208" y="426617"/>
                </a:lnTo>
                <a:cubicBezTo>
                  <a:pt x="2792904" y="443848"/>
                  <a:pt x="2760080" y="454864"/>
                  <a:pt x="2730110" y="454864"/>
                </a:cubicBezTo>
                <a:moveTo>
                  <a:pt x="2883575" y="369936"/>
                </a:moveTo>
                <a:lnTo>
                  <a:pt x="2746856" y="220794"/>
                </a:lnTo>
                <a:cubicBezTo>
                  <a:pt x="2771307" y="211096"/>
                  <a:pt x="2794998" y="207706"/>
                  <a:pt x="2814502" y="207706"/>
                </a:cubicBezTo>
                <a:cubicBezTo>
                  <a:pt x="2871016" y="207706"/>
                  <a:pt x="2905838" y="240190"/>
                  <a:pt x="2905838" y="296118"/>
                </a:cubicBezTo>
                <a:cubicBezTo>
                  <a:pt x="2905934" y="320975"/>
                  <a:pt x="2898893" y="346491"/>
                  <a:pt x="2883575" y="369936"/>
                </a:cubicBezTo>
                <a:moveTo>
                  <a:pt x="2728017" y="200833"/>
                </a:moveTo>
                <a:lnTo>
                  <a:pt x="2698047" y="167690"/>
                </a:lnTo>
                <a:cubicBezTo>
                  <a:pt x="2671503" y="138691"/>
                  <a:pt x="2663891" y="120707"/>
                  <a:pt x="2663891" y="99334"/>
                </a:cubicBezTo>
                <a:cubicBezTo>
                  <a:pt x="2663891" y="59318"/>
                  <a:pt x="2689675" y="36532"/>
                  <a:pt x="2730110" y="36532"/>
                </a:cubicBezTo>
                <a:cubicBezTo>
                  <a:pt x="2771307" y="36532"/>
                  <a:pt x="2795664" y="59977"/>
                  <a:pt x="2795664" y="102817"/>
                </a:cubicBezTo>
                <a:cubicBezTo>
                  <a:pt x="2795664" y="142174"/>
                  <a:pt x="2776159" y="179460"/>
                  <a:pt x="2728017" y="200833"/>
                </a:cubicBezTo>
                <a:moveTo>
                  <a:pt x="2732204" y="0"/>
                </a:moveTo>
                <a:cubicBezTo>
                  <a:pt x="2635920" y="0"/>
                  <a:pt x="2588539" y="53198"/>
                  <a:pt x="2588539" y="119389"/>
                </a:cubicBezTo>
                <a:cubicBezTo>
                  <a:pt x="2588539" y="155262"/>
                  <a:pt x="2603857" y="191229"/>
                  <a:pt x="2644387" y="234635"/>
                </a:cubicBezTo>
                <a:lnTo>
                  <a:pt x="2645053" y="236047"/>
                </a:lnTo>
                <a:cubicBezTo>
                  <a:pt x="2576741" y="268531"/>
                  <a:pt x="2545344" y="320975"/>
                  <a:pt x="2545344" y="374832"/>
                </a:cubicBezTo>
                <a:cubicBezTo>
                  <a:pt x="2545344" y="445919"/>
                  <a:pt x="2600432" y="505331"/>
                  <a:pt x="2685584" y="505331"/>
                </a:cubicBezTo>
                <a:cubicBezTo>
                  <a:pt x="2734392" y="505331"/>
                  <a:pt x="2791573" y="485276"/>
                  <a:pt x="2843235" y="449403"/>
                </a:cubicBezTo>
                <a:lnTo>
                  <a:pt x="2885097" y="494315"/>
                </a:lnTo>
                <a:lnTo>
                  <a:pt x="2994606" y="494315"/>
                </a:lnTo>
                <a:lnTo>
                  <a:pt x="2994606" y="490831"/>
                </a:lnTo>
                <a:lnTo>
                  <a:pt x="2905363" y="393474"/>
                </a:lnTo>
                <a:cubicBezTo>
                  <a:pt x="2943039" y="349316"/>
                  <a:pt x="2964637" y="301014"/>
                  <a:pt x="2964637" y="258833"/>
                </a:cubicBezTo>
                <a:cubicBezTo>
                  <a:pt x="2964637" y="206388"/>
                  <a:pt x="2929053" y="171174"/>
                  <a:pt x="2873300" y="171174"/>
                </a:cubicBezTo>
                <a:cubicBezTo>
                  <a:pt x="2843996" y="171174"/>
                  <a:pt x="2811172" y="179460"/>
                  <a:pt x="2789574" y="187745"/>
                </a:cubicBezTo>
                <a:lnTo>
                  <a:pt x="2788147" y="185015"/>
                </a:lnTo>
                <a:cubicBezTo>
                  <a:pt x="2841142" y="156674"/>
                  <a:pt x="2863500" y="130499"/>
                  <a:pt x="2863500" y="93873"/>
                </a:cubicBezTo>
                <a:cubicBezTo>
                  <a:pt x="2863310" y="41428"/>
                  <a:pt x="2815929" y="0"/>
                  <a:pt x="2732204" y="0"/>
                </a:cubicBezTo>
              </a:path>
            </a:pathLst>
          </a:custGeom>
          <a:solidFill>
            <a:schemeClr val="bg1"/>
          </a:solidFill>
          <a:ln w="9509" cap="flat">
            <a:noFill/>
            <a:prstDash val="solid"/>
            <a:miter/>
          </a:ln>
        </p:spPr>
        <p:txBody>
          <a:bodyPr rtlCol="0" anchor="ctr"/>
          <a:lstStyle/>
          <a:p>
            <a:endParaRPr lang="en-GB"/>
          </a:p>
        </p:txBody>
      </p:sp>
      <p:sp>
        <p:nvSpPr>
          <p:cNvPr id="3" name="Footer Placeholder 4">
            <a:extLst>
              <a:ext uri="{FF2B5EF4-FFF2-40B4-BE49-F238E27FC236}">
                <a16:creationId xmlns:a16="http://schemas.microsoft.com/office/drawing/2014/main" id="{4D466A10-B393-D326-ACF8-1D66A2B3A01F}"/>
              </a:ext>
            </a:extLst>
          </p:cNvPr>
          <p:cNvSpPr txBox="1">
            <a:spLocks/>
          </p:cNvSpPr>
          <p:nvPr userDrawn="1"/>
        </p:nvSpPr>
        <p:spPr>
          <a:xfrm>
            <a:off x="4645892" y="6405624"/>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0" i="0" kern="1200">
                <a:solidFill>
                  <a:schemeClr val="bg1"/>
                </a:solidFill>
                <a:latin typeface="+mn-lt"/>
                <a:ea typeface="+mn-ea"/>
                <a:cs typeface="+mn-cs"/>
              </a:rPr>
              <a:t>HEALTH CARE COMPLIANCE</a:t>
            </a:r>
          </a:p>
        </p:txBody>
      </p:sp>
    </p:spTree>
    <p:extLst>
      <p:ext uri="{BB962C8B-B14F-4D97-AF65-F5344CB8AC3E}">
        <p14:creationId xmlns:p14="http://schemas.microsoft.com/office/powerpoint/2010/main" val="25868861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Images and Caption">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0" y="3357563"/>
            <a:ext cx="4152900" cy="3500438"/>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4152900" y="1"/>
            <a:ext cx="3912062" cy="6857518"/>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6" name="Text Placeholder 5">
            <a:extLst>
              <a:ext uri="{FF2B5EF4-FFF2-40B4-BE49-F238E27FC236}">
                <a16:creationId xmlns:a16="http://schemas.microsoft.com/office/drawing/2014/main" id="{899B3B30-291B-0259-955A-B312868ADB24}"/>
              </a:ext>
            </a:extLst>
          </p:cNvPr>
          <p:cNvSpPr>
            <a:spLocks noGrp="1"/>
          </p:cNvSpPr>
          <p:nvPr>
            <p:ph type="body" sz="quarter" idx="15"/>
          </p:nvPr>
        </p:nvSpPr>
        <p:spPr>
          <a:xfrm>
            <a:off x="9104313" y="4376738"/>
            <a:ext cx="2795587" cy="1893887"/>
          </a:xfrm>
        </p:spPr>
        <p:txBody>
          <a:bodyPr/>
          <a:lstStyle>
            <a:lvl4pPr>
              <a:defRPr sz="40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Picture Placeholder 5">
            <a:extLst>
              <a:ext uri="{FF2B5EF4-FFF2-40B4-BE49-F238E27FC236}">
                <a16:creationId xmlns:a16="http://schemas.microsoft.com/office/drawing/2014/main" id="{274C72C0-D5F1-8526-2BDA-0E6460C330CF}"/>
              </a:ext>
            </a:extLst>
          </p:cNvPr>
          <p:cNvSpPr>
            <a:spLocks noGrp="1"/>
          </p:cNvSpPr>
          <p:nvPr>
            <p:ph type="pic" sz="quarter" idx="16" hasCustomPrompt="1"/>
          </p:nvPr>
        </p:nvSpPr>
        <p:spPr>
          <a:xfrm>
            <a:off x="8064961" y="0"/>
            <a:ext cx="4114339" cy="3357563"/>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5" name="Title 4">
            <a:extLst>
              <a:ext uri="{FF2B5EF4-FFF2-40B4-BE49-F238E27FC236}">
                <a16:creationId xmlns:a16="http://schemas.microsoft.com/office/drawing/2014/main" id="{6D8318B1-25E6-EF2C-0244-43CD92F8BF97}"/>
              </a:ext>
            </a:extLst>
          </p:cNvPr>
          <p:cNvSpPr>
            <a:spLocks noGrp="1"/>
          </p:cNvSpPr>
          <p:nvPr>
            <p:ph type="title"/>
          </p:nvPr>
        </p:nvSpPr>
        <p:spPr>
          <a:xfrm>
            <a:off x="288000" y="696913"/>
            <a:ext cx="3770934" cy="1765868"/>
          </a:xfrm>
        </p:spPr>
        <p:txBody>
          <a:bodyPr/>
          <a:lstStyle>
            <a:lvl1pPr>
              <a:defRPr sz="4500"/>
            </a:lvl1pPr>
          </a:lstStyle>
          <a:p>
            <a:r>
              <a:rPr lang="en-US"/>
              <a:t>Click to edit Master title style</a:t>
            </a:r>
            <a:endParaRPr lang="en-GB"/>
          </a:p>
        </p:txBody>
      </p:sp>
    </p:spTree>
    <p:extLst>
      <p:ext uri="{BB962C8B-B14F-4D97-AF65-F5344CB8AC3E}">
        <p14:creationId xmlns:p14="http://schemas.microsoft.com/office/powerpoint/2010/main" val="23142141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nimated Title and Image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53FA985-3B61-CED4-73DE-1DFA4E2DD7DA}"/>
              </a:ext>
            </a:extLst>
          </p:cNvPr>
          <p:cNvSpPr>
            <a:spLocks noGrp="1"/>
          </p:cNvSpPr>
          <p:nvPr>
            <p:ph type="ftr" sz="quarter" idx="10"/>
          </p:nvPr>
        </p:nvSpPr>
        <p:spPr/>
        <p:txBody>
          <a:bodyPr/>
          <a:lstStyle/>
          <a:p>
            <a:r>
              <a:rPr lang="en-US"/>
              <a:t>Job Aid and Guidance Document still under review.</a:t>
            </a:r>
            <a:endParaRPr lang="en-GB"/>
          </a:p>
        </p:txBody>
      </p:sp>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0" y="-1"/>
            <a:ext cx="5041900" cy="3357563"/>
          </a:xfrm>
          <a:solidFill>
            <a:srgbClr val="F6F3F2"/>
          </a:solidFill>
        </p:spPr>
        <p:txBody>
          <a:bodyPr vert="horz" lIns="0" tIns="0" rIns="0" bIns="0" rtlCol="0">
            <a:noAutofit/>
          </a:bodyPr>
          <a:lstStyle>
            <a:lvl1pPr marL="0" marR="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6165850" y="3357563"/>
            <a:ext cx="6022552" cy="3499955"/>
          </a:xfrm>
          <a:solidFill>
            <a:srgbClr val="F6F3F2"/>
          </a:solidFill>
        </p:spPr>
        <p:txBody>
          <a:bodyPr vert="horz" lIns="0" tIns="0" rIns="0" bIns="0" rtlCol="0">
            <a:noAutofit/>
          </a:bodyPr>
          <a:lstStyle>
            <a:lvl1pPr marL="0" marR="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2" name="Text Placeholder 5">
            <a:extLst>
              <a:ext uri="{FF2B5EF4-FFF2-40B4-BE49-F238E27FC236}">
                <a16:creationId xmlns:a16="http://schemas.microsoft.com/office/drawing/2014/main" id="{769031AD-BE5D-A3B7-1DEC-6584F4E4BF8D}"/>
              </a:ext>
            </a:extLst>
          </p:cNvPr>
          <p:cNvSpPr>
            <a:spLocks noGrp="1"/>
          </p:cNvSpPr>
          <p:nvPr>
            <p:ph type="body" sz="quarter" idx="12" hasCustomPrompt="1"/>
          </p:nvPr>
        </p:nvSpPr>
        <p:spPr>
          <a:xfrm>
            <a:off x="6165850" y="1306512"/>
            <a:ext cx="5736764" cy="911019"/>
          </a:xfrm>
        </p:spPr>
        <p:txBody>
          <a:bodyPr wrap="square" anchor="ctr">
            <a:spAutoFit/>
          </a:bodyPr>
          <a:lstStyle>
            <a:lvl1pPr>
              <a:lnSpc>
                <a:spcPct val="80000"/>
              </a:lnSpc>
              <a:defRPr sz="7400" b="0" i="0">
                <a:solidFill>
                  <a:schemeClr val="accent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GB"/>
              <a:t>Key text</a:t>
            </a:r>
          </a:p>
        </p:txBody>
      </p:sp>
      <p:sp>
        <p:nvSpPr>
          <p:cNvPr id="13" name="Text Placeholder 5">
            <a:extLst>
              <a:ext uri="{FF2B5EF4-FFF2-40B4-BE49-F238E27FC236}">
                <a16:creationId xmlns:a16="http://schemas.microsoft.com/office/drawing/2014/main" id="{C02A894D-CD72-8370-90B3-68756CDFCBE0}"/>
              </a:ext>
            </a:extLst>
          </p:cNvPr>
          <p:cNvSpPr>
            <a:spLocks noGrp="1"/>
          </p:cNvSpPr>
          <p:nvPr>
            <p:ph type="body" sz="quarter" idx="15" hasCustomPrompt="1"/>
          </p:nvPr>
        </p:nvSpPr>
        <p:spPr>
          <a:xfrm>
            <a:off x="1266825" y="4377028"/>
            <a:ext cx="4754562" cy="911019"/>
          </a:xfrm>
        </p:spPr>
        <p:txBody>
          <a:bodyPr wrap="square" anchor="ctr">
            <a:spAutoFit/>
          </a:bodyPr>
          <a:lstStyle>
            <a:lvl1pPr>
              <a:lnSpc>
                <a:spcPct val="80000"/>
              </a:lnSpc>
              <a:defRPr sz="7400" b="0" i="0">
                <a:solidFill>
                  <a:schemeClr val="accent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GB"/>
              <a:t>goes here</a:t>
            </a:r>
          </a:p>
        </p:txBody>
      </p:sp>
    </p:spTree>
    <p:extLst>
      <p:ext uri="{BB962C8B-B14F-4D97-AF65-F5344CB8AC3E}">
        <p14:creationId xmlns:p14="http://schemas.microsoft.com/office/powerpoint/2010/main" val="1678722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63" presetClass="path" presetSubtype="0" accel="50000" decel="50000" fill="hold" grpId="1" nodeType="withEffect">
                                  <p:stCondLst>
                                    <p:cond delay="0"/>
                                  </p:stCondLst>
                                  <p:childTnLst>
                                    <p:animMotion origin="layout" path="M 1.45833E-6 -4.07407E-6 L 0.03906 -4.07407E-6 " pathEditMode="relative" rAng="0" ptsTypes="AA">
                                      <p:cBhvr>
                                        <p:cTn id="9" dur="1000" spd="-100000" fill="hold"/>
                                        <p:tgtEl>
                                          <p:spTgt spid="12"/>
                                        </p:tgtEl>
                                        <p:attrNameLst>
                                          <p:attrName>ppt_x</p:attrName>
                                          <p:attrName>ppt_y</p:attrName>
                                        </p:attrNameLst>
                                      </p:cBhvr>
                                      <p:rCtr x="1953"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par>
                                <p:cTn id="17" presetID="63" presetClass="path" presetSubtype="0" accel="50000" decel="50000" fill="hold" grpId="1" nodeType="withEffect">
                                  <p:stCondLst>
                                    <p:cond delay="0"/>
                                  </p:stCondLst>
                                  <p:childTnLst>
                                    <p:animMotion origin="layout" path="M -3.33333E-6 -3.7037E-6 L -0.03437 -3.7037E-6 " pathEditMode="relative" rAng="0" ptsTypes="AA">
                                      <p:cBhvr>
                                        <p:cTn id="18" dur="1000" spd="-100000" fill="hold"/>
                                        <p:tgtEl>
                                          <p:spTgt spid="13"/>
                                        </p:tgtEl>
                                        <p:attrNameLst>
                                          <p:attrName>ppt_x</p:attrName>
                                          <p:attrName>ppt_y</p:attrName>
                                        </p:attrNameLst>
                                      </p:cBhvr>
                                      <p:rCtr x="-1719" y="0"/>
                                    </p:animMotion>
                                  </p:childTnLst>
                                </p:cTn>
                              </p:par>
                              <p:par>
                                <p:cTn id="19" presetID="10"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p:tmplLst>
          <p:tmpl>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2" grpId="1"/>
      <p:bldP spid="13" grpId="0">
        <p:tmplLst>
          <p:tmpl>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13" grpId="1"/>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eam Slide x 1">
    <p:bg>
      <p:bgPr>
        <a:solidFill>
          <a:schemeClr val="tx2"/>
        </a:solidFill>
        <a:effectLst/>
      </p:bgPr>
    </p:bg>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6096000" y="0"/>
            <a:ext cx="6095999" cy="6858000"/>
          </a:xfrm>
          <a:solidFill>
            <a:srgbClr val="F6F3F2"/>
          </a:solidFill>
        </p:spPr>
        <p:txBody>
          <a:bodyPr vert="horz" lIns="0" tIns="0" rIns="0" bIns="0" rtlCol="0">
            <a:noAutofit/>
          </a:bodyPr>
          <a:lstStyle>
            <a:lvl1pPr>
              <a:defRPr lang="en-GB" dirty="0">
                <a:solidFill>
                  <a:schemeClr val="tx1"/>
                </a:solidFill>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288925" y="5394325"/>
            <a:ext cx="2795587" cy="876300"/>
          </a:xfrm>
        </p:spPr>
        <p:txBody>
          <a:bodyPr anchor="t"/>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5" name="Text Placeholder 7">
            <a:extLst>
              <a:ext uri="{FF2B5EF4-FFF2-40B4-BE49-F238E27FC236}">
                <a16:creationId xmlns:a16="http://schemas.microsoft.com/office/drawing/2014/main" id="{D8DD8F62-9521-0227-75CF-0AE636418711}"/>
              </a:ext>
            </a:extLst>
          </p:cNvPr>
          <p:cNvSpPr>
            <a:spLocks noGrp="1"/>
          </p:cNvSpPr>
          <p:nvPr>
            <p:ph type="body" sz="quarter" idx="15"/>
          </p:nvPr>
        </p:nvSpPr>
        <p:spPr>
          <a:xfrm>
            <a:off x="288925" y="2338388"/>
            <a:ext cx="3778250" cy="189388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itle 7">
            <a:extLst>
              <a:ext uri="{FF2B5EF4-FFF2-40B4-BE49-F238E27FC236}">
                <a16:creationId xmlns:a16="http://schemas.microsoft.com/office/drawing/2014/main" id="{B09A4C51-350E-EA65-5ABE-B10E6D298CF1}"/>
              </a:ext>
            </a:extLst>
          </p:cNvPr>
          <p:cNvSpPr>
            <a:spLocks noGrp="1"/>
          </p:cNvSpPr>
          <p:nvPr>
            <p:ph type="title" hasCustomPrompt="1"/>
          </p:nvPr>
        </p:nvSpPr>
        <p:spPr>
          <a:xfrm>
            <a:off x="288303" y="262800"/>
            <a:ext cx="5733085" cy="468590"/>
          </a:xfrm>
        </p:spPr>
        <p:txBody>
          <a:bodyPr/>
          <a:lstStyle>
            <a:lvl1pPr>
              <a:defRPr>
                <a:solidFill>
                  <a:schemeClr val="bg1"/>
                </a:solidFill>
              </a:defRPr>
            </a:lvl1pPr>
          </a:lstStyle>
          <a:p>
            <a:r>
              <a:rPr lang="en-US"/>
              <a:t>Master title style</a:t>
            </a:r>
            <a:endParaRPr lang="en-GB"/>
          </a:p>
        </p:txBody>
      </p:sp>
      <p:sp>
        <p:nvSpPr>
          <p:cNvPr id="2" name="Subtitle 2">
            <a:extLst>
              <a:ext uri="{FF2B5EF4-FFF2-40B4-BE49-F238E27FC236}">
                <a16:creationId xmlns:a16="http://schemas.microsoft.com/office/drawing/2014/main" id="{5751BFC5-7E94-8966-6D2A-5204BCB942D2}"/>
              </a:ext>
            </a:extLst>
          </p:cNvPr>
          <p:cNvSpPr>
            <a:spLocks noGrp="1"/>
          </p:cNvSpPr>
          <p:nvPr>
            <p:ph type="subTitle" idx="16" hasCustomPrompt="1"/>
          </p:nvPr>
        </p:nvSpPr>
        <p:spPr>
          <a:xfrm>
            <a:off x="288302" y="713620"/>
            <a:ext cx="5733085" cy="292965"/>
          </a:xfrm>
        </p:spPr>
        <p:txBody>
          <a:bodyPr vert="horz" wrap="square" lIns="0" tIns="0" rIns="0" bIns="0" rtlCol="0" anchor="t">
            <a:spAutoFit/>
          </a:bodyPr>
          <a:lstStyle>
            <a:lvl1pPr>
              <a:defRPr lang="en-GB" b="1" dirty="0">
                <a:solidFill>
                  <a:schemeClr val="bg1"/>
                </a:solidFill>
              </a:defRPr>
            </a:lvl1pPr>
          </a:lstStyle>
          <a:p>
            <a:pPr lvl="0">
              <a:spcBef>
                <a:spcPts val="0"/>
              </a:spcBef>
              <a:spcAft>
                <a:spcPts val="0"/>
              </a:spcAft>
            </a:pPr>
            <a:r>
              <a:rPr lang="en-GB"/>
              <a:t>Subtitle goes here if required</a:t>
            </a:r>
          </a:p>
        </p:txBody>
      </p:sp>
      <p:sp>
        <p:nvSpPr>
          <p:cNvPr id="3" name="Graphic 8">
            <a:extLst>
              <a:ext uri="{FF2B5EF4-FFF2-40B4-BE49-F238E27FC236}">
                <a16:creationId xmlns:a16="http://schemas.microsoft.com/office/drawing/2014/main" id="{0256C6C6-C2B0-619B-06B6-F0B7706CD3DA}"/>
              </a:ext>
            </a:extLst>
          </p:cNvPr>
          <p:cNvSpPr>
            <a:spLocks noChangeAspect="1"/>
          </p:cNvSpPr>
          <p:nvPr userDrawn="1"/>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a:p>
        </p:txBody>
      </p:sp>
      <p:sp>
        <p:nvSpPr>
          <p:cNvPr id="8" name="Footer Placeholder 4">
            <a:extLst>
              <a:ext uri="{FF2B5EF4-FFF2-40B4-BE49-F238E27FC236}">
                <a16:creationId xmlns:a16="http://schemas.microsoft.com/office/drawing/2014/main" id="{7CFA9BD7-A950-F265-46D3-F16CEFFCE4BC}"/>
              </a:ext>
            </a:extLst>
          </p:cNvPr>
          <p:cNvSpPr txBox="1">
            <a:spLocks/>
          </p:cNvSpPr>
          <p:nvPr userDrawn="1"/>
        </p:nvSpPr>
        <p:spPr>
          <a:xfrm>
            <a:off x="4316255" y="6447637"/>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0" i="0" kern="1200">
                <a:solidFill>
                  <a:schemeClr val="bg1"/>
                </a:solidFill>
                <a:latin typeface="+mn-lt"/>
                <a:ea typeface="+mn-ea"/>
                <a:cs typeface="+mn-cs"/>
              </a:rPr>
              <a:t>HEALTH CARE COMPLIANCE</a:t>
            </a:r>
          </a:p>
        </p:txBody>
      </p:sp>
    </p:spTree>
    <p:extLst>
      <p:ext uri="{BB962C8B-B14F-4D97-AF65-F5344CB8AC3E}">
        <p14:creationId xmlns:p14="http://schemas.microsoft.com/office/powerpoint/2010/main" val="7805219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eam Slide x 1-2">
    <p:bg>
      <p:bgPr>
        <a:solidFill>
          <a:schemeClr val="tx2"/>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lvl1pPr>
              <a:defRPr>
                <a:solidFill>
                  <a:schemeClr val="bg1"/>
                </a:solidFill>
              </a:defRPr>
            </a:lvl1pPr>
          </a:lstStyle>
          <a:p>
            <a:r>
              <a:rPr lang="en-US"/>
              <a:t>Job Aid and Guidance Document still under review.</a:t>
            </a:r>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8124825" y="285158"/>
            <a:ext cx="3775075" cy="3947118"/>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8124825" y="4376738"/>
            <a:ext cx="3775075" cy="1893887"/>
          </a:xfrm>
        </p:spPr>
        <p:txBody>
          <a:bodyPr/>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 name="Text Placeholder 7">
            <a:extLst>
              <a:ext uri="{FF2B5EF4-FFF2-40B4-BE49-F238E27FC236}">
                <a16:creationId xmlns:a16="http://schemas.microsoft.com/office/drawing/2014/main" id="{AE887C0B-D804-38AD-7676-333BDBFC1AF7}"/>
              </a:ext>
            </a:extLst>
          </p:cNvPr>
          <p:cNvSpPr>
            <a:spLocks noGrp="1"/>
          </p:cNvSpPr>
          <p:nvPr>
            <p:ph type="body" sz="quarter" idx="15"/>
          </p:nvPr>
        </p:nvSpPr>
        <p:spPr>
          <a:xfrm>
            <a:off x="288925" y="4376738"/>
            <a:ext cx="3778250" cy="189388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2" name="Picture Placeholder 3">
            <a:extLst>
              <a:ext uri="{FF2B5EF4-FFF2-40B4-BE49-F238E27FC236}">
                <a16:creationId xmlns:a16="http://schemas.microsoft.com/office/drawing/2014/main" id="{AE4666F2-0E72-5C8A-DFF8-2DD7C6E4BAAE}"/>
              </a:ext>
            </a:extLst>
          </p:cNvPr>
          <p:cNvSpPr>
            <a:spLocks noGrp="1"/>
          </p:cNvSpPr>
          <p:nvPr>
            <p:ph type="pic" sz="quarter" idx="25" hasCustomPrompt="1"/>
          </p:nvPr>
        </p:nvSpPr>
        <p:spPr>
          <a:xfrm>
            <a:off x="4207732" y="285158"/>
            <a:ext cx="3775075" cy="3947118"/>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4207732" y="4376738"/>
            <a:ext cx="3775075" cy="1893887"/>
          </a:xfrm>
        </p:spPr>
        <p:txBody>
          <a:bodyPr/>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0" name="Title 7">
            <a:extLst>
              <a:ext uri="{FF2B5EF4-FFF2-40B4-BE49-F238E27FC236}">
                <a16:creationId xmlns:a16="http://schemas.microsoft.com/office/drawing/2014/main" id="{E80529FD-0171-E552-588C-C152AED56261}"/>
              </a:ext>
            </a:extLst>
          </p:cNvPr>
          <p:cNvSpPr>
            <a:spLocks noGrp="1"/>
          </p:cNvSpPr>
          <p:nvPr>
            <p:ph type="title" hasCustomPrompt="1"/>
          </p:nvPr>
        </p:nvSpPr>
        <p:spPr>
          <a:xfrm>
            <a:off x="288303" y="262800"/>
            <a:ext cx="3775073" cy="454529"/>
          </a:xfrm>
        </p:spPr>
        <p:txBody>
          <a:bodyPr/>
          <a:lstStyle>
            <a:lvl1pPr>
              <a:defRPr>
                <a:solidFill>
                  <a:schemeClr val="bg1"/>
                </a:solidFill>
              </a:defRPr>
            </a:lvl1pPr>
          </a:lstStyle>
          <a:p>
            <a:r>
              <a:rPr lang="en-US"/>
              <a:t>Master title style</a:t>
            </a:r>
            <a:endParaRPr lang="en-GB"/>
          </a:p>
        </p:txBody>
      </p:sp>
      <p:sp>
        <p:nvSpPr>
          <p:cNvPr id="5" name="Subtitle 2">
            <a:extLst>
              <a:ext uri="{FF2B5EF4-FFF2-40B4-BE49-F238E27FC236}">
                <a16:creationId xmlns:a16="http://schemas.microsoft.com/office/drawing/2014/main" id="{EA79EF84-4162-265E-6156-177364480E50}"/>
              </a:ext>
            </a:extLst>
          </p:cNvPr>
          <p:cNvSpPr>
            <a:spLocks noGrp="1"/>
          </p:cNvSpPr>
          <p:nvPr>
            <p:ph type="subTitle" idx="16" hasCustomPrompt="1"/>
          </p:nvPr>
        </p:nvSpPr>
        <p:spPr>
          <a:xfrm>
            <a:off x="288302" y="713620"/>
            <a:ext cx="3775075" cy="292965"/>
          </a:xfrm>
        </p:spPr>
        <p:txBody>
          <a:bodyPr vert="horz" wrap="square" lIns="0" tIns="0" rIns="0" bIns="0" rtlCol="0" anchor="t">
            <a:spAutoFit/>
          </a:bodyPr>
          <a:lstStyle>
            <a:lvl1pPr>
              <a:defRPr lang="en-GB" b="1" dirty="0">
                <a:solidFill>
                  <a:schemeClr val="bg1"/>
                </a:solidFill>
              </a:defRPr>
            </a:lvl1pPr>
          </a:lstStyle>
          <a:p>
            <a:pPr lvl="0">
              <a:spcBef>
                <a:spcPts val="0"/>
              </a:spcBef>
              <a:spcAft>
                <a:spcPts val="0"/>
              </a:spcAft>
            </a:pPr>
            <a:r>
              <a:rPr lang="en-GB"/>
              <a:t>Subtitle goes here if required</a:t>
            </a:r>
          </a:p>
        </p:txBody>
      </p:sp>
      <p:sp>
        <p:nvSpPr>
          <p:cNvPr id="9" name="Graphic 8">
            <a:extLst>
              <a:ext uri="{FF2B5EF4-FFF2-40B4-BE49-F238E27FC236}">
                <a16:creationId xmlns:a16="http://schemas.microsoft.com/office/drawing/2014/main" id="{B58D846E-E0EB-4B4E-2451-D64CE997DC63}"/>
              </a:ext>
            </a:extLst>
          </p:cNvPr>
          <p:cNvSpPr>
            <a:spLocks noChangeAspect="1"/>
          </p:cNvSpPr>
          <p:nvPr userDrawn="1"/>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a:p>
        </p:txBody>
      </p:sp>
      <p:sp>
        <p:nvSpPr>
          <p:cNvPr id="8" name="Footer Placeholder 4">
            <a:extLst>
              <a:ext uri="{FF2B5EF4-FFF2-40B4-BE49-F238E27FC236}">
                <a16:creationId xmlns:a16="http://schemas.microsoft.com/office/drawing/2014/main" id="{F8CF73C8-223E-60EF-776A-A34801EA3D09}"/>
              </a:ext>
            </a:extLst>
          </p:cNvPr>
          <p:cNvSpPr txBox="1">
            <a:spLocks/>
          </p:cNvSpPr>
          <p:nvPr userDrawn="1"/>
        </p:nvSpPr>
        <p:spPr>
          <a:xfrm>
            <a:off x="9772073" y="6424023"/>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0" i="0" kern="1200">
                <a:solidFill>
                  <a:schemeClr val="bg1"/>
                </a:solidFill>
                <a:latin typeface="+mn-lt"/>
                <a:ea typeface="+mn-ea"/>
                <a:cs typeface="+mn-cs"/>
              </a:rPr>
              <a:t>HEALTH CARE COMPLIANCE</a:t>
            </a:r>
          </a:p>
        </p:txBody>
      </p:sp>
    </p:spTree>
    <p:extLst>
      <p:ext uri="{BB962C8B-B14F-4D97-AF65-F5344CB8AC3E}">
        <p14:creationId xmlns:p14="http://schemas.microsoft.com/office/powerpoint/2010/main" val="34575611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eam Slide x 3">
    <p:bg>
      <p:bgPr>
        <a:solidFill>
          <a:schemeClr val="tx2"/>
        </a:solidFill>
        <a:effectLst/>
      </p:bgPr>
    </p:bg>
    <p:spTree>
      <p:nvGrpSpPr>
        <p:cNvPr id="1" name=""/>
        <p:cNvGrpSpPr/>
        <p:nvPr/>
      </p:nvGrpSpPr>
      <p:grpSpPr>
        <a:xfrm>
          <a:off x="0" y="0"/>
          <a:ext cx="0" cy="0"/>
          <a:chOff x="0" y="0"/>
          <a:chExt cx="0" cy="0"/>
        </a:xfrm>
      </p:grpSpPr>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6161089" y="1309284"/>
            <a:ext cx="2795588" cy="2922992"/>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6161088" y="4376738"/>
            <a:ext cx="2797905" cy="1893887"/>
          </a:xfrm>
        </p:spPr>
        <p:txBody>
          <a:bodyPr/>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 name="Picture Placeholder 3">
            <a:extLst>
              <a:ext uri="{FF2B5EF4-FFF2-40B4-BE49-F238E27FC236}">
                <a16:creationId xmlns:a16="http://schemas.microsoft.com/office/drawing/2014/main" id="{AE4666F2-0E72-5C8A-DFF8-2DD7C6E4BAAE}"/>
              </a:ext>
            </a:extLst>
          </p:cNvPr>
          <p:cNvSpPr>
            <a:spLocks noGrp="1"/>
          </p:cNvSpPr>
          <p:nvPr>
            <p:ph type="pic" sz="quarter" idx="25" hasCustomPrompt="1"/>
          </p:nvPr>
        </p:nvSpPr>
        <p:spPr>
          <a:xfrm>
            <a:off x="3225801" y="1309284"/>
            <a:ext cx="2795588" cy="2922992"/>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3225800" y="4376738"/>
            <a:ext cx="2794731" cy="1893887"/>
          </a:xfrm>
        </p:spPr>
        <p:txBody>
          <a:bodyPr/>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9" name="Picture Placeholder 3">
            <a:extLst>
              <a:ext uri="{FF2B5EF4-FFF2-40B4-BE49-F238E27FC236}">
                <a16:creationId xmlns:a16="http://schemas.microsoft.com/office/drawing/2014/main" id="{2D83ADDB-0799-3ABA-AFB5-0EF907EBBC1C}"/>
              </a:ext>
            </a:extLst>
          </p:cNvPr>
          <p:cNvSpPr>
            <a:spLocks noGrp="1"/>
          </p:cNvSpPr>
          <p:nvPr>
            <p:ph type="pic" sz="quarter" idx="27" hasCustomPrompt="1"/>
          </p:nvPr>
        </p:nvSpPr>
        <p:spPr>
          <a:xfrm>
            <a:off x="9119384" y="1309284"/>
            <a:ext cx="2795588" cy="2922992"/>
          </a:xfrm>
          <a:solidFill>
            <a:srgbClr val="F6F3F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10" name="Text Placeholder 10">
            <a:extLst>
              <a:ext uri="{FF2B5EF4-FFF2-40B4-BE49-F238E27FC236}">
                <a16:creationId xmlns:a16="http://schemas.microsoft.com/office/drawing/2014/main" id="{5A40ED4D-9D7E-FA31-0E92-48608769B8DC}"/>
              </a:ext>
            </a:extLst>
          </p:cNvPr>
          <p:cNvSpPr>
            <a:spLocks noGrp="1"/>
          </p:cNvSpPr>
          <p:nvPr>
            <p:ph type="body" sz="quarter" idx="28" hasCustomPrompt="1"/>
          </p:nvPr>
        </p:nvSpPr>
        <p:spPr>
          <a:xfrm>
            <a:off x="9119383" y="4376738"/>
            <a:ext cx="2797905" cy="1893887"/>
          </a:xfrm>
        </p:spPr>
        <p:txBody>
          <a:bodyPr/>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8" name="Text Placeholder 7">
            <a:extLst>
              <a:ext uri="{FF2B5EF4-FFF2-40B4-BE49-F238E27FC236}">
                <a16:creationId xmlns:a16="http://schemas.microsoft.com/office/drawing/2014/main" id="{048FEEB1-636D-38E4-1003-F9C2F0009989}"/>
              </a:ext>
            </a:extLst>
          </p:cNvPr>
          <p:cNvSpPr>
            <a:spLocks noGrp="1"/>
          </p:cNvSpPr>
          <p:nvPr>
            <p:ph type="body" sz="quarter" idx="15"/>
          </p:nvPr>
        </p:nvSpPr>
        <p:spPr>
          <a:xfrm>
            <a:off x="288925" y="4376738"/>
            <a:ext cx="2776485" cy="189388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12" name="Title 11">
            <a:extLst>
              <a:ext uri="{FF2B5EF4-FFF2-40B4-BE49-F238E27FC236}">
                <a16:creationId xmlns:a16="http://schemas.microsoft.com/office/drawing/2014/main" id="{C45B8B1D-DD68-528A-E1DB-9EC7F9835CC4}"/>
              </a:ext>
            </a:extLst>
          </p:cNvPr>
          <p:cNvSpPr>
            <a:spLocks noGrp="1"/>
          </p:cNvSpPr>
          <p:nvPr>
            <p:ph type="title"/>
          </p:nvPr>
        </p:nvSpPr>
        <p:spPr>
          <a:xfrm>
            <a:off x="288303" y="262800"/>
            <a:ext cx="9649446" cy="468590"/>
          </a:xfrm>
        </p:spPr>
        <p:txBody>
          <a:bodyPr/>
          <a:lstStyle>
            <a:lvl1pPr>
              <a:defRPr>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A56CA54C-86BC-245E-8EEE-F0C02489F097}"/>
              </a:ext>
            </a:extLst>
          </p:cNvPr>
          <p:cNvSpPr>
            <a:spLocks noGrp="1"/>
          </p:cNvSpPr>
          <p:nvPr>
            <p:ph type="subTitle" idx="16" hasCustomPrompt="1"/>
          </p:nvPr>
        </p:nvSpPr>
        <p:spPr>
          <a:xfrm>
            <a:off x="288301" y="713620"/>
            <a:ext cx="9649445" cy="292965"/>
          </a:xfrm>
        </p:spPr>
        <p:txBody>
          <a:bodyPr vert="horz" wrap="square" lIns="0" tIns="0" rIns="0" bIns="0" rtlCol="0" anchor="t">
            <a:spAutoFit/>
          </a:bodyPr>
          <a:lstStyle>
            <a:lvl1pPr>
              <a:defRPr lang="en-GB" b="1" dirty="0">
                <a:solidFill>
                  <a:schemeClr val="bg1"/>
                </a:solidFill>
              </a:defRPr>
            </a:lvl1pPr>
          </a:lstStyle>
          <a:p>
            <a:pPr lvl="0">
              <a:spcBef>
                <a:spcPts val="0"/>
              </a:spcBef>
              <a:spcAft>
                <a:spcPts val="0"/>
              </a:spcAft>
            </a:pPr>
            <a:r>
              <a:rPr lang="en-GB"/>
              <a:t>Subtitle goes here if required</a:t>
            </a:r>
          </a:p>
        </p:txBody>
      </p:sp>
      <p:sp>
        <p:nvSpPr>
          <p:cNvPr id="11" name="Footer Placeholder 10">
            <a:extLst>
              <a:ext uri="{FF2B5EF4-FFF2-40B4-BE49-F238E27FC236}">
                <a16:creationId xmlns:a16="http://schemas.microsoft.com/office/drawing/2014/main" id="{B0F98AA2-E2DC-E0E0-4C8F-760BB9A932E3}"/>
              </a:ext>
            </a:extLst>
          </p:cNvPr>
          <p:cNvSpPr>
            <a:spLocks noGrp="1"/>
          </p:cNvSpPr>
          <p:nvPr>
            <p:ph type="ftr" sz="quarter" idx="29"/>
          </p:nvPr>
        </p:nvSpPr>
        <p:spPr/>
        <p:txBody>
          <a:bodyPr/>
          <a:lstStyle>
            <a:lvl1pPr>
              <a:defRPr>
                <a:solidFill>
                  <a:schemeClr val="bg1"/>
                </a:solidFill>
              </a:defRPr>
            </a:lvl1pPr>
          </a:lstStyle>
          <a:p>
            <a:r>
              <a:rPr lang="en-US"/>
              <a:t>Job Aid and Guidance Document still under review.</a:t>
            </a:r>
            <a:endParaRPr lang="en-GB"/>
          </a:p>
        </p:txBody>
      </p:sp>
      <p:sp>
        <p:nvSpPr>
          <p:cNvPr id="13" name="Slide Number Placeholder 12">
            <a:extLst>
              <a:ext uri="{FF2B5EF4-FFF2-40B4-BE49-F238E27FC236}">
                <a16:creationId xmlns:a16="http://schemas.microsoft.com/office/drawing/2014/main" id="{482FD8FC-F7B2-9C6C-B17A-E86A85F913ED}"/>
              </a:ext>
            </a:extLst>
          </p:cNvPr>
          <p:cNvSpPr>
            <a:spLocks noGrp="1"/>
          </p:cNvSpPr>
          <p:nvPr>
            <p:ph type="sldNum" sz="quarter" idx="30"/>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14" name="Graphic 8">
            <a:extLst>
              <a:ext uri="{FF2B5EF4-FFF2-40B4-BE49-F238E27FC236}">
                <a16:creationId xmlns:a16="http://schemas.microsoft.com/office/drawing/2014/main" id="{39092A83-DA5A-9054-8843-290AA80FA357}"/>
              </a:ext>
            </a:extLst>
          </p:cNvPr>
          <p:cNvSpPr>
            <a:spLocks noChangeAspect="1"/>
          </p:cNvSpPr>
          <p:nvPr userDrawn="1"/>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a:p>
        </p:txBody>
      </p:sp>
      <p:sp>
        <p:nvSpPr>
          <p:cNvPr id="5" name="Footer Placeholder 4">
            <a:extLst>
              <a:ext uri="{FF2B5EF4-FFF2-40B4-BE49-F238E27FC236}">
                <a16:creationId xmlns:a16="http://schemas.microsoft.com/office/drawing/2014/main" id="{973D4080-291B-EC5F-CFEC-79250082D2BF}"/>
              </a:ext>
            </a:extLst>
          </p:cNvPr>
          <p:cNvSpPr txBox="1">
            <a:spLocks/>
          </p:cNvSpPr>
          <p:nvPr userDrawn="1"/>
        </p:nvSpPr>
        <p:spPr>
          <a:xfrm>
            <a:off x="9772073" y="6424023"/>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0" i="0" kern="1200">
                <a:solidFill>
                  <a:schemeClr val="bg1"/>
                </a:solidFill>
                <a:latin typeface="+mn-lt"/>
                <a:ea typeface="+mn-ea"/>
                <a:cs typeface="+mn-cs"/>
              </a:rPr>
              <a:t>HEALTH CARE COMPLIANCE</a:t>
            </a:r>
          </a:p>
        </p:txBody>
      </p:sp>
    </p:spTree>
    <p:extLst>
      <p:ext uri="{BB962C8B-B14F-4D97-AF65-F5344CB8AC3E}">
        <p14:creationId xmlns:p14="http://schemas.microsoft.com/office/powerpoint/2010/main" val="218777310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am Slide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r>
              <a:rPr lang="en-US"/>
              <a:t>Job Aid and Guidance Document still under review.</a:t>
            </a:r>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6161089" y="1309284"/>
            <a:ext cx="2795588" cy="2922992"/>
          </a:xfrm>
          <a:solidFill>
            <a:srgbClr val="F6F3F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6161088" y="4376738"/>
            <a:ext cx="2797905" cy="1893887"/>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 name="Picture Placeholder 3">
            <a:extLst>
              <a:ext uri="{FF2B5EF4-FFF2-40B4-BE49-F238E27FC236}">
                <a16:creationId xmlns:a16="http://schemas.microsoft.com/office/drawing/2014/main" id="{AE4666F2-0E72-5C8A-DFF8-2DD7C6E4BAAE}"/>
              </a:ext>
            </a:extLst>
          </p:cNvPr>
          <p:cNvSpPr>
            <a:spLocks noGrp="1"/>
          </p:cNvSpPr>
          <p:nvPr>
            <p:ph type="pic" sz="quarter" idx="25" hasCustomPrompt="1"/>
          </p:nvPr>
        </p:nvSpPr>
        <p:spPr>
          <a:xfrm>
            <a:off x="3225801" y="1309284"/>
            <a:ext cx="2795588" cy="2922992"/>
          </a:xfrm>
          <a:solidFill>
            <a:srgbClr val="F6F3F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3225800" y="4376738"/>
            <a:ext cx="2794731" cy="1893887"/>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9" name="Picture Placeholder 3">
            <a:extLst>
              <a:ext uri="{FF2B5EF4-FFF2-40B4-BE49-F238E27FC236}">
                <a16:creationId xmlns:a16="http://schemas.microsoft.com/office/drawing/2014/main" id="{2D83ADDB-0799-3ABA-AFB5-0EF907EBBC1C}"/>
              </a:ext>
            </a:extLst>
          </p:cNvPr>
          <p:cNvSpPr>
            <a:spLocks noGrp="1"/>
          </p:cNvSpPr>
          <p:nvPr>
            <p:ph type="pic" sz="quarter" idx="27" hasCustomPrompt="1"/>
          </p:nvPr>
        </p:nvSpPr>
        <p:spPr>
          <a:xfrm>
            <a:off x="9119384" y="1309284"/>
            <a:ext cx="2795588" cy="2922992"/>
          </a:xfrm>
          <a:solidFill>
            <a:srgbClr val="F6F3F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10" name="Text Placeholder 10">
            <a:extLst>
              <a:ext uri="{FF2B5EF4-FFF2-40B4-BE49-F238E27FC236}">
                <a16:creationId xmlns:a16="http://schemas.microsoft.com/office/drawing/2014/main" id="{5A40ED4D-9D7E-FA31-0E92-48608769B8DC}"/>
              </a:ext>
            </a:extLst>
          </p:cNvPr>
          <p:cNvSpPr>
            <a:spLocks noGrp="1"/>
          </p:cNvSpPr>
          <p:nvPr>
            <p:ph type="body" sz="quarter" idx="28" hasCustomPrompt="1"/>
          </p:nvPr>
        </p:nvSpPr>
        <p:spPr>
          <a:xfrm>
            <a:off x="9119383" y="4376738"/>
            <a:ext cx="2797905" cy="1893887"/>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1" name="Picture Placeholder 3">
            <a:extLst>
              <a:ext uri="{FF2B5EF4-FFF2-40B4-BE49-F238E27FC236}">
                <a16:creationId xmlns:a16="http://schemas.microsoft.com/office/drawing/2014/main" id="{F5068F87-7E7A-B5CF-3CBC-E18B6DD0D732}"/>
              </a:ext>
            </a:extLst>
          </p:cNvPr>
          <p:cNvSpPr>
            <a:spLocks noGrp="1"/>
          </p:cNvSpPr>
          <p:nvPr>
            <p:ph type="pic" sz="quarter" idx="29" hasCustomPrompt="1"/>
          </p:nvPr>
        </p:nvSpPr>
        <p:spPr>
          <a:xfrm>
            <a:off x="291479" y="1309284"/>
            <a:ext cx="2795588" cy="2922992"/>
          </a:xfrm>
          <a:solidFill>
            <a:srgbClr val="F6F3F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12" name="Text Placeholder 10">
            <a:extLst>
              <a:ext uri="{FF2B5EF4-FFF2-40B4-BE49-F238E27FC236}">
                <a16:creationId xmlns:a16="http://schemas.microsoft.com/office/drawing/2014/main" id="{B4F951B9-FA91-8764-4AF1-2302D32F8D5A}"/>
              </a:ext>
            </a:extLst>
          </p:cNvPr>
          <p:cNvSpPr>
            <a:spLocks noGrp="1"/>
          </p:cNvSpPr>
          <p:nvPr>
            <p:ph type="body" sz="quarter" idx="30" hasCustomPrompt="1"/>
          </p:nvPr>
        </p:nvSpPr>
        <p:spPr>
          <a:xfrm>
            <a:off x="291478" y="4376738"/>
            <a:ext cx="2794731" cy="1893887"/>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 name="Text Placeholder 7">
            <a:extLst>
              <a:ext uri="{FF2B5EF4-FFF2-40B4-BE49-F238E27FC236}">
                <a16:creationId xmlns:a16="http://schemas.microsoft.com/office/drawing/2014/main" id="{5F91C3EF-5967-CDBE-EACE-2531D873C36A}"/>
              </a:ext>
            </a:extLst>
          </p:cNvPr>
          <p:cNvSpPr>
            <a:spLocks noGrp="1"/>
          </p:cNvSpPr>
          <p:nvPr>
            <p:ph type="body" sz="quarter" idx="31"/>
          </p:nvPr>
        </p:nvSpPr>
        <p:spPr>
          <a:xfrm>
            <a:off x="8125200" y="293525"/>
            <a:ext cx="3778870" cy="878050"/>
          </a:xfrm>
        </p:spPr>
        <p:txBody>
          <a:bodyPr/>
          <a:lstStyle>
            <a:lvl1pPr>
              <a:defRPr sz="1400"/>
            </a:lvl1pPr>
            <a:lvl2pPr>
              <a:defRPr sz="1400"/>
            </a:lvl2pPr>
            <a:lvl3pPr>
              <a:defRPr sz="1200"/>
            </a:lvl3pPr>
          </a:lstStyle>
          <a:p>
            <a:pPr lvl="0"/>
            <a:r>
              <a:rPr lang="en-US"/>
              <a:t>Click to edit Master text styles</a:t>
            </a:r>
          </a:p>
          <a:p>
            <a:pPr lvl="1"/>
            <a:r>
              <a:rPr lang="en-US"/>
              <a:t>Second level</a:t>
            </a:r>
          </a:p>
          <a:p>
            <a:pPr lvl="2"/>
            <a:r>
              <a:rPr lang="en-US"/>
              <a:t>Third level</a:t>
            </a:r>
          </a:p>
        </p:txBody>
      </p:sp>
      <p:sp>
        <p:nvSpPr>
          <p:cNvPr id="13" name="Title 7">
            <a:extLst>
              <a:ext uri="{FF2B5EF4-FFF2-40B4-BE49-F238E27FC236}">
                <a16:creationId xmlns:a16="http://schemas.microsoft.com/office/drawing/2014/main" id="{DA47195B-21A0-9A63-E4DA-58F9F29E98B6}"/>
              </a:ext>
            </a:extLst>
          </p:cNvPr>
          <p:cNvSpPr>
            <a:spLocks noGrp="1"/>
          </p:cNvSpPr>
          <p:nvPr>
            <p:ph type="title" hasCustomPrompt="1"/>
          </p:nvPr>
        </p:nvSpPr>
        <p:spPr>
          <a:xfrm>
            <a:off x="288303" y="262800"/>
            <a:ext cx="5733085" cy="468590"/>
          </a:xfrm>
        </p:spPr>
        <p:txBody>
          <a:bodyPr/>
          <a:lstStyle>
            <a:lvl1pPr>
              <a:defRPr>
                <a:solidFill>
                  <a:schemeClr val="tx2"/>
                </a:solidFill>
              </a:defRPr>
            </a:lvl1pPr>
          </a:lstStyle>
          <a:p>
            <a:r>
              <a:rPr lang="en-US"/>
              <a:t>Master title style</a:t>
            </a:r>
            <a:endParaRPr lang="en-GB"/>
          </a:p>
        </p:txBody>
      </p:sp>
      <p:sp>
        <p:nvSpPr>
          <p:cNvPr id="5" name="Subtitle 2">
            <a:extLst>
              <a:ext uri="{FF2B5EF4-FFF2-40B4-BE49-F238E27FC236}">
                <a16:creationId xmlns:a16="http://schemas.microsoft.com/office/drawing/2014/main" id="{FB220D96-C4B3-B7EB-A87A-9845F48C33C3}"/>
              </a:ext>
            </a:extLst>
          </p:cNvPr>
          <p:cNvSpPr>
            <a:spLocks noGrp="1"/>
          </p:cNvSpPr>
          <p:nvPr>
            <p:ph type="subTitle" idx="16" hasCustomPrompt="1"/>
          </p:nvPr>
        </p:nvSpPr>
        <p:spPr>
          <a:xfrm>
            <a:off x="288302" y="713620"/>
            <a:ext cx="5732229"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34050102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am Slide x 6">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r>
              <a:rPr lang="en-US"/>
              <a:t>Job Aid and Guidance Document still under review.</a:t>
            </a:r>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4" name="Picture Placeholder 3">
            <a:extLst>
              <a:ext uri="{FF2B5EF4-FFF2-40B4-BE49-F238E27FC236}">
                <a16:creationId xmlns:a16="http://schemas.microsoft.com/office/drawing/2014/main" id="{3DD93883-FE82-F5D7-6954-1E4205A257B6}"/>
              </a:ext>
            </a:extLst>
          </p:cNvPr>
          <p:cNvSpPr>
            <a:spLocks noGrp="1"/>
          </p:cNvSpPr>
          <p:nvPr>
            <p:ph type="pic" sz="quarter" idx="13" hasCustomPrompt="1"/>
          </p:nvPr>
        </p:nvSpPr>
        <p:spPr>
          <a:xfrm>
            <a:off x="292100" y="2338388"/>
            <a:ext cx="1811338" cy="1893887"/>
          </a:xfrm>
          <a:solidFill>
            <a:srgbClr val="F6F3F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11" name="Text Placeholder 10">
            <a:extLst>
              <a:ext uri="{FF2B5EF4-FFF2-40B4-BE49-F238E27FC236}">
                <a16:creationId xmlns:a16="http://schemas.microsoft.com/office/drawing/2014/main" id="{BAF95DAC-024B-BE13-C7C3-B8E962C0E286}"/>
              </a:ext>
            </a:extLst>
          </p:cNvPr>
          <p:cNvSpPr>
            <a:spLocks noGrp="1"/>
          </p:cNvSpPr>
          <p:nvPr>
            <p:ph type="body" sz="quarter" idx="14" hasCustomPrompt="1"/>
          </p:nvPr>
        </p:nvSpPr>
        <p:spPr>
          <a:xfrm>
            <a:off x="292100" y="4376738"/>
            <a:ext cx="1811338" cy="1893887"/>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2" name="Picture Placeholder 3">
            <a:extLst>
              <a:ext uri="{FF2B5EF4-FFF2-40B4-BE49-F238E27FC236}">
                <a16:creationId xmlns:a16="http://schemas.microsoft.com/office/drawing/2014/main" id="{D5C0A3F1-8272-1EE9-CC5E-D2F51E93821E}"/>
              </a:ext>
            </a:extLst>
          </p:cNvPr>
          <p:cNvSpPr>
            <a:spLocks noGrp="1"/>
          </p:cNvSpPr>
          <p:nvPr>
            <p:ph type="pic" sz="quarter" idx="15" hasCustomPrompt="1"/>
          </p:nvPr>
        </p:nvSpPr>
        <p:spPr>
          <a:xfrm>
            <a:off x="2251075" y="2338388"/>
            <a:ext cx="1811338" cy="1893887"/>
          </a:xfrm>
          <a:solidFill>
            <a:srgbClr val="F6F3F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13" name="Text Placeholder 10">
            <a:extLst>
              <a:ext uri="{FF2B5EF4-FFF2-40B4-BE49-F238E27FC236}">
                <a16:creationId xmlns:a16="http://schemas.microsoft.com/office/drawing/2014/main" id="{07824833-215E-5CBF-9B67-8C5BFCFF600B}"/>
              </a:ext>
            </a:extLst>
          </p:cNvPr>
          <p:cNvSpPr>
            <a:spLocks noGrp="1"/>
          </p:cNvSpPr>
          <p:nvPr>
            <p:ph type="body" sz="quarter" idx="16" hasCustomPrompt="1"/>
          </p:nvPr>
        </p:nvSpPr>
        <p:spPr>
          <a:xfrm>
            <a:off x="2251075" y="4376738"/>
            <a:ext cx="1811338" cy="1893887"/>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7" name="Picture Placeholder 3">
            <a:extLst>
              <a:ext uri="{FF2B5EF4-FFF2-40B4-BE49-F238E27FC236}">
                <a16:creationId xmlns:a16="http://schemas.microsoft.com/office/drawing/2014/main" id="{BC82D359-5E82-6645-4BA5-091395FFBE4D}"/>
              </a:ext>
            </a:extLst>
          </p:cNvPr>
          <p:cNvSpPr>
            <a:spLocks noGrp="1"/>
          </p:cNvSpPr>
          <p:nvPr>
            <p:ph type="pic" sz="quarter" idx="17" hasCustomPrompt="1"/>
          </p:nvPr>
        </p:nvSpPr>
        <p:spPr>
          <a:xfrm>
            <a:off x="4206875" y="2338388"/>
            <a:ext cx="1811338" cy="1893887"/>
          </a:xfrm>
          <a:solidFill>
            <a:srgbClr val="F6F3F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18" name="Text Placeholder 10">
            <a:extLst>
              <a:ext uri="{FF2B5EF4-FFF2-40B4-BE49-F238E27FC236}">
                <a16:creationId xmlns:a16="http://schemas.microsoft.com/office/drawing/2014/main" id="{988FBE5D-B4CD-CE1A-E7E9-92C4741B19DA}"/>
              </a:ext>
            </a:extLst>
          </p:cNvPr>
          <p:cNvSpPr>
            <a:spLocks noGrp="1"/>
          </p:cNvSpPr>
          <p:nvPr>
            <p:ph type="body" sz="quarter" idx="18" hasCustomPrompt="1"/>
          </p:nvPr>
        </p:nvSpPr>
        <p:spPr>
          <a:xfrm>
            <a:off x="4206875" y="4376738"/>
            <a:ext cx="1811338" cy="1893887"/>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9" name="Picture Placeholder 3">
            <a:extLst>
              <a:ext uri="{FF2B5EF4-FFF2-40B4-BE49-F238E27FC236}">
                <a16:creationId xmlns:a16="http://schemas.microsoft.com/office/drawing/2014/main" id="{AE6CF7F4-E399-5395-4477-3A071CFE8BF6}"/>
              </a:ext>
            </a:extLst>
          </p:cNvPr>
          <p:cNvSpPr>
            <a:spLocks noGrp="1"/>
          </p:cNvSpPr>
          <p:nvPr>
            <p:ph type="pic" sz="quarter" idx="19" hasCustomPrompt="1"/>
          </p:nvPr>
        </p:nvSpPr>
        <p:spPr>
          <a:xfrm>
            <a:off x="6165850" y="2338388"/>
            <a:ext cx="1811338" cy="1893887"/>
          </a:xfrm>
          <a:solidFill>
            <a:srgbClr val="F6F3F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20" name="Text Placeholder 10">
            <a:extLst>
              <a:ext uri="{FF2B5EF4-FFF2-40B4-BE49-F238E27FC236}">
                <a16:creationId xmlns:a16="http://schemas.microsoft.com/office/drawing/2014/main" id="{7F69C6C1-FD43-DD7E-F8C1-DD938FA7E864}"/>
              </a:ext>
            </a:extLst>
          </p:cNvPr>
          <p:cNvSpPr>
            <a:spLocks noGrp="1"/>
          </p:cNvSpPr>
          <p:nvPr>
            <p:ph type="body" sz="quarter" idx="20" hasCustomPrompt="1"/>
          </p:nvPr>
        </p:nvSpPr>
        <p:spPr>
          <a:xfrm>
            <a:off x="6165850" y="4376738"/>
            <a:ext cx="1811338" cy="1893887"/>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1" name="Picture Placeholder 3">
            <a:extLst>
              <a:ext uri="{FF2B5EF4-FFF2-40B4-BE49-F238E27FC236}">
                <a16:creationId xmlns:a16="http://schemas.microsoft.com/office/drawing/2014/main" id="{C3F6ED5E-6C41-2A6E-8284-782D115E0AC8}"/>
              </a:ext>
            </a:extLst>
          </p:cNvPr>
          <p:cNvSpPr>
            <a:spLocks noGrp="1"/>
          </p:cNvSpPr>
          <p:nvPr>
            <p:ph type="pic" sz="quarter" idx="21" hasCustomPrompt="1"/>
          </p:nvPr>
        </p:nvSpPr>
        <p:spPr>
          <a:xfrm>
            <a:off x="8129587" y="2338388"/>
            <a:ext cx="1811338" cy="1893887"/>
          </a:xfrm>
          <a:solidFill>
            <a:srgbClr val="F6F3F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22" name="Text Placeholder 10">
            <a:extLst>
              <a:ext uri="{FF2B5EF4-FFF2-40B4-BE49-F238E27FC236}">
                <a16:creationId xmlns:a16="http://schemas.microsoft.com/office/drawing/2014/main" id="{DE4654D5-A3A7-62DC-42E2-4450D8FF9149}"/>
              </a:ext>
            </a:extLst>
          </p:cNvPr>
          <p:cNvSpPr>
            <a:spLocks noGrp="1"/>
          </p:cNvSpPr>
          <p:nvPr>
            <p:ph type="body" sz="quarter" idx="22" hasCustomPrompt="1"/>
          </p:nvPr>
        </p:nvSpPr>
        <p:spPr>
          <a:xfrm>
            <a:off x="8129587" y="4376738"/>
            <a:ext cx="1811338" cy="1893887"/>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10088562" y="2338388"/>
            <a:ext cx="1811338" cy="1893887"/>
          </a:xfrm>
          <a:solidFill>
            <a:srgbClr val="F6F3F2"/>
          </a:solidFill>
        </p:spPr>
        <p:txBody>
          <a:bodyPr vert="horz" lIns="0" tIns="0" rIns="0" bIns="0" rtlCol="0">
            <a:noAutofit/>
          </a:bodyPr>
          <a:lstStyle>
            <a:lvl1pPr>
              <a:defRPr lang="en-GB" sz="12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10088562" y="4376738"/>
            <a:ext cx="1811338" cy="1893887"/>
          </a:xfrm>
        </p:spPr>
        <p:txBody>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 name="Text Placeholder 7">
            <a:extLst>
              <a:ext uri="{FF2B5EF4-FFF2-40B4-BE49-F238E27FC236}">
                <a16:creationId xmlns:a16="http://schemas.microsoft.com/office/drawing/2014/main" id="{7BD20165-AAB7-7FF2-32A4-4043B7F5215A}"/>
              </a:ext>
            </a:extLst>
          </p:cNvPr>
          <p:cNvSpPr>
            <a:spLocks noGrp="1"/>
          </p:cNvSpPr>
          <p:nvPr>
            <p:ph type="body" sz="quarter" idx="25"/>
          </p:nvPr>
        </p:nvSpPr>
        <p:spPr>
          <a:xfrm>
            <a:off x="8124205" y="295200"/>
            <a:ext cx="3778870" cy="876375"/>
          </a:xfrm>
        </p:spPr>
        <p:txBody>
          <a:bodyPr/>
          <a:lstStyle>
            <a:lvl1pPr>
              <a:defRPr sz="1400"/>
            </a:lvl1pPr>
            <a:lvl2pPr>
              <a:defRPr sz="1400"/>
            </a:lvl2pPr>
            <a:lvl3pPr>
              <a:defRPr sz="1200"/>
            </a:lvl3pPr>
          </a:lstStyle>
          <a:p>
            <a:pPr lvl="0"/>
            <a:r>
              <a:rPr lang="en-US"/>
              <a:t>Click to edit Master text styles</a:t>
            </a:r>
          </a:p>
          <a:p>
            <a:pPr lvl="1"/>
            <a:r>
              <a:rPr lang="en-US"/>
              <a:t>Second level</a:t>
            </a:r>
          </a:p>
          <a:p>
            <a:pPr lvl="2"/>
            <a:r>
              <a:rPr lang="en-US"/>
              <a:t>Third level</a:t>
            </a:r>
          </a:p>
        </p:txBody>
      </p:sp>
      <p:sp>
        <p:nvSpPr>
          <p:cNvPr id="9" name="Title 7">
            <a:extLst>
              <a:ext uri="{FF2B5EF4-FFF2-40B4-BE49-F238E27FC236}">
                <a16:creationId xmlns:a16="http://schemas.microsoft.com/office/drawing/2014/main" id="{604F17DC-3526-6523-F6A2-A614A5877E66}"/>
              </a:ext>
            </a:extLst>
          </p:cNvPr>
          <p:cNvSpPr>
            <a:spLocks noGrp="1"/>
          </p:cNvSpPr>
          <p:nvPr>
            <p:ph type="title" hasCustomPrompt="1"/>
          </p:nvPr>
        </p:nvSpPr>
        <p:spPr>
          <a:xfrm>
            <a:off x="288303" y="262800"/>
            <a:ext cx="6710984" cy="544184"/>
          </a:xfrm>
        </p:spPr>
        <p:txBody>
          <a:bodyPr/>
          <a:lstStyle>
            <a:lvl1pPr>
              <a:defRPr>
                <a:solidFill>
                  <a:schemeClr val="tx2"/>
                </a:solidFill>
              </a:defRPr>
            </a:lvl1pPr>
          </a:lstStyle>
          <a:p>
            <a:r>
              <a:rPr lang="en-US"/>
              <a:t>Master title style</a:t>
            </a:r>
            <a:endParaRPr lang="en-GB"/>
          </a:p>
        </p:txBody>
      </p:sp>
      <p:sp>
        <p:nvSpPr>
          <p:cNvPr id="5" name="Subtitle 2">
            <a:extLst>
              <a:ext uri="{FF2B5EF4-FFF2-40B4-BE49-F238E27FC236}">
                <a16:creationId xmlns:a16="http://schemas.microsoft.com/office/drawing/2014/main" id="{C2B84ACE-520E-A875-5184-5F9EE6A46C07}"/>
              </a:ext>
            </a:extLst>
          </p:cNvPr>
          <p:cNvSpPr>
            <a:spLocks noGrp="1"/>
          </p:cNvSpPr>
          <p:nvPr>
            <p:ph type="subTitle" idx="26" hasCustomPrompt="1"/>
          </p:nvPr>
        </p:nvSpPr>
        <p:spPr>
          <a:xfrm>
            <a:off x="288302" y="713620"/>
            <a:ext cx="6713538"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289135315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am Slide x 12">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76EA39B-2942-9741-8948-C5E41AE57E5D}"/>
              </a:ext>
            </a:extLst>
          </p:cNvPr>
          <p:cNvSpPr>
            <a:spLocks noGrp="1"/>
          </p:cNvSpPr>
          <p:nvPr>
            <p:ph type="ftr" sz="quarter" idx="11"/>
          </p:nvPr>
        </p:nvSpPr>
        <p:spPr/>
        <p:txBody>
          <a:bodyPr/>
          <a:lstStyle/>
          <a:p>
            <a:r>
              <a:rPr lang="en-US"/>
              <a:t>Job Aid and Guidance Document still under review.</a:t>
            </a:r>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4" name="Picture Placeholder 3">
            <a:extLst>
              <a:ext uri="{FF2B5EF4-FFF2-40B4-BE49-F238E27FC236}">
                <a16:creationId xmlns:a16="http://schemas.microsoft.com/office/drawing/2014/main" id="{3DD93883-FE82-F5D7-6954-1E4205A257B6}"/>
              </a:ext>
            </a:extLst>
          </p:cNvPr>
          <p:cNvSpPr>
            <a:spLocks noGrp="1"/>
          </p:cNvSpPr>
          <p:nvPr>
            <p:ph type="pic" sz="quarter" idx="13" hasCustomPrompt="1"/>
          </p:nvPr>
        </p:nvSpPr>
        <p:spPr>
          <a:xfrm>
            <a:off x="292100" y="1325991"/>
            <a:ext cx="1810800" cy="1742358"/>
          </a:xfrm>
          <a:solidFill>
            <a:srgbClr val="F6F3F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11" name="Text Placeholder 10">
            <a:extLst>
              <a:ext uri="{FF2B5EF4-FFF2-40B4-BE49-F238E27FC236}">
                <a16:creationId xmlns:a16="http://schemas.microsoft.com/office/drawing/2014/main" id="{BAF95DAC-024B-BE13-C7C3-B8E962C0E286}"/>
              </a:ext>
            </a:extLst>
          </p:cNvPr>
          <p:cNvSpPr>
            <a:spLocks noGrp="1"/>
          </p:cNvSpPr>
          <p:nvPr>
            <p:ph type="body" sz="quarter" idx="14" hasCustomPrompt="1"/>
          </p:nvPr>
        </p:nvSpPr>
        <p:spPr>
          <a:xfrm>
            <a:off x="292100"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2" name="Picture Placeholder 3">
            <a:extLst>
              <a:ext uri="{FF2B5EF4-FFF2-40B4-BE49-F238E27FC236}">
                <a16:creationId xmlns:a16="http://schemas.microsoft.com/office/drawing/2014/main" id="{D5C0A3F1-8272-1EE9-CC5E-D2F51E93821E}"/>
              </a:ext>
            </a:extLst>
          </p:cNvPr>
          <p:cNvSpPr>
            <a:spLocks noGrp="1"/>
          </p:cNvSpPr>
          <p:nvPr>
            <p:ph type="pic" sz="quarter" idx="15" hasCustomPrompt="1"/>
          </p:nvPr>
        </p:nvSpPr>
        <p:spPr>
          <a:xfrm>
            <a:off x="2251075" y="1325991"/>
            <a:ext cx="1810800" cy="1742358"/>
          </a:xfrm>
          <a:solidFill>
            <a:srgbClr val="F6F3F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13" name="Text Placeholder 10">
            <a:extLst>
              <a:ext uri="{FF2B5EF4-FFF2-40B4-BE49-F238E27FC236}">
                <a16:creationId xmlns:a16="http://schemas.microsoft.com/office/drawing/2014/main" id="{07824833-215E-5CBF-9B67-8C5BFCFF600B}"/>
              </a:ext>
            </a:extLst>
          </p:cNvPr>
          <p:cNvSpPr>
            <a:spLocks noGrp="1"/>
          </p:cNvSpPr>
          <p:nvPr>
            <p:ph type="body" sz="quarter" idx="16" hasCustomPrompt="1"/>
          </p:nvPr>
        </p:nvSpPr>
        <p:spPr>
          <a:xfrm>
            <a:off x="2251075"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7" name="Picture Placeholder 3">
            <a:extLst>
              <a:ext uri="{FF2B5EF4-FFF2-40B4-BE49-F238E27FC236}">
                <a16:creationId xmlns:a16="http://schemas.microsoft.com/office/drawing/2014/main" id="{BC82D359-5E82-6645-4BA5-091395FFBE4D}"/>
              </a:ext>
            </a:extLst>
          </p:cNvPr>
          <p:cNvSpPr>
            <a:spLocks noGrp="1"/>
          </p:cNvSpPr>
          <p:nvPr>
            <p:ph type="pic" sz="quarter" idx="17" hasCustomPrompt="1"/>
          </p:nvPr>
        </p:nvSpPr>
        <p:spPr>
          <a:xfrm>
            <a:off x="4206875" y="1325991"/>
            <a:ext cx="1810800" cy="1742358"/>
          </a:xfrm>
          <a:solidFill>
            <a:srgbClr val="F6F3F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18" name="Text Placeholder 10">
            <a:extLst>
              <a:ext uri="{FF2B5EF4-FFF2-40B4-BE49-F238E27FC236}">
                <a16:creationId xmlns:a16="http://schemas.microsoft.com/office/drawing/2014/main" id="{988FBE5D-B4CD-CE1A-E7E9-92C4741B19DA}"/>
              </a:ext>
            </a:extLst>
          </p:cNvPr>
          <p:cNvSpPr>
            <a:spLocks noGrp="1"/>
          </p:cNvSpPr>
          <p:nvPr>
            <p:ph type="body" sz="quarter" idx="18" hasCustomPrompt="1"/>
          </p:nvPr>
        </p:nvSpPr>
        <p:spPr>
          <a:xfrm>
            <a:off x="4206875"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19" name="Picture Placeholder 3">
            <a:extLst>
              <a:ext uri="{FF2B5EF4-FFF2-40B4-BE49-F238E27FC236}">
                <a16:creationId xmlns:a16="http://schemas.microsoft.com/office/drawing/2014/main" id="{AE6CF7F4-E399-5395-4477-3A071CFE8BF6}"/>
              </a:ext>
            </a:extLst>
          </p:cNvPr>
          <p:cNvSpPr>
            <a:spLocks noGrp="1"/>
          </p:cNvSpPr>
          <p:nvPr>
            <p:ph type="pic" sz="quarter" idx="19" hasCustomPrompt="1"/>
          </p:nvPr>
        </p:nvSpPr>
        <p:spPr>
          <a:xfrm>
            <a:off x="6165850" y="1325991"/>
            <a:ext cx="1810800" cy="1742358"/>
          </a:xfrm>
          <a:solidFill>
            <a:srgbClr val="F6F3F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20" name="Text Placeholder 10">
            <a:extLst>
              <a:ext uri="{FF2B5EF4-FFF2-40B4-BE49-F238E27FC236}">
                <a16:creationId xmlns:a16="http://schemas.microsoft.com/office/drawing/2014/main" id="{7F69C6C1-FD43-DD7E-F8C1-DD938FA7E864}"/>
              </a:ext>
            </a:extLst>
          </p:cNvPr>
          <p:cNvSpPr>
            <a:spLocks noGrp="1"/>
          </p:cNvSpPr>
          <p:nvPr>
            <p:ph type="body" sz="quarter" idx="20" hasCustomPrompt="1"/>
          </p:nvPr>
        </p:nvSpPr>
        <p:spPr>
          <a:xfrm>
            <a:off x="6165850"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1" name="Picture Placeholder 3">
            <a:extLst>
              <a:ext uri="{FF2B5EF4-FFF2-40B4-BE49-F238E27FC236}">
                <a16:creationId xmlns:a16="http://schemas.microsoft.com/office/drawing/2014/main" id="{C3F6ED5E-6C41-2A6E-8284-782D115E0AC8}"/>
              </a:ext>
            </a:extLst>
          </p:cNvPr>
          <p:cNvSpPr>
            <a:spLocks noGrp="1"/>
          </p:cNvSpPr>
          <p:nvPr>
            <p:ph type="pic" sz="quarter" idx="21" hasCustomPrompt="1"/>
          </p:nvPr>
        </p:nvSpPr>
        <p:spPr>
          <a:xfrm>
            <a:off x="8129587" y="1325991"/>
            <a:ext cx="1810800" cy="1742358"/>
          </a:xfrm>
          <a:solidFill>
            <a:srgbClr val="F6F3F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22" name="Text Placeholder 10">
            <a:extLst>
              <a:ext uri="{FF2B5EF4-FFF2-40B4-BE49-F238E27FC236}">
                <a16:creationId xmlns:a16="http://schemas.microsoft.com/office/drawing/2014/main" id="{DE4654D5-A3A7-62DC-42E2-4450D8FF9149}"/>
              </a:ext>
            </a:extLst>
          </p:cNvPr>
          <p:cNvSpPr>
            <a:spLocks noGrp="1"/>
          </p:cNvSpPr>
          <p:nvPr>
            <p:ph type="body" sz="quarter" idx="22" hasCustomPrompt="1"/>
          </p:nvPr>
        </p:nvSpPr>
        <p:spPr>
          <a:xfrm>
            <a:off x="8129587"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10088562" y="1325991"/>
            <a:ext cx="1810800" cy="1742358"/>
          </a:xfrm>
          <a:solidFill>
            <a:srgbClr val="F6F3F2"/>
          </a:solidFill>
        </p:spPr>
        <p:txBody>
          <a:bodyPr vert="horz" lIns="0" tIns="0" rIns="0" bIns="0" rtlCol="0">
            <a:noAutofit/>
          </a:bodyPr>
          <a:lstStyle>
            <a:lvl1pPr>
              <a:defRPr lang="en-GB" sz="12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24" name="Text Placeholder 10">
            <a:extLst>
              <a:ext uri="{FF2B5EF4-FFF2-40B4-BE49-F238E27FC236}">
                <a16:creationId xmlns:a16="http://schemas.microsoft.com/office/drawing/2014/main" id="{BA241006-FA7F-3ABD-E9C0-8E177A254F71}"/>
              </a:ext>
            </a:extLst>
          </p:cNvPr>
          <p:cNvSpPr>
            <a:spLocks noGrp="1"/>
          </p:cNvSpPr>
          <p:nvPr>
            <p:ph type="body" sz="quarter" idx="24" hasCustomPrompt="1"/>
          </p:nvPr>
        </p:nvSpPr>
        <p:spPr>
          <a:xfrm>
            <a:off x="10088562" y="3133126"/>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2" name="Text Placeholder 7">
            <a:extLst>
              <a:ext uri="{FF2B5EF4-FFF2-40B4-BE49-F238E27FC236}">
                <a16:creationId xmlns:a16="http://schemas.microsoft.com/office/drawing/2014/main" id="{7BD20165-AAB7-7FF2-32A4-4043B7F5215A}"/>
              </a:ext>
            </a:extLst>
          </p:cNvPr>
          <p:cNvSpPr>
            <a:spLocks noGrp="1"/>
          </p:cNvSpPr>
          <p:nvPr>
            <p:ph type="body" sz="quarter" idx="25"/>
          </p:nvPr>
        </p:nvSpPr>
        <p:spPr>
          <a:xfrm>
            <a:off x="8124205" y="295200"/>
            <a:ext cx="3778870" cy="876375"/>
          </a:xfrm>
        </p:spPr>
        <p:txBody>
          <a:bodyPr/>
          <a:lstStyle>
            <a:lvl1pPr>
              <a:defRPr sz="1400"/>
            </a:lvl1pPr>
            <a:lvl2pPr>
              <a:defRPr sz="1400"/>
            </a:lvl2pPr>
            <a:lvl3pPr>
              <a:defRPr sz="1200"/>
            </a:lvl3pPr>
          </a:lstStyle>
          <a:p>
            <a:pPr lvl="0"/>
            <a:r>
              <a:rPr lang="en-US"/>
              <a:t>Click to edit Master text styles</a:t>
            </a:r>
          </a:p>
          <a:p>
            <a:pPr lvl="1"/>
            <a:r>
              <a:rPr lang="en-US"/>
              <a:t>Second level</a:t>
            </a:r>
          </a:p>
          <a:p>
            <a:pPr lvl="2"/>
            <a:r>
              <a:rPr lang="en-US"/>
              <a:t>Third level</a:t>
            </a:r>
          </a:p>
        </p:txBody>
      </p:sp>
      <p:sp>
        <p:nvSpPr>
          <p:cNvPr id="30" name="Picture Placeholder 3">
            <a:extLst>
              <a:ext uri="{FF2B5EF4-FFF2-40B4-BE49-F238E27FC236}">
                <a16:creationId xmlns:a16="http://schemas.microsoft.com/office/drawing/2014/main" id="{1E351EF8-8286-87AC-38C6-7E9DC74AA5D5}"/>
              </a:ext>
            </a:extLst>
          </p:cNvPr>
          <p:cNvSpPr>
            <a:spLocks noGrp="1"/>
          </p:cNvSpPr>
          <p:nvPr>
            <p:ph type="pic" sz="quarter" idx="26" hasCustomPrompt="1"/>
          </p:nvPr>
        </p:nvSpPr>
        <p:spPr>
          <a:xfrm>
            <a:off x="292100" y="3832986"/>
            <a:ext cx="1810800" cy="1742358"/>
          </a:xfrm>
          <a:solidFill>
            <a:srgbClr val="F6F3F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31" name="Text Placeholder 10">
            <a:extLst>
              <a:ext uri="{FF2B5EF4-FFF2-40B4-BE49-F238E27FC236}">
                <a16:creationId xmlns:a16="http://schemas.microsoft.com/office/drawing/2014/main" id="{7D881FA5-55EC-F926-2B2E-C6A382AF84D6}"/>
              </a:ext>
            </a:extLst>
          </p:cNvPr>
          <p:cNvSpPr>
            <a:spLocks noGrp="1"/>
          </p:cNvSpPr>
          <p:nvPr>
            <p:ph type="body" sz="quarter" idx="27" hasCustomPrompt="1"/>
          </p:nvPr>
        </p:nvSpPr>
        <p:spPr>
          <a:xfrm>
            <a:off x="292100"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2" name="Picture Placeholder 3">
            <a:extLst>
              <a:ext uri="{FF2B5EF4-FFF2-40B4-BE49-F238E27FC236}">
                <a16:creationId xmlns:a16="http://schemas.microsoft.com/office/drawing/2014/main" id="{BBC82E01-F7FE-2EAB-B8E7-5960A7A58603}"/>
              </a:ext>
            </a:extLst>
          </p:cNvPr>
          <p:cNvSpPr>
            <a:spLocks noGrp="1"/>
          </p:cNvSpPr>
          <p:nvPr>
            <p:ph type="pic" sz="quarter" idx="28" hasCustomPrompt="1"/>
          </p:nvPr>
        </p:nvSpPr>
        <p:spPr>
          <a:xfrm>
            <a:off x="2251075" y="3832986"/>
            <a:ext cx="1810800" cy="1742358"/>
          </a:xfrm>
          <a:solidFill>
            <a:srgbClr val="F6F3F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33" name="Text Placeholder 10">
            <a:extLst>
              <a:ext uri="{FF2B5EF4-FFF2-40B4-BE49-F238E27FC236}">
                <a16:creationId xmlns:a16="http://schemas.microsoft.com/office/drawing/2014/main" id="{AF3DAD82-5491-5A1C-AF05-DBECB12413C0}"/>
              </a:ext>
            </a:extLst>
          </p:cNvPr>
          <p:cNvSpPr>
            <a:spLocks noGrp="1"/>
          </p:cNvSpPr>
          <p:nvPr>
            <p:ph type="body" sz="quarter" idx="29" hasCustomPrompt="1"/>
          </p:nvPr>
        </p:nvSpPr>
        <p:spPr>
          <a:xfrm>
            <a:off x="2251075"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4" name="Picture Placeholder 3">
            <a:extLst>
              <a:ext uri="{FF2B5EF4-FFF2-40B4-BE49-F238E27FC236}">
                <a16:creationId xmlns:a16="http://schemas.microsoft.com/office/drawing/2014/main" id="{D56B49B1-E5CE-83C1-0D25-0898269814D0}"/>
              </a:ext>
            </a:extLst>
          </p:cNvPr>
          <p:cNvSpPr>
            <a:spLocks noGrp="1"/>
          </p:cNvSpPr>
          <p:nvPr>
            <p:ph type="pic" sz="quarter" idx="30" hasCustomPrompt="1"/>
          </p:nvPr>
        </p:nvSpPr>
        <p:spPr>
          <a:xfrm>
            <a:off x="4206875" y="3832986"/>
            <a:ext cx="1810800" cy="1742358"/>
          </a:xfrm>
          <a:solidFill>
            <a:srgbClr val="F6F3F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35" name="Text Placeholder 10">
            <a:extLst>
              <a:ext uri="{FF2B5EF4-FFF2-40B4-BE49-F238E27FC236}">
                <a16:creationId xmlns:a16="http://schemas.microsoft.com/office/drawing/2014/main" id="{0D879563-9332-8DE6-BC2B-72B716864FC8}"/>
              </a:ext>
            </a:extLst>
          </p:cNvPr>
          <p:cNvSpPr>
            <a:spLocks noGrp="1"/>
          </p:cNvSpPr>
          <p:nvPr>
            <p:ph type="body" sz="quarter" idx="31" hasCustomPrompt="1"/>
          </p:nvPr>
        </p:nvSpPr>
        <p:spPr>
          <a:xfrm>
            <a:off x="4206875"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6" name="Picture Placeholder 3">
            <a:extLst>
              <a:ext uri="{FF2B5EF4-FFF2-40B4-BE49-F238E27FC236}">
                <a16:creationId xmlns:a16="http://schemas.microsoft.com/office/drawing/2014/main" id="{34E06054-2590-E998-043B-8F545070935C}"/>
              </a:ext>
            </a:extLst>
          </p:cNvPr>
          <p:cNvSpPr>
            <a:spLocks noGrp="1"/>
          </p:cNvSpPr>
          <p:nvPr>
            <p:ph type="pic" sz="quarter" idx="32" hasCustomPrompt="1"/>
          </p:nvPr>
        </p:nvSpPr>
        <p:spPr>
          <a:xfrm>
            <a:off x="6165850" y="3832986"/>
            <a:ext cx="1810800" cy="1742358"/>
          </a:xfrm>
          <a:solidFill>
            <a:srgbClr val="F6F3F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37" name="Text Placeholder 10">
            <a:extLst>
              <a:ext uri="{FF2B5EF4-FFF2-40B4-BE49-F238E27FC236}">
                <a16:creationId xmlns:a16="http://schemas.microsoft.com/office/drawing/2014/main" id="{B2E849EB-3C88-7D18-ED79-F55E7AB9250D}"/>
              </a:ext>
            </a:extLst>
          </p:cNvPr>
          <p:cNvSpPr>
            <a:spLocks noGrp="1"/>
          </p:cNvSpPr>
          <p:nvPr>
            <p:ph type="body" sz="quarter" idx="33" hasCustomPrompt="1"/>
          </p:nvPr>
        </p:nvSpPr>
        <p:spPr>
          <a:xfrm>
            <a:off x="6165850"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38" name="Picture Placeholder 3">
            <a:extLst>
              <a:ext uri="{FF2B5EF4-FFF2-40B4-BE49-F238E27FC236}">
                <a16:creationId xmlns:a16="http://schemas.microsoft.com/office/drawing/2014/main" id="{3A8CC4AE-06AB-5A91-10DC-6C53FFB4A23A}"/>
              </a:ext>
            </a:extLst>
          </p:cNvPr>
          <p:cNvSpPr>
            <a:spLocks noGrp="1"/>
          </p:cNvSpPr>
          <p:nvPr>
            <p:ph type="pic" sz="quarter" idx="34" hasCustomPrompt="1"/>
          </p:nvPr>
        </p:nvSpPr>
        <p:spPr>
          <a:xfrm>
            <a:off x="8129587" y="3832986"/>
            <a:ext cx="1810800" cy="1742358"/>
          </a:xfrm>
          <a:solidFill>
            <a:srgbClr val="F6F3F2"/>
          </a:solidFill>
        </p:spPr>
        <p:txBody>
          <a:bodyPr vert="horz" lIns="0" tIns="0" rIns="0" bIns="0" rtlCol="0">
            <a:noAutofit/>
          </a:bodyPr>
          <a:lstStyle>
            <a:lvl1pPr>
              <a:defRPr lang="en-GB" sz="120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39" name="Text Placeholder 10">
            <a:extLst>
              <a:ext uri="{FF2B5EF4-FFF2-40B4-BE49-F238E27FC236}">
                <a16:creationId xmlns:a16="http://schemas.microsoft.com/office/drawing/2014/main" id="{5B2ACD70-936B-5D18-96B7-1BF64FC6E214}"/>
              </a:ext>
            </a:extLst>
          </p:cNvPr>
          <p:cNvSpPr>
            <a:spLocks noGrp="1"/>
          </p:cNvSpPr>
          <p:nvPr>
            <p:ph type="body" sz="quarter" idx="35" hasCustomPrompt="1"/>
          </p:nvPr>
        </p:nvSpPr>
        <p:spPr>
          <a:xfrm>
            <a:off x="8129587"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40" name="Picture Placeholder 3">
            <a:extLst>
              <a:ext uri="{FF2B5EF4-FFF2-40B4-BE49-F238E27FC236}">
                <a16:creationId xmlns:a16="http://schemas.microsoft.com/office/drawing/2014/main" id="{96B65B4A-309C-6AFF-3233-21C6FE13D295}"/>
              </a:ext>
            </a:extLst>
          </p:cNvPr>
          <p:cNvSpPr>
            <a:spLocks noGrp="1"/>
          </p:cNvSpPr>
          <p:nvPr>
            <p:ph type="pic" sz="quarter" idx="36" hasCustomPrompt="1"/>
          </p:nvPr>
        </p:nvSpPr>
        <p:spPr>
          <a:xfrm>
            <a:off x="10088562" y="3832986"/>
            <a:ext cx="1810800" cy="1742358"/>
          </a:xfrm>
          <a:solidFill>
            <a:srgbClr val="F6F3F2"/>
          </a:solidFill>
        </p:spPr>
        <p:txBody>
          <a:bodyPr vert="horz" lIns="0" tIns="0" rIns="0" bIns="0" rtlCol="0">
            <a:noAutofit/>
          </a:bodyPr>
          <a:lstStyle>
            <a:lvl1pPr>
              <a:defRPr lang="en-GB" sz="1200"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41" name="Text Placeholder 10">
            <a:extLst>
              <a:ext uri="{FF2B5EF4-FFF2-40B4-BE49-F238E27FC236}">
                <a16:creationId xmlns:a16="http://schemas.microsoft.com/office/drawing/2014/main" id="{56786C68-DCD8-DE01-5F52-6FF88150DD6E}"/>
              </a:ext>
            </a:extLst>
          </p:cNvPr>
          <p:cNvSpPr>
            <a:spLocks noGrp="1"/>
          </p:cNvSpPr>
          <p:nvPr>
            <p:ph type="body" sz="quarter" idx="37" hasCustomPrompt="1"/>
          </p:nvPr>
        </p:nvSpPr>
        <p:spPr>
          <a:xfrm>
            <a:off x="10088562" y="5640121"/>
            <a:ext cx="1811338" cy="464807"/>
          </a:xfrm>
        </p:spPr>
        <p:txBody>
          <a:bodyPr wrap="square">
            <a:spAutoFit/>
          </a:bodyPr>
          <a:lstStyle>
            <a:lvl1pPr>
              <a:spcBef>
                <a:spcPts val="0"/>
              </a:spcBef>
              <a:spcAft>
                <a:spcPts val="0"/>
              </a:spcAft>
              <a:defRPr lang="en-GB" sz="1400" b="1" i="0" kern="1200" dirty="0">
                <a:solidFill>
                  <a:schemeClr val="tx1"/>
                </a:solidFill>
                <a:latin typeface="Johnson Text" pitchFamily="2" charset="77"/>
                <a:ea typeface="+mn-ea"/>
                <a:cs typeface="+mn-cs"/>
              </a:defRPr>
            </a:lvl1pPr>
            <a:lvl2pPr marL="0" indent="0">
              <a:spcBef>
                <a:spcPts val="0"/>
              </a:spcBef>
              <a:spcAft>
                <a:spcPts val="0"/>
              </a:spcAft>
              <a:buNone/>
              <a:defRPr sz="1400" b="0" i="0">
                <a:solidFill>
                  <a:schemeClr val="tx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5" name="Title 7">
            <a:extLst>
              <a:ext uri="{FF2B5EF4-FFF2-40B4-BE49-F238E27FC236}">
                <a16:creationId xmlns:a16="http://schemas.microsoft.com/office/drawing/2014/main" id="{520EE9D3-6988-A53A-4B71-0F5506C1DB6D}"/>
              </a:ext>
            </a:extLst>
          </p:cNvPr>
          <p:cNvSpPr>
            <a:spLocks noGrp="1"/>
          </p:cNvSpPr>
          <p:nvPr>
            <p:ph type="title" hasCustomPrompt="1"/>
          </p:nvPr>
        </p:nvSpPr>
        <p:spPr>
          <a:xfrm>
            <a:off x="288303" y="262800"/>
            <a:ext cx="6710984" cy="544184"/>
          </a:xfrm>
        </p:spPr>
        <p:txBody>
          <a:bodyPr/>
          <a:lstStyle>
            <a:lvl1pPr>
              <a:defRPr>
                <a:solidFill>
                  <a:schemeClr val="tx2"/>
                </a:solidFill>
              </a:defRPr>
            </a:lvl1pPr>
          </a:lstStyle>
          <a:p>
            <a:r>
              <a:rPr lang="en-US"/>
              <a:t>Master title style</a:t>
            </a:r>
            <a:endParaRPr lang="en-GB"/>
          </a:p>
        </p:txBody>
      </p:sp>
      <p:sp>
        <p:nvSpPr>
          <p:cNvPr id="8" name="Subtitle 2">
            <a:extLst>
              <a:ext uri="{FF2B5EF4-FFF2-40B4-BE49-F238E27FC236}">
                <a16:creationId xmlns:a16="http://schemas.microsoft.com/office/drawing/2014/main" id="{A29A91CD-56E3-1B05-9890-3FE2231364A5}"/>
              </a:ext>
            </a:extLst>
          </p:cNvPr>
          <p:cNvSpPr>
            <a:spLocks noGrp="1"/>
          </p:cNvSpPr>
          <p:nvPr>
            <p:ph type="subTitle" idx="38" hasCustomPrompt="1"/>
          </p:nvPr>
        </p:nvSpPr>
        <p:spPr>
          <a:xfrm>
            <a:off x="288302" y="713620"/>
            <a:ext cx="6713538" cy="292965"/>
          </a:xfrm>
        </p:spPr>
        <p:txBody>
          <a:bodyPr vert="horz" wrap="square" lIns="0" tIns="0" rIns="0" bIns="0" rtlCol="0" anchor="t">
            <a:spAutoFit/>
          </a:bodyPr>
          <a:lstStyle>
            <a:lvl1pPr>
              <a:defRPr lang="en-GB" b="1" dirty="0"/>
            </a:lvl1pPr>
          </a:lstStyle>
          <a:p>
            <a:pPr lvl="0">
              <a:spcBef>
                <a:spcPts val="0"/>
              </a:spcBef>
              <a:spcAft>
                <a:spcPts val="0"/>
              </a:spcAft>
            </a:pPr>
            <a:r>
              <a:rPr lang="en-GB"/>
              <a:t>Subtitle goes here if required</a:t>
            </a:r>
          </a:p>
        </p:txBody>
      </p:sp>
    </p:spTree>
    <p:extLst>
      <p:ext uri="{BB962C8B-B14F-4D97-AF65-F5344CB8AC3E}">
        <p14:creationId xmlns:p14="http://schemas.microsoft.com/office/powerpoint/2010/main" val="120608389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F71E3-AC39-2207-0CC4-1E2486610795}"/>
              </a:ext>
            </a:extLst>
          </p:cNvPr>
          <p:cNvSpPr>
            <a:spLocks noGrp="1"/>
          </p:cNvSpPr>
          <p:nvPr>
            <p:ph type="ctrTitle"/>
          </p:nvPr>
        </p:nvSpPr>
        <p:spPr>
          <a:xfrm>
            <a:off x="291593" y="280800"/>
            <a:ext cx="5734050" cy="2620397"/>
          </a:xfrm>
        </p:spPr>
        <p:txBody>
          <a:bodyPr wrap="square" anchor="t">
            <a:spAutoFit/>
          </a:bodyPr>
          <a:lstStyle>
            <a:lvl1pPr algn="l">
              <a:lnSpc>
                <a:spcPct val="80000"/>
              </a:lnSpc>
              <a:defRPr sz="7000" b="0" i="0" spc="0" baseline="0">
                <a:solidFill>
                  <a:schemeClr val="bg1"/>
                </a:solidFill>
                <a:latin typeface="+mj-lt"/>
              </a:defRPr>
            </a:lvl1pPr>
          </a:lstStyle>
          <a:p>
            <a:r>
              <a:rPr lang="en-US"/>
              <a:t>Click to edit Master title style</a:t>
            </a:r>
            <a:endParaRPr lang="en-GB"/>
          </a:p>
        </p:txBody>
      </p:sp>
      <p:sp>
        <p:nvSpPr>
          <p:cNvPr id="4" name="Freeform 3">
            <a:extLst>
              <a:ext uri="{FF2B5EF4-FFF2-40B4-BE49-F238E27FC236}">
                <a16:creationId xmlns:a16="http://schemas.microsoft.com/office/drawing/2014/main" id="{341CCCF6-45D3-89EA-1171-FDB379444A5D}"/>
              </a:ext>
            </a:extLst>
          </p:cNvPr>
          <p:cNvSpPr/>
          <p:nvPr userDrawn="1"/>
        </p:nvSpPr>
        <p:spPr>
          <a:xfrm>
            <a:off x="291593" y="6373132"/>
            <a:ext cx="2032407" cy="189099"/>
          </a:xfrm>
          <a:custGeom>
            <a:avLst/>
            <a:gdLst>
              <a:gd name="connsiteX0" fmla="*/ 786066 w 7948307"/>
              <a:gd name="connsiteY0" fmla="*/ 677532 h 739526"/>
              <a:gd name="connsiteX1" fmla="*/ 664794 w 7948307"/>
              <a:gd name="connsiteY1" fmla="*/ 470470 h 739526"/>
              <a:gd name="connsiteX2" fmla="*/ 786066 w 7948307"/>
              <a:gd name="connsiteY2" fmla="*/ 263408 h 739526"/>
              <a:gd name="connsiteX3" fmla="*/ 907339 w 7948307"/>
              <a:gd name="connsiteY3" fmla="*/ 470470 h 739526"/>
              <a:gd name="connsiteX4" fmla="*/ 786066 w 7948307"/>
              <a:gd name="connsiteY4" fmla="*/ 677532 h 739526"/>
              <a:gd name="connsiteX5" fmla="*/ 786066 w 7948307"/>
              <a:gd name="connsiteY5" fmla="*/ 207889 h 739526"/>
              <a:gd name="connsiteX6" fmla="*/ 539525 w 7948307"/>
              <a:gd name="connsiteY6" fmla="*/ 470470 h 739526"/>
              <a:gd name="connsiteX7" fmla="*/ 786066 w 7948307"/>
              <a:gd name="connsiteY7" fmla="*/ 733052 h 739526"/>
              <a:gd name="connsiteX8" fmla="*/ 1032607 w 7948307"/>
              <a:gd name="connsiteY8" fmla="*/ 470470 h 739526"/>
              <a:gd name="connsiteX9" fmla="*/ 786066 w 7948307"/>
              <a:gd name="connsiteY9" fmla="*/ 207889 h 739526"/>
              <a:gd name="connsiteX10" fmla="*/ 1888405 w 7948307"/>
              <a:gd name="connsiteY10" fmla="*/ 207889 h 739526"/>
              <a:gd name="connsiteX11" fmla="*/ 1748942 w 7948307"/>
              <a:gd name="connsiteY11" fmla="*/ 281593 h 739526"/>
              <a:gd name="connsiteX12" fmla="*/ 1742878 w 7948307"/>
              <a:gd name="connsiteY12" fmla="*/ 281593 h 739526"/>
              <a:gd name="connsiteX13" fmla="*/ 1742878 w 7948307"/>
              <a:gd name="connsiteY13" fmla="*/ 217945 h 739526"/>
              <a:gd name="connsiteX14" fmla="*/ 1623673 w 7948307"/>
              <a:gd name="connsiteY14" fmla="*/ 217945 h 739526"/>
              <a:gd name="connsiteX15" fmla="*/ 1623673 w 7948307"/>
              <a:gd name="connsiteY15" fmla="*/ 722995 h 739526"/>
              <a:gd name="connsiteX16" fmla="*/ 1742878 w 7948307"/>
              <a:gd name="connsiteY16" fmla="*/ 722995 h 739526"/>
              <a:gd name="connsiteX17" fmla="*/ 1742878 w 7948307"/>
              <a:gd name="connsiteY17" fmla="*/ 396765 h 739526"/>
              <a:gd name="connsiteX18" fmla="*/ 1842928 w 7948307"/>
              <a:gd name="connsiteY18" fmla="*/ 278562 h 739526"/>
              <a:gd name="connsiteX19" fmla="*/ 1928783 w 7948307"/>
              <a:gd name="connsiteY19" fmla="*/ 377616 h 739526"/>
              <a:gd name="connsiteX20" fmla="*/ 1928783 w 7948307"/>
              <a:gd name="connsiteY20" fmla="*/ 722995 h 739526"/>
              <a:gd name="connsiteX21" fmla="*/ 2047989 w 7948307"/>
              <a:gd name="connsiteY21" fmla="*/ 722995 h 739526"/>
              <a:gd name="connsiteX22" fmla="*/ 2047989 w 7948307"/>
              <a:gd name="connsiteY22" fmla="*/ 376514 h 739526"/>
              <a:gd name="connsiteX23" fmla="*/ 1888405 w 7948307"/>
              <a:gd name="connsiteY23" fmla="*/ 207889 h 739526"/>
              <a:gd name="connsiteX24" fmla="*/ 2318785 w 7948307"/>
              <a:gd name="connsiteY24" fmla="*/ 207889 h 739526"/>
              <a:gd name="connsiteX25" fmla="*/ 2125851 w 7948307"/>
              <a:gd name="connsiteY25" fmla="*/ 353369 h 739526"/>
              <a:gd name="connsiteX26" fmla="*/ 2248089 w 7948307"/>
              <a:gd name="connsiteY26" fmla="*/ 498850 h 739526"/>
              <a:gd name="connsiteX27" fmla="*/ 2349103 w 7948307"/>
              <a:gd name="connsiteY27" fmla="*/ 524061 h 739526"/>
              <a:gd name="connsiteX28" fmla="*/ 2426965 w 7948307"/>
              <a:gd name="connsiteY28" fmla="*/ 598868 h 739526"/>
              <a:gd name="connsiteX29" fmla="*/ 2326916 w 7948307"/>
              <a:gd name="connsiteY29" fmla="*/ 679736 h 739526"/>
              <a:gd name="connsiteX30" fmla="*/ 2211707 w 7948307"/>
              <a:gd name="connsiteY30" fmla="*/ 562635 h 739526"/>
              <a:gd name="connsiteX31" fmla="*/ 2104629 w 7948307"/>
              <a:gd name="connsiteY31" fmla="*/ 592944 h 739526"/>
              <a:gd name="connsiteX32" fmla="*/ 2313824 w 7948307"/>
              <a:gd name="connsiteY32" fmla="*/ 733327 h 739526"/>
              <a:gd name="connsiteX33" fmla="*/ 2523983 w 7948307"/>
              <a:gd name="connsiteY33" fmla="*/ 568697 h 739526"/>
              <a:gd name="connsiteX34" fmla="*/ 2389619 w 7948307"/>
              <a:gd name="connsiteY34" fmla="*/ 417155 h 739526"/>
              <a:gd name="connsiteX35" fmla="*/ 2292601 w 7948307"/>
              <a:gd name="connsiteY35" fmla="*/ 392908 h 739526"/>
              <a:gd name="connsiteX36" fmla="*/ 2222869 w 7948307"/>
              <a:gd name="connsiteY36" fmla="*/ 326229 h 739526"/>
              <a:gd name="connsiteX37" fmla="*/ 2308725 w 7948307"/>
              <a:gd name="connsiteY37" fmla="*/ 261617 h 739526"/>
              <a:gd name="connsiteX38" fmla="*/ 2411806 w 7948307"/>
              <a:gd name="connsiteY38" fmla="*/ 358604 h 739526"/>
              <a:gd name="connsiteX39" fmla="*/ 2512821 w 7948307"/>
              <a:gd name="connsiteY39" fmla="*/ 328296 h 739526"/>
              <a:gd name="connsiteX40" fmla="*/ 2318785 w 7948307"/>
              <a:gd name="connsiteY40" fmla="*/ 208164 h 739526"/>
              <a:gd name="connsiteX41" fmla="*/ 2819861 w 7948307"/>
              <a:gd name="connsiteY41" fmla="*/ 677807 h 739526"/>
              <a:gd name="connsiteX42" fmla="*/ 2698588 w 7948307"/>
              <a:gd name="connsiteY42" fmla="*/ 470746 h 739526"/>
              <a:gd name="connsiteX43" fmla="*/ 2819861 w 7948307"/>
              <a:gd name="connsiteY43" fmla="*/ 263684 h 739526"/>
              <a:gd name="connsiteX44" fmla="*/ 2941133 w 7948307"/>
              <a:gd name="connsiteY44" fmla="*/ 470746 h 739526"/>
              <a:gd name="connsiteX45" fmla="*/ 2819861 w 7948307"/>
              <a:gd name="connsiteY45" fmla="*/ 677807 h 739526"/>
              <a:gd name="connsiteX46" fmla="*/ 2819861 w 7948307"/>
              <a:gd name="connsiteY46" fmla="*/ 208164 h 739526"/>
              <a:gd name="connsiteX47" fmla="*/ 2573319 w 7948307"/>
              <a:gd name="connsiteY47" fmla="*/ 470746 h 739526"/>
              <a:gd name="connsiteX48" fmla="*/ 2819861 w 7948307"/>
              <a:gd name="connsiteY48" fmla="*/ 733327 h 739526"/>
              <a:gd name="connsiteX49" fmla="*/ 3066402 w 7948307"/>
              <a:gd name="connsiteY49" fmla="*/ 470746 h 739526"/>
              <a:gd name="connsiteX50" fmla="*/ 2819861 w 7948307"/>
              <a:gd name="connsiteY50" fmla="*/ 208164 h 739526"/>
              <a:gd name="connsiteX51" fmla="*/ 3401831 w 7948307"/>
              <a:gd name="connsiteY51" fmla="*/ 208164 h 739526"/>
              <a:gd name="connsiteX52" fmla="*/ 3262367 w 7948307"/>
              <a:gd name="connsiteY52" fmla="*/ 281869 h 739526"/>
              <a:gd name="connsiteX53" fmla="*/ 3256304 w 7948307"/>
              <a:gd name="connsiteY53" fmla="*/ 281869 h 739526"/>
              <a:gd name="connsiteX54" fmla="*/ 3256304 w 7948307"/>
              <a:gd name="connsiteY54" fmla="*/ 218221 h 739526"/>
              <a:gd name="connsiteX55" fmla="*/ 3137098 w 7948307"/>
              <a:gd name="connsiteY55" fmla="*/ 218221 h 739526"/>
              <a:gd name="connsiteX56" fmla="*/ 3137098 w 7948307"/>
              <a:gd name="connsiteY56" fmla="*/ 723270 h 739526"/>
              <a:gd name="connsiteX57" fmla="*/ 3256304 w 7948307"/>
              <a:gd name="connsiteY57" fmla="*/ 723270 h 739526"/>
              <a:gd name="connsiteX58" fmla="*/ 3256304 w 7948307"/>
              <a:gd name="connsiteY58" fmla="*/ 397041 h 739526"/>
              <a:gd name="connsiteX59" fmla="*/ 3356353 w 7948307"/>
              <a:gd name="connsiteY59" fmla="*/ 278838 h 739526"/>
              <a:gd name="connsiteX60" fmla="*/ 3442209 w 7948307"/>
              <a:gd name="connsiteY60" fmla="*/ 377891 h 739526"/>
              <a:gd name="connsiteX61" fmla="*/ 3442209 w 7948307"/>
              <a:gd name="connsiteY61" fmla="*/ 723270 h 739526"/>
              <a:gd name="connsiteX62" fmla="*/ 3561414 w 7948307"/>
              <a:gd name="connsiteY62" fmla="*/ 723270 h 739526"/>
              <a:gd name="connsiteX63" fmla="*/ 3561414 w 7948307"/>
              <a:gd name="connsiteY63" fmla="*/ 376789 h 739526"/>
              <a:gd name="connsiteX64" fmla="*/ 3401831 w 7948307"/>
              <a:gd name="connsiteY64" fmla="*/ 208164 h 739526"/>
              <a:gd name="connsiteX65" fmla="*/ 5172960 w 7948307"/>
              <a:gd name="connsiteY65" fmla="*/ 677807 h 739526"/>
              <a:gd name="connsiteX66" fmla="*/ 5051688 w 7948307"/>
              <a:gd name="connsiteY66" fmla="*/ 470746 h 739526"/>
              <a:gd name="connsiteX67" fmla="*/ 5172960 w 7948307"/>
              <a:gd name="connsiteY67" fmla="*/ 263684 h 739526"/>
              <a:gd name="connsiteX68" fmla="*/ 5294232 w 7948307"/>
              <a:gd name="connsiteY68" fmla="*/ 470746 h 739526"/>
              <a:gd name="connsiteX69" fmla="*/ 5172960 w 7948307"/>
              <a:gd name="connsiteY69" fmla="*/ 677807 h 739526"/>
              <a:gd name="connsiteX70" fmla="*/ 5172960 w 7948307"/>
              <a:gd name="connsiteY70" fmla="*/ 208164 h 739526"/>
              <a:gd name="connsiteX71" fmla="*/ 4926418 w 7948307"/>
              <a:gd name="connsiteY71" fmla="*/ 470746 h 739526"/>
              <a:gd name="connsiteX72" fmla="*/ 5172960 w 7948307"/>
              <a:gd name="connsiteY72" fmla="*/ 733327 h 739526"/>
              <a:gd name="connsiteX73" fmla="*/ 5419502 w 7948307"/>
              <a:gd name="connsiteY73" fmla="*/ 470746 h 739526"/>
              <a:gd name="connsiteX74" fmla="*/ 5172960 w 7948307"/>
              <a:gd name="connsiteY74" fmla="*/ 208164 h 739526"/>
              <a:gd name="connsiteX75" fmla="*/ 6275299 w 7948307"/>
              <a:gd name="connsiteY75" fmla="*/ 208164 h 739526"/>
              <a:gd name="connsiteX76" fmla="*/ 6135836 w 7948307"/>
              <a:gd name="connsiteY76" fmla="*/ 281869 h 739526"/>
              <a:gd name="connsiteX77" fmla="*/ 6129772 w 7948307"/>
              <a:gd name="connsiteY77" fmla="*/ 281869 h 739526"/>
              <a:gd name="connsiteX78" fmla="*/ 6129772 w 7948307"/>
              <a:gd name="connsiteY78" fmla="*/ 218221 h 739526"/>
              <a:gd name="connsiteX79" fmla="*/ 6010567 w 7948307"/>
              <a:gd name="connsiteY79" fmla="*/ 218221 h 739526"/>
              <a:gd name="connsiteX80" fmla="*/ 6010567 w 7948307"/>
              <a:gd name="connsiteY80" fmla="*/ 723270 h 739526"/>
              <a:gd name="connsiteX81" fmla="*/ 6129772 w 7948307"/>
              <a:gd name="connsiteY81" fmla="*/ 723270 h 739526"/>
              <a:gd name="connsiteX82" fmla="*/ 6129772 w 7948307"/>
              <a:gd name="connsiteY82" fmla="*/ 397041 h 739526"/>
              <a:gd name="connsiteX83" fmla="*/ 6229822 w 7948307"/>
              <a:gd name="connsiteY83" fmla="*/ 278838 h 739526"/>
              <a:gd name="connsiteX84" fmla="*/ 6315677 w 7948307"/>
              <a:gd name="connsiteY84" fmla="*/ 377891 h 739526"/>
              <a:gd name="connsiteX85" fmla="*/ 6315677 w 7948307"/>
              <a:gd name="connsiteY85" fmla="*/ 723270 h 739526"/>
              <a:gd name="connsiteX86" fmla="*/ 6434883 w 7948307"/>
              <a:gd name="connsiteY86" fmla="*/ 723270 h 739526"/>
              <a:gd name="connsiteX87" fmla="*/ 6434883 w 7948307"/>
              <a:gd name="connsiteY87" fmla="*/ 376789 h 739526"/>
              <a:gd name="connsiteX88" fmla="*/ 6275299 w 7948307"/>
              <a:gd name="connsiteY88" fmla="*/ 208164 h 739526"/>
              <a:gd name="connsiteX89" fmla="*/ 6705679 w 7948307"/>
              <a:gd name="connsiteY89" fmla="*/ 208164 h 739526"/>
              <a:gd name="connsiteX90" fmla="*/ 6512746 w 7948307"/>
              <a:gd name="connsiteY90" fmla="*/ 353645 h 739526"/>
              <a:gd name="connsiteX91" fmla="*/ 6634983 w 7948307"/>
              <a:gd name="connsiteY91" fmla="*/ 499125 h 739526"/>
              <a:gd name="connsiteX92" fmla="*/ 6735996 w 7948307"/>
              <a:gd name="connsiteY92" fmla="*/ 524336 h 739526"/>
              <a:gd name="connsiteX93" fmla="*/ 6813859 w 7948307"/>
              <a:gd name="connsiteY93" fmla="*/ 599143 h 739526"/>
              <a:gd name="connsiteX94" fmla="*/ 6713809 w 7948307"/>
              <a:gd name="connsiteY94" fmla="*/ 680012 h 739526"/>
              <a:gd name="connsiteX95" fmla="*/ 6598601 w 7948307"/>
              <a:gd name="connsiteY95" fmla="*/ 562911 h 739526"/>
              <a:gd name="connsiteX96" fmla="*/ 6491522 w 7948307"/>
              <a:gd name="connsiteY96" fmla="*/ 593219 h 739526"/>
              <a:gd name="connsiteX97" fmla="*/ 6700717 w 7948307"/>
              <a:gd name="connsiteY97" fmla="*/ 733603 h 739526"/>
              <a:gd name="connsiteX98" fmla="*/ 6910877 w 7948307"/>
              <a:gd name="connsiteY98" fmla="*/ 568973 h 739526"/>
              <a:gd name="connsiteX99" fmla="*/ 6776513 w 7948307"/>
              <a:gd name="connsiteY99" fmla="*/ 417430 h 739526"/>
              <a:gd name="connsiteX100" fmla="*/ 6679495 w 7948307"/>
              <a:gd name="connsiteY100" fmla="*/ 393183 h 739526"/>
              <a:gd name="connsiteX101" fmla="*/ 6609763 w 7948307"/>
              <a:gd name="connsiteY101" fmla="*/ 326505 h 739526"/>
              <a:gd name="connsiteX102" fmla="*/ 6695618 w 7948307"/>
              <a:gd name="connsiteY102" fmla="*/ 261893 h 739526"/>
              <a:gd name="connsiteX103" fmla="*/ 6798701 w 7948307"/>
              <a:gd name="connsiteY103" fmla="*/ 358880 h 739526"/>
              <a:gd name="connsiteX104" fmla="*/ 6899714 w 7948307"/>
              <a:gd name="connsiteY104" fmla="*/ 328571 h 739526"/>
              <a:gd name="connsiteX105" fmla="*/ 6705679 w 7948307"/>
              <a:gd name="connsiteY105" fmla="*/ 208440 h 739526"/>
              <a:gd name="connsiteX106" fmla="*/ 7206755 w 7948307"/>
              <a:gd name="connsiteY106" fmla="*/ 678083 h 739526"/>
              <a:gd name="connsiteX107" fmla="*/ 7085482 w 7948307"/>
              <a:gd name="connsiteY107" fmla="*/ 471021 h 739526"/>
              <a:gd name="connsiteX108" fmla="*/ 7206755 w 7948307"/>
              <a:gd name="connsiteY108" fmla="*/ 263959 h 739526"/>
              <a:gd name="connsiteX109" fmla="*/ 7328027 w 7948307"/>
              <a:gd name="connsiteY109" fmla="*/ 471021 h 739526"/>
              <a:gd name="connsiteX110" fmla="*/ 7206755 w 7948307"/>
              <a:gd name="connsiteY110" fmla="*/ 678083 h 739526"/>
              <a:gd name="connsiteX111" fmla="*/ 7206755 w 7948307"/>
              <a:gd name="connsiteY111" fmla="*/ 208440 h 739526"/>
              <a:gd name="connsiteX112" fmla="*/ 6960213 w 7948307"/>
              <a:gd name="connsiteY112" fmla="*/ 471021 h 739526"/>
              <a:gd name="connsiteX113" fmla="*/ 7206755 w 7948307"/>
              <a:gd name="connsiteY113" fmla="*/ 733603 h 739526"/>
              <a:gd name="connsiteX114" fmla="*/ 7453296 w 7948307"/>
              <a:gd name="connsiteY114" fmla="*/ 471021 h 739526"/>
              <a:gd name="connsiteX115" fmla="*/ 7206755 w 7948307"/>
              <a:gd name="connsiteY115" fmla="*/ 208440 h 739526"/>
              <a:gd name="connsiteX116" fmla="*/ 7788724 w 7948307"/>
              <a:gd name="connsiteY116" fmla="*/ 208440 h 739526"/>
              <a:gd name="connsiteX117" fmla="*/ 7649261 w 7948307"/>
              <a:gd name="connsiteY117" fmla="*/ 282144 h 739526"/>
              <a:gd name="connsiteX118" fmla="*/ 7643197 w 7948307"/>
              <a:gd name="connsiteY118" fmla="*/ 282144 h 739526"/>
              <a:gd name="connsiteX119" fmla="*/ 7643197 w 7948307"/>
              <a:gd name="connsiteY119" fmla="*/ 218496 h 739526"/>
              <a:gd name="connsiteX120" fmla="*/ 7523992 w 7948307"/>
              <a:gd name="connsiteY120" fmla="*/ 218496 h 739526"/>
              <a:gd name="connsiteX121" fmla="*/ 7523992 w 7948307"/>
              <a:gd name="connsiteY121" fmla="*/ 723546 h 739526"/>
              <a:gd name="connsiteX122" fmla="*/ 7643197 w 7948307"/>
              <a:gd name="connsiteY122" fmla="*/ 723546 h 739526"/>
              <a:gd name="connsiteX123" fmla="*/ 7643197 w 7948307"/>
              <a:gd name="connsiteY123" fmla="*/ 397316 h 739526"/>
              <a:gd name="connsiteX124" fmla="*/ 7743247 w 7948307"/>
              <a:gd name="connsiteY124" fmla="*/ 279113 h 739526"/>
              <a:gd name="connsiteX125" fmla="*/ 7829102 w 7948307"/>
              <a:gd name="connsiteY125" fmla="*/ 378167 h 739526"/>
              <a:gd name="connsiteX126" fmla="*/ 7829102 w 7948307"/>
              <a:gd name="connsiteY126" fmla="*/ 723546 h 739526"/>
              <a:gd name="connsiteX127" fmla="*/ 7948308 w 7948307"/>
              <a:gd name="connsiteY127" fmla="*/ 723546 h 739526"/>
              <a:gd name="connsiteX128" fmla="*/ 7948308 w 7948307"/>
              <a:gd name="connsiteY128" fmla="*/ 377065 h 739526"/>
              <a:gd name="connsiteX129" fmla="*/ 7788724 w 7948307"/>
              <a:gd name="connsiteY129" fmla="*/ 208440 h 739526"/>
              <a:gd name="connsiteX130" fmla="*/ 468828 w 7948307"/>
              <a:gd name="connsiteY130" fmla="*/ 16532 h 739526"/>
              <a:gd name="connsiteX131" fmla="*/ 343559 w 7948307"/>
              <a:gd name="connsiteY131" fmla="*/ 16532 h 739526"/>
              <a:gd name="connsiteX132" fmla="*/ 343559 w 7948307"/>
              <a:gd name="connsiteY132" fmla="*/ 538664 h 739526"/>
              <a:gd name="connsiteX133" fmla="*/ 234414 w 7948307"/>
              <a:gd name="connsiteY133" fmla="*/ 673950 h 739526"/>
              <a:gd name="connsiteX134" fmla="*/ 125269 w 7948307"/>
              <a:gd name="connsiteY134" fmla="*/ 528469 h 739526"/>
              <a:gd name="connsiteX135" fmla="*/ 125269 w 7948307"/>
              <a:gd name="connsiteY135" fmla="*/ 431482 h 739526"/>
              <a:gd name="connsiteX136" fmla="*/ 0 w 7948307"/>
              <a:gd name="connsiteY136" fmla="*/ 462755 h 739526"/>
              <a:gd name="connsiteX137" fmla="*/ 0 w 7948307"/>
              <a:gd name="connsiteY137" fmla="*/ 506151 h 739526"/>
              <a:gd name="connsiteX138" fmla="*/ 234414 w 7948307"/>
              <a:gd name="connsiteY138" fmla="*/ 739527 h 739526"/>
              <a:gd name="connsiteX139" fmla="*/ 468828 w 7948307"/>
              <a:gd name="connsiteY139" fmla="*/ 506151 h 739526"/>
              <a:gd name="connsiteX140" fmla="*/ 468828 w 7948307"/>
              <a:gd name="connsiteY140" fmla="*/ 16256 h 739526"/>
              <a:gd name="connsiteX141" fmla="*/ 1222509 w 7948307"/>
              <a:gd name="connsiteY141" fmla="*/ 16256 h 739526"/>
              <a:gd name="connsiteX142" fmla="*/ 1103304 w 7948307"/>
              <a:gd name="connsiteY142" fmla="*/ 16256 h 739526"/>
              <a:gd name="connsiteX143" fmla="*/ 1103304 w 7948307"/>
              <a:gd name="connsiteY143" fmla="*/ 723270 h 739526"/>
              <a:gd name="connsiteX144" fmla="*/ 1222509 w 7948307"/>
              <a:gd name="connsiteY144" fmla="*/ 723270 h 739526"/>
              <a:gd name="connsiteX145" fmla="*/ 1222509 w 7948307"/>
              <a:gd name="connsiteY145" fmla="*/ 397041 h 739526"/>
              <a:gd name="connsiteX146" fmla="*/ 1322559 w 7948307"/>
              <a:gd name="connsiteY146" fmla="*/ 278838 h 739526"/>
              <a:gd name="connsiteX147" fmla="*/ 1408415 w 7948307"/>
              <a:gd name="connsiteY147" fmla="*/ 377891 h 739526"/>
              <a:gd name="connsiteX148" fmla="*/ 1408415 w 7948307"/>
              <a:gd name="connsiteY148" fmla="*/ 723270 h 739526"/>
              <a:gd name="connsiteX149" fmla="*/ 1527620 w 7948307"/>
              <a:gd name="connsiteY149" fmla="*/ 723270 h 739526"/>
              <a:gd name="connsiteX150" fmla="*/ 1527620 w 7948307"/>
              <a:gd name="connsiteY150" fmla="*/ 376789 h 739526"/>
              <a:gd name="connsiteX151" fmla="*/ 1368036 w 7948307"/>
              <a:gd name="connsiteY151" fmla="*/ 208164 h 739526"/>
              <a:gd name="connsiteX152" fmla="*/ 1228573 w 7948307"/>
              <a:gd name="connsiteY152" fmla="*/ 281869 h 739526"/>
              <a:gd name="connsiteX153" fmla="*/ 1222509 w 7948307"/>
              <a:gd name="connsiteY153" fmla="*/ 281869 h 739526"/>
              <a:gd name="connsiteX154" fmla="*/ 1222509 w 7948307"/>
              <a:gd name="connsiteY154" fmla="*/ 16256 h 739526"/>
              <a:gd name="connsiteX155" fmla="*/ 4855722 w 7948307"/>
              <a:gd name="connsiteY155" fmla="*/ 16256 h 739526"/>
              <a:gd name="connsiteX156" fmla="*/ 4730453 w 7948307"/>
              <a:gd name="connsiteY156" fmla="*/ 16256 h 739526"/>
              <a:gd name="connsiteX157" fmla="*/ 4730453 w 7948307"/>
              <a:gd name="connsiteY157" fmla="*/ 538389 h 739526"/>
              <a:gd name="connsiteX158" fmla="*/ 4621308 w 7948307"/>
              <a:gd name="connsiteY158" fmla="*/ 673675 h 739526"/>
              <a:gd name="connsiteX159" fmla="*/ 4512163 w 7948307"/>
              <a:gd name="connsiteY159" fmla="*/ 528194 h 739526"/>
              <a:gd name="connsiteX160" fmla="*/ 4512163 w 7948307"/>
              <a:gd name="connsiteY160" fmla="*/ 431207 h 739526"/>
              <a:gd name="connsiteX161" fmla="*/ 4386894 w 7948307"/>
              <a:gd name="connsiteY161" fmla="*/ 462480 h 739526"/>
              <a:gd name="connsiteX162" fmla="*/ 4386894 w 7948307"/>
              <a:gd name="connsiteY162" fmla="*/ 505876 h 739526"/>
              <a:gd name="connsiteX163" fmla="*/ 4621308 w 7948307"/>
              <a:gd name="connsiteY163" fmla="*/ 739251 h 739526"/>
              <a:gd name="connsiteX164" fmla="*/ 4855722 w 7948307"/>
              <a:gd name="connsiteY164" fmla="*/ 505876 h 739526"/>
              <a:gd name="connsiteX165" fmla="*/ 4855722 w 7948307"/>
              <a:gd name="connsiteY165" fmla="*/ 15981 h 739526"/>
              <a:gd name="connsiteX166" fmla="*/ 5609403 w 7948307"/>
              <a:gd name="connsiteY166" fmla="*/ 15981 h 739526"/>
              <a:gd name="connsiteX167" fmla="*/ 5490198 w 7948307"/>
              <a:gd name="connsiteY167" fmla="*/ 15981 h 739526"/>
              <a:gd name="connsiteX168" fmla="*/ 5490198 w 7948307"/>
              <a:gd name="connsiteY168" fmla="*/ 722995 h 739526"/>
              <a:gd name="connsiteX169" fmla="*/ 5609403 w 7948307"/>
              <a:gd name="connsiteY169" fmla="*/ 722995 h 739526"/>
              <a:gd name="connsiteX170" fmla="*/ 5609403 w 7948307"/>
              <a:gd name="connsiteY170" fmla="*/ 396765 h 739526"/>
              <a:gd name="connsiteX171" fmla="*/ 5709453 w 7948307"/>
              <a:gd name="connsiteY171" fmla="*/ 278562 h 739526"/>
              <a:gd name="connsiteX172" fmla="*/ 5795308 w 7948307"/>
              <a:gd name="connsiteY172" fmla="*/ 377616 h 739526"/>
              <a:gd name="connsiteX173" fmla="*/ 5795308 w 7948307"/>
              <a:gd name="connsiteY173" fmla="*/ 722995 h 739526"/>
              <a:gd name="connsiteX174" fmla="*/ 5914514 w 7948307"/>
              <a:gd name="connsiteY174" fmla="*/ 722995 h 739526"/>
              <a:gd name="connsiteX175" fmla="*/ 5914514 w 7948307"/>
              <a:gd name="connsiteY175" fmla="*/ 376514 h 739526"/>
              <a:gd name="connsiteX176" fmla="*/ 5754930 w 7948307"/>
              <a:gd name="connsiteY176" fmla="*/ 207889 h 739526"/>
              <a:gd name="connsiteX177" fmla="*/ 5615466 w 7948307"/>
              <a:gd name="connsiteY177" fmla="*/ 281593 h 739526"/>
              <a:gd name="connsiteX178" fmla="*/ 5609403 w 7948307"/>
              <a:gd name="connsiteY178" fmla="*/ 281593 h 739526"/>
              <a:gd name="connsiteX179" fmla="*/ 5609403 w 7948307"/>
              <a:gd name="connsiteY179" fmla="*/ 15981 h 739526"/>
              <a:gd name="connsiteX180" fmla="*/ 3954447 w 7948307"/>
              <a:gd name="connsiteY180" fmla="*/ 665409 h 739526"/>
              <a:gd name="connsiteX181" fmla="*/ 3797895 w 7948307"/>
              <a:gd name="connsiteY181" fmla="*/ 502845 h 739526"/>
              <a:gd name="connsiteX182" fmla="*/ 3859496 w 7948307"/>
              <a:gd name="connsiteY182" fmla="*/ 374585 h 739526"/>
              <a:gd name="connsiteX183" fmla="*/ 4087847 w 7948307"/>
              <a:gd name="connsiteY183" fmla="*/ 624079 h 739526"/>
              <a:gd name="connsiteX184" fmla="*/ 3954447 w 7948307"/>
              <a:gd name="connsiteY184" fmla="*/ 665546 h 739526"/>
              <a:gd name="connsiteX185" fmla="*/ 4176734 w 7948307"/>
              <a:gd name="connsiteY185" fmla="*/ 541282 h 739526"/>
              <a:gd name="connsiteX186" fmla="*/ 3978702 w 7948307"/>
              <a:gd name="connsiteY186" fmla="*/ 323061 h 739526"/>
              <a:gd name="connsiteX187" fmla="*/ 4076684 w 7948307"/>
              <a:gd name="connsiteY187" fmla="*/ 303911 h 739526"/>
              <a:gd name="connsiteX188" fmla="*/ 4208981 w 7948307"/>
              <a:gd name="connsiteY188" fmla="*/ 433273 h 739526"/>
              <a:gd name="connsiteX189" fmla="*/ 4176596 w 7948307"/>
              <a:gd name="connsiteY189" fmla="*/ 541282 h 739526"/>
              <a:gd name="connsiteX190" fmla="*/ 3951278 w 7948307"/>
              <a:gd name="connsiteY190" fmla="*/ 293854 h 739526"/>
              <a:gd name="connsiteX191" fmla="*/ 3907868 w 7948307"/>
              <a:gd name="connsiteY191" fmla="*/ 245361 h 739526"/>
              <a:gd name="connsiteX192" fmla="*/ 3858394 w 7948307"/>
              <a:gd name="connsiteY192" fmla="*/ 145343 h 739526"/>
              <a:gd name="connsiteX193" fmla="*/ 3954309 w 7948307"/>
              <a:gd name="connsiteY193" fmla="*/ 53453 h 739526"/>
              <a:gd name="connsiteX194" fmla="*/ 4049260 w 7948307"/>
              <a:gd name="connsiteY194" fmla="*/ 150440 h 739526"/>
              <a:gd name="connsiteX195" fmla="*/ 3951278 w 7948307"/>
              <a:gd name="connsiteY195" fmla="*/ 293854 h 739526"/>
              <a:gd name="connsiteX196" fmla="*/ 3957341 w 7948307"/>
              <a:gd name="connsiteY196" fmla="*/ 0 h 739526"/>
              <a:gd name="connsiteX197" fmla="*/ 3749249 w 7948307"/>
              <a:gd name="connsiteY197" fmla="*/ 174687 h 739526"/>
              <a:gd name="connsiteX198" fmla="*/ 3830143 w 7948307"/>
              <a:gd name="connsiteY198" fmla="*/ 343312 h 739526"/>
              <a:gd name="connsiteX199" fmla="*/ 3831108 w 7948307"/>
              <a:gd name="connsiteY199" fmla="*/ 345379 h 739526"/>
              <a:gd name="connsiteX200" fmla="*/ 3686683 w 7948307"/>
              <a:gd name="connsiteY200" fmla="*/ 548445 h 739526"/>
              <a:gd name="connsiteX201" fmla="*/ 3889815 w 7948307"/>
              <a:gd name="connsiteY201" fmla="*/ 739389 h 739526"/>
              <a:gd name="connsiteX202" fmla="*/ 4118165 w 7948307"/>
              <a:gd name="connsiteY202" fmla="*/ 657556 h 739526"/>
              <a:gd name="connsiteX203" fmla="*/ 4178801 w 7948307"/>
              <a:gd name="connsiteY203" fmla="*/ 723270 h 739526"/>
              <a:gd name="connsiteX204" fmla="*/ 4337420 w 7948307"/>
              <a:gd name="connsiteY204" fmla="*/ 723270 h 739526"/>
              <a:gd name="connsiteX205" fmla="*/ 4337420 w 7948307"/>
              <a:gd name="connsiteY205" fmla="*/ 718173 h 739526"/>
              <a:gd name="connsiteX206" fmla="*/ 4208155 w 7948307"/>
              <a:gd name="connsiteY206" fmla="*/ 575723 h 739526"/>
              <a:gd name="connsiteX207" fmla="*/ 4294011 w 7948307"/>
              <a:gd name="connsiteY207" fmla="*/ 378718 h 739526"/>
              <a:gd name="connsiteX208" fmla="*/ 4161713 w 7948307"/>
              <a:gd name="connsiteY208" fmla="*/ 250458 h 739526"/>
              <a:gd name="connsiteX209" fmla="*/ 4040440 w 7948307"/>
              <a:gd name="connsiteY209" fmla="*/ 274705 h 739526"/>
              <a:gd name="connsiteX210" fmla="*/ 4038373 w 7948307"/>
              <a:gd name="connsiteY210" fmla="*/ 270710 h 739526"/>
              <a:gd name="connsiteX211" fmla="*/ 4147518 w 7948307"/>
              <a:gd name="connsiteY211" fmla="*/ 137352 h 739526"/>
              <a:gd name="connsiteX212" fmla="*/ 3957617 w 7948307"/>
              <a:gd name="connsiteY212" fmla="*/ 0 h 73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7948307" h="739526">
                <a:moveTo>
                  <a:pt x="786066" y="677532"/>
                </a:moveTo>
                <a:cubicBezTo>
                  <a:pt x="708204" y="677532"/>
                  <a:pt x="664794" y="603827"/>
                  <a:pt x="664794" y="470470"/>
                </a:cubicBezTo>
                <a:cubicBezTo>
                  <a:pt x="664794" y="337113"/>
                  <a:pt x="708204" y="263408"/>
                  <a:pt x="786066" y="263408"/>
                </a:cubicBezTo>
                <a:cubicBezTo>
                  <a:pt x="863929" y="263408"/>
                  <a:pt x="907339" y="336148"/>
                  <a:pt x="907339" y="470470"/>
                </a:cubicBezTo>
                <a:cubicBezTo>
                  <a:pt x="907339" y="604792"/>
                  <a:pt x="863929" y="677532"/>
                  <a:pt x="786066" y="677532"/>
                </a:cubicBezTo>
                <a:moveTo>
                  <a:pt x="786066" y="207889"/>
                </a:moveTo>
                <a:cubicBezTo>
                  <a:pt x="627447" y="207889"/>
                  <a:pt x="539525" y="326091"/>
                  <a:pt x="539525" y="470470"/>
                </a:cubicBezTo>
                <a:cubicBezTo>
                  <a:pt x="539525" y="614849"/>
                  <a:pt x="627447" y="733052"/>
                  <a:pt x="786066" y="733052"/>
                </a:cubicBezTo>
                <a:cubicBezTo>
                  <a:pt x="944685" y="733052"/>
                  <a:pt x="1032607" y="614849"/>
                  <a:pt x="1032607" y="470470"/>
                </a:cubicBezTo>
                <a:cubicBezTo>
                  <a:pt x="1032607" y="326091"/>
                  <a:pt x="944685" y="207889"/>
                  <a:pt x="786066" y="207889"/>
                </a:cubicBezTo>
                <a:moveTo>
                  <a:pt x="1888405" y="207889"/>
                </a:moveTo>
                <a:cubicBezTo>
                  <a:pt x="1813575" y="207889"/>
                  <a:pt x="1772232" y="240263"/>
                  <a:pt x="1748942" y="281593"/>
                </a:cubicBezTo>
                <a:lnTo>
                  <a:pt x="1742878" y="281593"/>
                </a:lnTo>
                <a:lnTo>
                  <a:pt x="1742878" y="217945"/>
                </a:lnTo>
                <a:lnTo>
                  <a:pt x="1623673" y="217945"/>
                </a:lnTo>
                <a:lnTo>
                  <a:pt x="1623673" y="722995"/>
                </a:lnTo>
                <a:lnTo>
                  <a:pt x="1742878" y="722995"/>
                </a:lnTo>
                <a:lnTo>
                  <a:pt x="1742878" y="396765"/>
                </a:lnTo>
                <a:cubicBezTo>
                  <a:pt x="1742878" y="322096"/>
                  <a:pt x="1781327" y="278562"/>
                  <a:pt x="1842928" y="278562"/>
                </a:cubicBezTo>
                <a:cubicBezTo>
                  <a:pt x="1904529" y="278562"/>
                  <a:pt x="1928783" y="317963"/>
                  <a:pt x="1928783" y="377616"/>
                </a:cubicBezTo>
                <a:lnTo>
                  <a:pt x="1928783" y="722995"/>
                </a:lnTo>
                <a:lnTo>
                  <a:pt x="2047989" y="722995"/>
                </a:lnTo>
                <a:lnTo>
                  <a:pt x="2047989" y="376514"/>
                </a:lnTo>
                <a:cubicBezTo>
                  <a:pt x="2047989" y="272501"/>
                  <a:pt x="1993416" y="207889"/>
                  <a:pt x="1888405" y="207889"/>
                </a:cubicBezTo>
                <a:moveTo>
                  <a:pt x="2318785" y="207889"/>
                </a:moveTo>
                <a:cubicBezTo>
                  <a:pt x="2208675" y="207889"/>
                  <a:pt x="2125851" y="254316"/>
                  <a:pt x="2125851" y="353369"/>
                </a:cubicBezTo>
                <a:cubicBezTo>
                  <a:pt x="2125851" y="437269"/>
                  <a:pt x="2183456" y="482731"/>
                  <a:pt x="2248089" y="498850"/>
                </a:cubicBezTo>
                <a:lnTo>
                  <a:pt x="2349103" y="524061"/>
                </a:lnTo>
                <a:cubicBezTo>
                  <a:pt x="2402711" y="537149"/>
                  <a:pt x="2426965" y="556436"/>
                  <a:pt x="2426965" y="598868"/>
                </a:cubicBezTo>
                <a:cubicBezTo>
                  <a:pt x="2426965" y="650392"/>
                  <a:pt x="2390584" y="679736"/>
                  <a:pt x="2326916" y="679736"/>
                </a:cubicBezTo>
                <a:cubicBezTo>
                  <a:pt x="2258148" y="679736"/>
                  <a:pt x="2222869" y="646397"/>
                  <a:pt x="2211707" y="562635"/>
                </a:cubicBezTo>
                <a:lnTo>
                  <a:pt x="2104629" y="592944"/>
                </a:lnTo>
                <a:cubicBezTo>
                  <a:pt x="2110692" y="679874"/>
                  <a:pt x="2191587" y="733327"/>
                  <a:pt x="2313824" y="733327"/>
                </a:cubicBezTo>
                <a:cubicBezTo>
                  <a:pt x="2450255" y="733327"/>
                  <a:pt x="2523983" y="669679"/>
                  <a:pt x="2523983" y="568697"/>
                </a:cubicBezTo>
                <a:cubicBezTo>
                  <a:pt x="2523983" y="473776"/>
                  <a:pt x="2458248" y="434375"/>
                  <a:pt x="2389619" y="417155"/>
                </a:cubicBezTo>
                <a:lnTo>
                  <a:pt x="2292601" y="392908"/>
                </a:lnTo>
                <a:cubicBezTo>
                  <a:pt x="2244092" y="380784"/>
                  <a:pt x="2222869" y="358604"/>
                  <a:pt x="2222869" y="326229"/>
                </a:cubicBezTo>
                <a:cubicBezTo>
                  <a:pt x="2222869" y="285864"/>
                  <a:pt x="2257184" y="261617"/>
                  <a:pt x="2308725" y="261617"/>
                </a:cubicBezTo>
                <a:cubicBezTo>
                  <a:pt x="2369361" y="261617"/>
                  <a:pt x="2406707" y="294957"/>
                  <a:pt x="2411806" y="358604"/>
                </a:cubicBezTo>
                <a:lnTo>
                  <a:pt x="2512821" y="328296"/>
                </a:lnTo>
                <a:cubicBezTo>
                  <a:pt x="2500693" y="257622"/>
                  <a:pt x="2430962" y="208164"/>
                  <a:pt x="2318785" y="208164"/>
                </a:cubicBezTo>
                <a:moveTo>
                  <a:pt x="2819861" y="677807"/>
                </a:moveTo>
                <a:cubicBezTo>
                  <a:pt x="2741998" y="677807"/>
                  <a:pt x="2698588" y="604103"/>
                  <a:pt x="2698588" y="470746"/>
                </a:cubicBezTo>
                <a:cubicBezTo>
                  <a:pt x="2698588" y="337388"/>
                  <a:pt x="2741998" y="263684"/>
                  <a:pt x="2819861" y="263684"/>
                </a:cubicBezTo>
                <a:cubicBezTo>
                  <a:pt x="2897723" y="263684"/>
                  <a:pt x="2941133" y="336424"/>
                  <a:pt x="2941133" y="470746"/>
                </a:cubicBezTo>
                <a:cubicBezTo>
                  <a:pt x="2941133" y="605067"/>
                  <a:pt x="2897723" y="677807"/>
                  <a:pt x="2819861" y="677807"/>
                </a:cubicBezTo>
                <a:moveTo>
                  <a:pt x="2819861" y="208164"/>
                </a:moveTo>
                <a:cubicBezTo>
                  <a:pt x="2661242" y="208164"/>
                  <a:pt x="2573319" y="326367"/>
                  <a:pt x="2573319" y="470746"/>
                </a:cubicBezTo>
                <a:cubicBezTo>
                  <a:pt x="2573319" y="615124"/>
                  <a:pt x="2661242" y="733327"/>
                  <a:pt x="2819861" y="733327"/>
                </a:cubicBezTo>
                <a:cubicBezTo>
                  <a:pt x="2978480" y="733327"/>
                  <a:pt x="3066402" y="615124"/>
                  <a:pt x="3066402" y="470746"/>
                </a:cubicBezTo>
                <a:cubicBezTo>
                  <a:pt x="3066402" y="326367"/>
                  <a:pt x="2978480" y="208164"/>
                  <a:pt x="2819861" y="208164"/>
                </a:cubicBezTo>
                <a:moveTo>
                  <a:pt x="3401831" y="208164"/>
                </a:moveTo>
                <a:cubicBezTo>
                  <a:pt x="3327000" y="208164"/>
                  <a:pt x="3285657" y="240539"/>
                  <a:pt x="3262367" y="281869"/>
                </a:cubicBezTo>
                <a:lnTo>
                  <a:pt x="3256304" y="281869"/>
                </a:lnTo>
                <a:lnTo>
                  <a:pt x="3256304" y="218221"/>
                </a:lnTo>
                <a:lnTo>
                  <a:pt x="3137098" y="218221"/>
                </a:lnTo>
                <a:lnTo>
                  <a:pt x="3137098" y="723270"/>
                </a:lnTo>
                <a:lnTo>
                  <a:pt x="3256304" y="723270"/>
                </a:lnTo>
                <a:lnTo>
                  <a:pt x="3256304" y="397041"/>
                </a:lnTo>
                <a:cubicBezTo>
                  <a:pt x="3256304" y="322372"/>
                  <a:pt x="3294752" y="278838"/>
                  <a:pt x="3356353" y="278838"/>
                </a:cubicBezTo>
                <a:cubicBezTo>
                  <a:pt x="3417954" y="278838"/>
                  <a:pt x="3442209" y="318239"/>
                  <a:pt x="3442209" y="377891"/>
                </a:cubicBezTo>
                <a:lnTo>
                  <a:pt x="3442209" y="723270"/>
                </a:lnTo>
                <a:lnTo>
                  <a:pt x="3561414" y="723270"/>
                </a:lnTo>
                <a:lnTo>
                  <a:pt x="3561414" y="376789"/>
                </a:lnTo>
                <a:cubicBezTo>
                  <a:pt x="3561414" y="272776"/>
                  <a:pt x="3506842" y="208164"/>
                  <a:pt x="3401831" y="208164"/>
                </a:cubicBezTo>
                <a:moveTo>
                  <a:pt x="5172960" y="677807"/>
                </a:moveTo>
                <a:cubicBezTo>
                  <a:pt x="5095097" y="677807"/>
                  <a:pt x="5051688" y="604103"/>
                  <a:pt x="5051688" y="470746"/>
                </a:cubicBezTo>
                <a:cubicBezTo>
                  <a:pt x="5051688" y="337388"/>
                  <a:pt x="5095097" y="263684"/>
                  <a:pt x="5172960" y="263684"/>
                </a:cubicBezTo>
                <a:cubicBezTo>
                  <a:pt x="5250823" y="263684"/>
                  <a:pt x="5294232" y="336424"/>
                  <a:pt x="5294232" y="470746"/>
                </a:cubicBezTo>
                <a:cubicBezTo>
                  <a:pt x="5294232" y="605067"/>
                  <a:pt x="5250823" y="677807"/>
                  <a:pt x="5172960" y="677807"/>
                </a:cubicBezTo>
                <a:moveTo>
                  <a:pt x="5172960" y="208164"/>
                </a:moveTo>
                <a:cubicBezTo>
                  <a:pt x="5014341" y="208164"/>
                  <a:pt x="4926418" y="326367"/>
                  <a:pt x="4926418" y="470746"/>
                </a:cubicBezTo>
                <a:cubicBezTo>
                  <a:pt x="4926418" y="615124"/>
                  <a:pt x="5014341" y="733327"/>
                  <a:pt x="5172960" y="733327"/>
                </a:cubicBezTo>
                <a:cubicBezTo>
                  <a:pt x="5331579" y="733327"/>
                  <a:pt x="5419502" y="615124"/>
                  <a:pt x="5419502" y="470746"/>
                </a:cubicBezTo>
                <a:cubicBezTo>
                  <a:pt x="5419502" y="326367"/>
                  <a:pt x="5331579" y="208164"/>
                  <a:pt x="5172960" y="208164"/>
                </a:cubicBezTo>
                <a:moveTo>
                  <a:pt x="6275299" y="208164"/>
                </a:moveTo>
                <a:cubicBezTo>
                  <a:pt x="6200468" y="208164"/>
                  <a:pt x="6159126" y="240539"/>
                  <a:pt x="6135836" y="281869"/>
                </a:cubicBezTo>
                <a:lnTo>
                  <a:pt x="6129772" y="281869"/>
                </a:lnTo>
                <a:lnTo>
                  <a:pt x="6129772" y="218221"/>
                </a:lnTo>
                <a:lnTo>
                  <a:pt x="6010567" y="218221"/>
                </a:lnTo>
                <a:lnTo>
                  <a:pt x="6010567" y="723270"/>
                </a:lnTo>
                <a:lnTo>
                  <a:pt x="6129772" y="723270"/>
                </a:lnTo>
                <a:lnTo>
                  <a:pt x="6129772" y="397041"/>
                </a:lnTo>
                <a:cubicBezTo>
                  <a:pt x="6129772" y="322372"/>
                  <a:pt x="6168222" y="278838"/>
                  <a:pt x="6229822" y="278838"/>
                </a:cubicBezTo>
                <a:cubicBezTo>
                  <a:pt x="6291422" y="278838"/>
                  <a:pt x="6315677" y="318239"/>
                  <a:pt x="6315677" y="377891"/>
                </a:cubicBezTo>
                <a:lnTo>
                  <a:pt x="6315677" y="723270"/>
                </a:lnTo>
                <a:lnTo>
                  <a:pt x="6434883" y="723270"/>
                </a:lnTo>
                <a:lnTo>
                  <a:pt x="6434883" y="376789"/>
                </a:lnTo>
                <a:cubicBezTo>
                  <a:pt x="6434883" y="272776"/>
                  <a:pt x="6380310" y="208164"/>
                  <a:pt x="6275299" y="208164"/>
                </a:cubicBezTo>
                <a:moveTo>
                  <a:pt x="6705679" y="208164"/>
                </a:moveTo>
                <a:cubicBezTo>
                  <a:pt x="6595568" y="208164"/>
                  <a:pt x="6512746" y="254591"/>
                  <a:pt x="6512746" y="353645"/>
                </a:cubicBezTo>
                <a:cubicBezTo>
                  <a:pt x="6512746" y="437544"/>
                  <a:pt x="6570350" y="483007"/>
                  <a:pt x="6634983" y="499125"/>
                </a:cubicBezTo>
                <a:lnTo>
                  <a:pt x="6735996" y="524336"/>
                </a:lnTo>
                <a:cubicBezTo>
                  <a:pt x="6789605" y="537424"/>
                  <a:pt x="6813859" y="556711"/>
                  <a:pt x="6813859" y="599143"/>
                </a:cubicBezTo>
                <a:cubicBezTo>
                  <a:pt x="6813859" y="650668"/>
                  <a:pt x="6777477" y="680012"/>
                  <a:pt x="6713809" y="680012"/>
                </a:cubicBezTo>
                <a:cubicBezTo>
                  <a:pt x="6645042" y="680012"/>
                  <a:pt x="6609763" y="646672"/>
                  <a:pt x="6598601" y="562911"/>
                </a:cubicBezTo>
                <a:lnTo>
                  <a:pt x="6491522" y="593219"/>
                </a:lnTo>
                <a:cubicBezTo>
                  <a:pt x="6497586" y="680149"/>
                  <a:pt x="6578480" y="733603"/>
                  <a:pt x="6700717" y="733603"/>
                </a:cubicBezTo>
                <a:cubicBezTo>
                  <a:pt x="6837149" y="733603"/>
                  <a:pt x="6910877" y="669955"/>
                  <a:pt x="6910877" y="568973"/>
                </a:cubicBezTo>
                <a:cubicBezTo>
                  <a:pt x="6910877" y="474052"/>
                  <a:pt x="6845142" y="434651"/>
                  <a:pt x="6776513" y="417430"/>
                </a:cubicBezTo>
                <a:lnTo>
                  <a:pt x="6679495" y="393183"/>
                </a:lnTo>
                <a:cubicBezTo>
                  <a:pt x="6630986" y="381060"/>
                  <a:pt x="6609763" y="358880"/>
                  <a:pt x="6609763" y="326505"/>
                </a:cubicBezTo>
                <a:cubicBezTo>
                  <a:pt x="6609763" y="286140"/>
                  <a:pt x="6644078" y="261893"/>
                  <a:pt x="6695618" y="261893"/>
                </a:cubicBezTo>
                <a:cubicBezTo>
                  <a:pt x="6756255" y="261893"/>
                  <a:pt x="6793601" y="295232"/>
                  <a:pt x="6798701" y="358880"/>
                </a:cubicBezTo>
                <a:lnTo>
                  <a:pt x="6899714" y="328571"/>
                </a:lnTo>
                <a:cubicBezTo>
                  <a:pt x="6887587" y="257897"/>
                  <a:pt x="6817855" y="208440"/>
                  <a:pt x="6705679" y="208440"/>
                </a:cubicBezTo>
                <a:moveTo>
                  <a:pt x="7206755" y="678083"/>
                </a:moveTo>
                <a:cubicBezTo>
                  <a:pt x="7128892" y="678083"/>
                  <a:pt x="7085482" y="604378"/>
                  <a:pt x="7085482" y="471021"/>
                </a:cubicBezTo>
                <a:cubicBezTo>
                  <a:pt x="7085482" y="337664"/>
                  <a:pt x="7128892" y="263959"/>
                  <a:pt x="7206755" y="263959"/>
                </a:cubicBezTo>
                <a:cubicBezTo>
                  <a:pt x="7284617" y="263959"/>
                  <a:pt x="7328027" y="336700"/>
                  <a:pt x="7328027" y="471021"/>
                </a:cubicBezTo>
                <a:cubicBezTo>
                  <a:pt x="7328027" y="605343"/>
                  <a:pt x="7284617" y="678083"/>
                  <a:pt x="7206755" y="678083"/>
                </a:cubicBezTo>
                <a:moveTo>
                  <a:pt x="7206755" y="208440"/>
                </a:moveTo>
                <a:cubicBezTo>
                  <a:pt x="7048136" y="208440"/>
                  <a:pt x="6960213" y="326643"/>
                  <a:pt x="6960213" y="471021"/>
                </a:cubicBezTo>
                <a:cubicBezTo>
                  <a:pt x="6960213" y="615400"/>
                  <a:pt x="7048136" y="733603"/>
                  <a:pt x="7206755" y="733603"/>
                </a:cubicBezTo>
                <a:cubicBezTo>
                  <a:pt x="7365374" y="733603"/>
                  <a:pt x="7453296" y="615400"/>
                  <a:pt x="7453296" y="471021"/>
                </a:cubicBezTo>
                <a:cubicBezTo>
                  <a:pt x="7453296" y="326643"/>
                  <a:pt x="7365374" y="208440"/>
                  <a:pt x="7206755" y="208440"/>
                </a:cubicBezTo>
                <a:moveTo>
                  <a:pt x="7788724" y="208440"/>
                </a:moveTo>
                <a:cubicBezTo>
                  <a:pt x="7713894" y="208440"/>
                  <a:pt x="7672551" y="240815"/>
                  <a:pt x="7649261" y="282144"/>
                </a:cubicBezTo>
                <a:lnTo>
                  <a:pt x="7643197" y="282144"/>
                </a:lnTo>
                <a:lnTo>
                  <a:pt x="7643197" y="218496"/>
                </a:lnTo>
                <a:lnTo>
                  <a:pt x="7523992" y="218496"/>
                </a:lnTo>
                <a:lnTo>
                  <a:pt x="7523992" y="723546"/>
                </a:lnTo>
                <a:lnTo>
                  <a:pt x="7643197" y="723546"/>
                </a:lnTo>
                <a:lnTo>
                  <a:pt x="7643197" y="397316"/>
                </a:lnTo>
                <a:cubicBezTo>
                  <a:pt x="7643197" y="322647"/>
                  <a:pt x="7681646" y="279113"/>
                  <a:pt x="7743247" y="279113"/>
                </a:cubicBezTo>
                <a:cubicBezTo>
                  <a:pt x="7804848" y="279113"/>
                  <a:pt x="7829102" y="318514"/>
                  <a:pt x="7829102" y="378167"/>
                </a:cubicBezTo>
                <a:lnTo>
                  <a:pt x="7829102" y="723546"/>
                </a:lnTo>
                <a:lnTo>
                  <a:pt x="7948308" y="723546"/>
                </a:lnTo>
                <a:lnTo>
                  <a:pt x="7948308" y="377065"/>
                </a:lnTo>
                <a:cubicBezTo>
                  <a:pt x="7948308" y="273052"/>
                  <a:pt x="7893735" y="208440"/>
                  <a:pt x="7788724" y="208440"/>
                </a:cubicBezTo>
                <a:moveTo>
                  <a:pt x="468828" y="16532"/>
                </a:moveTo>
                <a:lnTo>
                  <a:pt x="343559" y="16532"/>
                </a:lnTo>
                <a:lnTo>
                  <a:pt x="343559" y="538664"/>
                </a:lnTo>
                <a:cubicBezTo>
                  <a:pt x="343559" y="623528"/>
                  <a:pt x="311174" y="673950"/>
                  <a:pt x="234414" y="673950"/>
                </a:cubicBezTo>
                <a:cubicBezTo>
                  <a:pt x="157654" y="673950"/>
                  <a:pt x="125269" y="620359"/>
                  <a:pt x="125269" y="528469"/>
                </a:cubicBezTo>
                <a:lnTo>
                  <a:pt x="125269" y="431482"/>
                </a:lnTo>
                <a:lnTo>
                  <a:pt x="0" y="462755"/>
                </a:lnTo>
                <a:lnTo>
                  <a:pt x="0" y="506151"/>
                </a:lnTo>
                <a:cubicBezTo>
                  <a:pt x="0" y="638406"/>
                  <a:pt x="65735" y="739527"/>
                  <a:pt x="234414" y="739527"/>
                </a:cubicBezTo>
                <a:cubicBezTo>
                  <a:pt x="403093" y="739527"/>
                  <a:pt x="468828" y="638544"/>
                  <a:pt x="468828" y="506151"/>
                </a:cubicBezTo>
                <a:lnTo>
                  <a:pt x="468828" y="16256"/>
                </a:lnTo>
                <a:moveTo>
                  <a:pt x="1222509" y="16256"/>
                </a:moveTo>
                <a:lnTo>
                  <a:pt x="1103304" y="16256"/>
                </a:lnTo>
                <a:lnTo>
                  <a:pt x="1103304" y="723270"/>
                </a:lnTo>
                <a:lnTo>
                  <a:pt x="1222509" y="723270"/>
                </a:lnTo>
                <a:lnTo>
                  <a:pt x="1222509" y="397041"/>
                </a:lnTo>
                <a:cubicBezTo>
                  <a:pt x="1222509" y="322372"/>
                  <a:pt x="1260958" y="278838"/>
                  <a:pt x="1322559" y="278838"/>
                </a:cubicBezTo>
                <a:cubicBezTo>
                  <a:pt x="1384160" y="278838"/>
                  <a:pt x="1408415" y="318239"/>
                  <a:pt x="1408415" y="377891"/>
                </a:cubicBezTo>
                <a:lnTo>
                  <a:pt x="1408415" y="723270"/>
                </a:lnTo>
                <a:lnTo>
                  <a:pt x="1527620" y="723270"/>
                </a:lnTo>
                <a:lnTo>
                  <a:pt x="1527620" y="376789"/>
                </a:lnTo>
                <a:cubicBezTo>
                  <a:pt x="1527620" y="272776"/>
                  <a:pt x="1473047" y="208164"/>
                  <a:pt x="1368036" y="208164"/>
                </a:cubicBezTo>
                <a:cubicBezTo>
                  <a:pt x="1293206" y="208164"/>
                  <a:pt x="1251863" y="240539"/>
                  <a:pt x="1228573" y="281869"/>
                </a:cubicBezTo>
                <a:lnTo>
                  <a:pt x="1222509" y="281869"/>
                </a:lnTo>
                <a:lnTo>
                  <a:pt x="1222509" y="16256"/>
                </a:lnTo>
                <a:moveTo>
                  <a:pt x="4855722" y="16256"/>
                </a:moveTo>
                <a:lnTo>
                  <a:pt x="4730453" y="16256"/>
                </a:lnTo>
                <a:lnTo>
                  <a:pt x="4730453" y="538389"/>
                </a:lnTo>
                <a:cubicBezTo>
                  <a:pt x="4730453" y="623252"/>
                  <a:pt x="4698068" y="673675"/>
                  <a:pt x="4621308" y="673675"/>
                </a:cubicBezTo>
                <a:cubicBezTo>
                  <a:pt x="4544548" y="673675"/>
                  <a:pt x="4512163" y="620084"/>
                  <a:pt x="4512163" y="528194"/>
                </a:cubicBezTo>
                <a:lnTo>
                  <a:pt x="4512163" y="431207"/>
                </a:lnTo>
                <a:lnTo>
                  <a:pt x="4386894" y="462480"/>
                </a:lnTo>
                <a:lnTo>
                  <a:pt x="4386894" y="505876"/>
                </a:lnTo>
                <a:cubicBezTo>
                  <a:pt x="4386894" y="638131"/>
                  <a:pt x="4452629" y="739251"/>
                  <a:pt x="4621308" y="739251"/>
                </a:cubicBezTo>
                <a:cubicBezTo>
                  <a:pt x="4789987" y="739251"/>
                  <a:pt x="4855722" y="638269"/>
                  <a:pt x="4855722" y="505876"/>
                </a:cubicBezTo>
                <a:lnTo>
                  <a:pt x="4855722" y="15981"/>
                </a:lnTo>
                <a:moveTo>
                  <a:pt x="5609403" y="15981"/>
                </a:moveTo>
                <a:lnTo>
                  <a:pt x="5490198" y="15981"/>
                </a:lnTo>
                <a:lnTo>
                  <a:pt x="5490198" y="722995"/>
                </a:lnTo>
                <a:lnTo>
                  <a:pt x="5609403" y="722995"/>
                </a:lnTo>
                <a:lnTo>
                  <a:pt x="5609403" y="396765"/>
                </a:lnTo>
                <a:cubicBezTo>
                  <a:pt x="5609403" y="322096"/>
                  <a:pt x="5647852" y="278562"/>
                  <a:pt x="5709453" y="278562"/>
                </a:cubicBezTo>
                <a:cubicBezTo>
                  <a:pt x="5771054" y="278562"/>
                  <a:pt x="5795308" y="317963"/>
                  <a:pt x="5795308" y="377616"/>
                </a:cubicBezTo>
                <a:lnTo>
                  <a:pt x="5795308" y="722995"/>
                </a:lnTo>
                <a:lnTo>
                  <a:pt x="5914514" y="722995"/>
                </a:lnTo>
                <a:lnTo>
                  <a:pt x="5914514" y="376514"/>
                </a:lnTo>
                <a:cubicBezTo>
                  <a:pt x="5914514" y="272501"/>
                  <a:pt x="5859941" y="207889"/>
                  <a:pt x="5754930" y="207889"/>
                </a:cubicBezTo>
                <a:cubicBezTo>
                  <a:pt x="5680099" y="207889"/>
                  <a:pt x="5638756" y="240263"/>
                  <a:pt x="5615466" y="281593"/>
                </a:cubicBezTo>
                <a:lnTo>
                  <a:pt x="5609403" y="281593"/>
                </a:lnTo>
                <a:lnTo>
                  <a:pt x="5609403" y="15981"/>
                </a:lnTo>
                <a:moveTo>
                  <a:pt x="3954447" y="665409"/>
                </a:moveTo>
                <a:cubicBezTo>
                  <a:pt x="3857429" y="665409"/>
                  <a:pt x="3797895" y="586607"/>
                  <a:pt x="3797895" y="502845"/>
                </a:cubicBezTo>
                <a:cubicBezTo>
                  <a:pt x="3797895" y="450356"/>
                  <a:pt x="3821185" y="401863"/>
                  <a:pt x="3859496" y="374585"/>
                </a:cubicBezTo>
                <a:lnTo>
                  <a:pt x="4087847" y="624079"/>
                </a:lnTo>
                <a:cubicBezTo>
                  <a:pt x="4045401" y="649290"/>
                  <a:pt x="3997857" y="665546"/>
                  <a:pt x="3954447" y="665546"/>
                </a:cubicBezTo>
                <a:moveTo>
                  <a:pt x="4176734" y="541282"/>
                </a:moveTo>
                <a:lnTo>
                  <a:pt x="3978702" y="323061"/>
                </a:lnTo>
                <a:cubicBezTo>
                  <a:pt x="4014119" y="308871"/>
                  <a:pt x="4048433" y="303911"/>
                  <a:pt x="4076684" y="303911"/>
                </a:cubicBezTo>
                <a:cubicBezTo>
                  <a:pt x="4158543" y="303911"/>
                  <a:pt x="4208981" y="351440"/>
                  <a:pt x="4208981" y="433273"/>
                </a:cubicBezTo>
                <a:cubicBezTo>
                  <a:pt x="4208981" y="469643"/>
                  <a:pt x="4198922" y="506978"/>
                  <a:pt x="4176596" y="541282"/>
                </a:cubicBezTo>
                <a:moveTo>
                  <a:pt x="3951278" y="293854"/>
                </a:moveTo>
                <a:lnTo>
                  <a:pt x="3907868" y="245361"/>
                </a:lnTo>
                <a:cubicBezTo>
                  <a:pt x="3869419" y="202929"/>
                  <a:pt x="3858394" y="176616"/>
                  <a:pt x="3858394" y="145343"/>
                </a:cubicBezTo>
                <a:cubicBezTo>
                  <a:pt x="3858394" y="86792"/>
                  <a:pt x="3895740" y="53453"/>
                  <a:pt x="3954309" y="53453"/>
                </a:cubicBezTo>
                <a:cubicBezTo>
                  <a:pt x="4012879" y="53453"/>
                  <a:pt x="4049260" y="87757"/>
                  <a:pt x="4049260" y="150440"/>
                </a:cubicBezTo>
                <a:cubicBezTo>
                  <a:pt x="4049260" y="208026"/>
                  <a:pt x="4021009" y="262582"/>
                  <a:pt x="3951278" y="293854"/>
                </a:cubicBezTo>
                <a:moveTo>
                  <a:pt x="3957341" y="0"/>
                </a:moveTo>
                <a:cubicBezTo>
                  <a:pt x="3817878" y="0"/>
                  <a:pt x="3749249" y="77838"/>
                  <a:pt x="3749249" y="174687"/>
                </a:cubicBezTo>
                <a:cubicBezTo>
                  <a:pt x="3749249" y="227176"/>
                  <a:pt x="3771436" y="279802"/>
                  <a:pt x="3830143" y="343312"/>
                </a:cubicBezTo>
                <a:lnTo>
                  <a:pt x="3831108" y="345379"/>
                </a:lnTo>
                <a:cubicBezTo>
                  <a:pt x="3732160" y="392908"/>
                  <a:pt x="3686683" y="469643"/>
                  <a:pt x="3686683" y="548445"/>
                </a:cubicBezTo>
                <a:cubicBezTo>
                  <a:pt x="3686683" y="652459"/>
                  <a:pt x="3766475" y="739389"/>
                  <a:pt x="3889815" y="739389"/>
                </a:cubicBezTo>
                <a:cubicBezTo>
                  <a:pt x="3960511" y="739389"/>
                  <a:pt x="4043334" y="710045"/>
                  <a:pt x="4118165" y="657556"/>
                </a:cubicBezTo>
                <a:lnTo>
                  <a:pt x="4178801" y="723270"/>
                </a:lnTo>
                <a:lnTo>
                  <a:pt x="4337420" y="723270"/>
                </a:lnTo>
                <a:lnTo>
                  <a:pt x="4337420" y="718173"/>
                </a:lnTo>
                <a:lnTo>
                  <a:pt x="4208155" y="575723"/>
                </a:lnTo>
                <a:cubicBezTo>
                  <a:pt x="4262728" y="511111"/>
                  <a:pt x="4294011" y="440437"/>
                  <a:pt x="4294011" y="378718"/>
                </a:cubicBezTo>
                <a:cubicBezTo>
                  <a:pt x="4294011" y="301982"/>
                  <a:pt x="4242469" y="250458"/>
                  <a:pt x="4161713" y="250458"/>
                </a:cubicBezTo>
                <a:cubicBezTo>
                  <a:pt x="4119268" y="250458"/>
                  <a:pt x="4071723" y="262582"/>
                  <a:pt x="4040440" y="274705"/>
                </a:cubicBezTo>
                <a:lnTo>
                  <a:pt x="4038373" y="270710"/>
                </a:lnTo>
                <a:cubicBezTo>
                  <a:pt x="4115133" y="229242"/>
                  <a:pt x="4147518" y="190943"/>
                  <a:pt x="4147518" y="137352"/>
                </a:cubicBezTo>
                <a:cubicBezTo>
                  <a:pt x="4147518" y="60617"/>
                  <a:pt x="4078752" y="0"/>
                  <a:pt x="3957617" y="0"/>
                </a:cubicBezTo>
              </a:path>
            </a:pathLst>
          </a:custGeom>
          <a:solidFill>
            <a:schemeClr val="bg1"/>
          </a:solidFill>
          <a:ln w="13780" cap="flat">
            <a:noFill/>
            <a:prstDash val="solid"/>
            <a:miter/>
          </a:ln>
        </p:spPr>
        <p:txBody>
          <a:bodyPr rtlCol="0" anchor="ctr"/>
          <a:lstStyle/>
          <a:p>
            <a:endParaRPr lang="en-GB" b="0" i="0">
              <a:solidFill>
                <a:schemeClr val="bg1"/>
              </a:solidFill>
              <a:latin typeface="Johnson Text" pitchFamily="2" charset="77"/>
            </a:endParaRPr>
          </a:p>
        </p:txBody>
      </p:sp>
      <p:sp>
        <p:nvSpPr>
          <p:cNvPr id="3" name="Footer Placeholder 4">
            <a:extLst>
              <a:ext uri="{FF2B5EF4-FFF2-40B4-BE49-F238E27FC236}">
                <a16:creationId xmlns:a16="http://schemas.microsoft.com/office/drawing/2014/main" id="{6EB02DC9-912A-DA49-E233-3B278A31BA3F}"/>
              </a:ext>
            </a:extLst>
          </p:cNvPr>
          <p:cNvSpPr txBox="1">
            <a:spLocks/>
          </p:cNvSpPr>
          <p:nvPr userDrawn="1"/>
        </p:nvSpPr>
        <p:spPr>
          <a:xfrm>
            <a:off x="9772073" y="6424023"/>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0" i="0" kern="1200">
                <a:solidFill>
                  <a:schemeClr val="bg1"/>
                </a:solidFill>
                <a:latin typeface="+mn-lt"/>
                <a:ea typeface="+mn-ea"/>
                <a:cs typeface="+mn-cs"/>
              </a:rPr>
              <a:t>HEALTH CARE COMPLIANCE</a:t>
            </a:r>
          </a:p>
        </p:txBody>
      </p:sp>
    </p:spTree>
    <p:extLst>
      <p:ext uri="{BB962C8B-B14F-4D97-AF65-F5344CB8AC3E}">
        <p14:creationId xmlns:p14="http://schemas.microsoft.com/office/powerpoint/2010/main" val="299826107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End Slide [Accessible Version]">
    <p:bg>
      <p:bgPr>
        <a:solidFill>
          <a:srgbClr val="F6F3F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F71E3-AC39-2207-0CC4-1E2486610795}"/>
              </a:ext>
            </a:extLst>
          </p:cNvPr>
          <p:cNvSpPr>
            <a:spLocks noGrp="1"/>
          </p:cNvSpPr>
          <p:nvPr>
            <p:ph type="ctrTitle"/>
          </p:nvPr>
        </p:nvSpPr>
        <p:spPr>
          <a:xfrm>
            <a:off x="291593" y="280800"/>
            <a:ext cx="5734050" cy="2620397"/>
          </a:xfrm>
        </p:spPr>
        <p:txBody>
          <a:bodyPr wrap="square" anchor="t">
            <a:spAutoFit/>
          </a:bodyPr>
          <a:lstStyle>
            <a:lvl1pPr algn="l">
              <a:lnSpc>
                <a:spcPct val="80000"/>
              </a:lnSpc>
              <a:defRPr sz="7000" b="0" i="0" spc="0" baseline="0">
                <a:solidFill>
                  <a:schemeClr val="tx2"/>
                </a:solidFill>
                <a:latin typeface="+mj-lt"/>
              </a:defRPr>
            </a:lvl1pPr>
          </a:lstStyle>
          <a:p>
            <a:r>
              <a:rPr lang="en-US"/>
              <a:t>Click to edit Master title style</a:t>
            </a:r>
            <a:endParaRPr lang="en-GB"/>
          </a:p>
        </p:txBody>
      </p:sp>
      <p:sp>
        <p:nvSpPr>
          <p:cNvPr id="4" name="Freeform 3">
            <a:extLst>
              <a:ext uri="{FF2B5EF4-FFF2-40B4-BE49-F238E27FC236}">
                <a16:creationId xmlns:a16="http://schemas.microsoft.com/office/drawing/2014/main" id="{341CCCF6-45D3-89EA-1171-FDB379444A5D}"/>
              </a:ext>
            </a:extLst>
          </p:cNvPr>
          <p:cNvSpPr/>
          <p:nvPr userDrawn="1"/>
        </p:nvSpPr>
        <p:spPr>
          <a:xfrm>
            <a:off x="291593" y="6373132"/>
            <a:ext cx="2032407" cy="189099"/>
          </a:xfrm>
          <a:custGeom>
            <a:avLst/>
            <a:gdLst>
              <a:gd name="connsiteX0" fmla="*/ 786066 w 7948307"/>
              <a:gd name="connsiteY0" fmla="*/ 677532 h 739526"/>
              <a:gd name="connsiteX1" fmla="*/ 664794 w 7948307"/>
              <a:gd name="connsiteY1" fmla="*/ 470470 h 739526"/>
              <a:gd name="connsiteX2" fmla="*/ 786066 w 7948307"/>
              <a:gd name="connsiteY2" fmla="*/ 263408 h 739526"/>
              <a:gd name="connsiteX3" fmla="*/ 907339 w 7948307"/>
              <a:gd name="connsiteY3" fmla="*/ 470470 h 739526"/>
              <a:gd name="connsiteX4" fmla="*/ 786066 w 7948307"/>
              <a:gd name="connsiteY4" fmla="*/ 677532 h 739526"/>
              <a:gd name="connsiteX5" fmla="*/ 786066 w 7948307"/>
              <a:gd name="connsiteY5" fmla="*/ 207889 h 739526"/>
              <a:gd name="connsiteX6" fmla="*/ 539525 w 7948307"/>
              <a:gd name="connsiteY6" fmla="*/ 470470 h 739526"/>
              <a:gd name="connsiteX7" fmla="*/ 786066 w 7948307"/>
              <a:gd name="connsiteY7" fmla="*/ 733052 h 739526"/>
              <a:gd name="connsiteX8" fmla="*/ 1032607 w 7948307"/>
              <a:gd name="connsiteY8" fmla="*/ 470470 h 739526"/>
              <a:gd name="connsiteX9" fmla="*/ 786066 w 7948307"/>
              <a:gd name="connsiteY9" fmla="*/ 207889 h 739526"/>
              <a:gd name="connsiteX10" fmla="*/ 1888405 w 7948307"/>
              <a:gd name="connsiteY10" fmla="*/ 207889 h 739526"/>
              <a:gd name="connsiteX11" fmla="*/ 1748942 w 7948307"/>
              <a:gd name="connsiteY11" fmla="*/ 281593 h 739526"/>
              <a:gd name="connsiteX12" fmla="*/ 1742878 w 7948307"/>
              <a:gd name="connsiteY12" fmla="*/ 281593 h 739526"/>
              <a:gd name="connsiteX13" fmla="*/ 1742878 w 7948307"/>
              <a:gd name="connsiteY13" fmla="*/ 217945 h 739526"/>
              <a:gd name="connsiteX14" fmla="*/ 1623673 w 7948307"/>
              <a:gd name="connsiteY14" fmla="*/ 217945 h 739526"/>
              <a:gd name="connsiteX15" fmla="*/ 1623673 w 7948307"/>
              <a:gd name="connsiteY15" fmla="*/ 722995 h 739526"/>
              <a:gd name="connsiteX16" fmla="*/ 1742878 w 7948307"/>
              <a:gd name="connsiteY16" fmla="*/ 722995 h 739526"/>
              <a:gd name="connsiteX17" fmla="*/ 1742878 w 7948307"/>
              <a:gd name="connsiteY17" fmla="*/ 396765 h 739526"/>
              <a:gd name="connsiteX18" fmla="*/ 1842928 w 7948307"/>
              <a:gd name="connsiteY18" fmla="*/ 278562 h 739526"/>
              <a:gd name="connsiteX19" fmla="*/ 1928783 w 7948307"/>
              <a:gd name="connsiteY19" fmla="*/ 377616 h 739526"/>
              <a:gd name="connsiteX20" fmla="*/ 1928783 w 7948307"/>
              <a:gd name="connsiteY20" fmla="*/ 722995 h 739526"/>
              <a:gd name="connsiteX21" fmla="*/ 2047989 w 7948307"/>
              <a:gd name="connsiteY21" fmla="*/ 722995 h 739526"/>
              <a:gd name="connsiteX22" fmla="*/ 2047989 w 7948307"/>
              <a:gd name="connsiteY22" fmla="*/ 376514 h 739526"/>
              <a:gd name="connsiteX23" fmla="*/ 1888405 w 7948307"/>
              <a:gd name="connsiteY23" fmla="*/ 207889 h 739526"/>
              <a:gd name="connsiteX24" fmla="*/ 2318785 w 7948307"/>
              <a:gd name="connsiteY24" fmla="*/ 207889 h 739526"/>
              <a:gd name="connsiteX25" fmla="*/ 2125851 w 7948307"/>
              <a:gd name="connsiteY25" fmla="*/ 353369 h 739526"/>
              <a:gd name="connsiteX26" fmla="*/ 2248089 w 7948307"/>
              <a:gd name="connsiteY26" fmla="*/ 498850 h 739526"/>
              <a:gd name="connsiteX27" fmla="*/ 2349103 w 7948307"/>
              <a:gd name="connsiteY27" fmla="*/ 524061 h 739526"/>
              <a:gd name="connsiteX28" fmla="*/ 2426965 w 7948307"/>
              <a:gd name="connsiteY28" fmla="*/ 598868 h 739526"/>
              <a:gd name="connsiteX29" fmla="*/ 2326916 w 7948307"/>
              <a:gd name="connsiteY29" fmla="*/ 679736 h 739526"/>
              <a:gd name="connsiteX30" fmla="*/ 2211707 w 7948307"/>
              <a:gd name="connsiteY30" fmla="*/ 562635 h 739526"/>
              <a:gd name="connsiteX31" fmla="*/ 2104629 w 7948307"/>
              <a:gd name="connsiteY31" fmla="*/ 592944 h 739526"/>
              <a:gd name="connsiteX32" fmla="*/ 2313824 w 7948307"/>
              <a:gd name="connsiteY32" fmla="*/ 733327 h 739526"/>
              <a:gd name="connsiteX33" fmla="*/ 2523983 w 7948307"/>
              <a:gd name="connsiteY33" fmla="*/ 568697 h 739526"/>
              <a:gd name="connsiteX34" fmla="*/ 2389619 w 7948307"/>
              <a:gd name="connsiteY34" fmla="*/ 417155 h 739526"/>
              <a:gd name="connsiteX35" fmla="*/ 2292601 w 7948307"/>
              <a:gd name="connsiteY35" fmla="*/ 392908 h 739526"/>
              <a:gd name="connsiteX36" fmla="*/ 2222869 w 7948307"/>
              <a:gd name="connsiteY36" fmla="*/ 326229 h 739526"/>
              <a:gd name="connsiteX37" fmla="*/ 2308725 w 7948307"/>
              <a:gd name="connsiteY37" fmla="*/ 261617 h 739526"/>
              <a:gd name="connsiteX38" fmla="*/ 2411806 w 7948307"/>
              <a:gd name="connsiteY38" fmla="*/ 358604 h 739526"/>
              <a:gd name="connsiteX39" fmla="*/ 2512821 w 7948307"/>
              <a:gd name="connsiteY39" fmla="*/ 328296 h 739526"/>
              <a:gd name="connsiteX40" fmla="*/ 2318785 w 7948307"/>
              <a:gd name="connsiteY40" fmla="*/ 208164 h 739526"/>
              <a:gd name="connsiteX41" fmla="*/ 2819861 w 7948307"/>
              <a:gd name="connsiteY41" fmla="*/ 677807 h 739526"/>
              <a:gd name="connsiteX42" fmla="*/ 2698588 w 7948307"/>
              <a:gd name="connsiteY42" fmla="*/ 470746 h 739526"/>
              <a:gd name="connsiteX43" fmla="*/ 2819861 w 7948307"/>
              <a:gd name="connsiteY43" fmla="*/ 263684 h 739526"/>
              <a:gd name="connsiteX44" fmla="*/ 2941133 w 7948307"/>
              <a:gd name="connsiteY44" fmla="*/ 470746 h 739526"/>
              <a:gd name="connsiteX45" fmla="*/ 2819861 w 7948307"/>
              <a:gd name="connsiteY45" fmla="*/ 677807 h 739526"/>
              <a:gd name="connsiteX46" fmla="*/ 2819861 w 7948307"/>
              <a:gd name="connsiteY46" fmla="*/ 208164 h 739526"/>
              <a:gd name="connsiteX47" fmla="*/ 2573319 w 7948307"/>
              <a:gd name="connsiteY47" fmla="*/ 470746 h 739526"/>
              <a:gd name="connsiteX48" fmla="*/ 2819861 w 7948307"/>
              <a:gd name="connsiteY48" fmla="*/ 733327 h 739526"/>
              <a:gd name="connsiteX49" fmla="*/ 3066402 w 7948307"/>
              <a:gd name="connsiteY49" fmla="*/ 470746 h 739526"/>
              <a:gd name="connsiteX50" fmla="*/ 2819861 w 7948307"/>
              <a:gd name="connsiteY50" fmla="*/ 208164 h 739526"/>
              <a:gd name="connsiteX51" fmla="*/ 3401831 w 7948307"/>
              <a:gd name="connsiteY51" fmla="*/ 208164 h 739526"/>
              <a:gd name="connsiteX52" fmla="*/ 3262367 w 7948307"/>
              <a:gd name="connsiteY52" fmla="*/ 281869 h 739526"/>
              <a:gd name="connsiteX53" fmla="*/ 3256304 w 7948307"/>
              <a:gd name="connsiteY53" fmla="*/ 281869 h 739526"/>
              <a:gd name="connsiteX54" fmla="*/ 3256304 w 7948307"/>
              <a:gd name="connsiteY54" fmla="*/ 218221 h 739526"/>
              <a:gd name="connsiteX55" fmla="*/ 3137098 w 7948307"/>
              <a:gd name="connsiteY55" fmla="*/ 218221 h 739526"/>
              <a:gd name="connsiteX56" fmla="*/ 3137098 w 7948307"/>
              <a:gd name="connsiteY56" fmla="*/ 723270 h 739526"/>
              <a:gd name="connsiteX57" fmla="*/ 3256304 w 7948307"/>
              <a:gd name="connsiteY57" fmla="*/ 723270 h 739526"/>
              <a:gd name="connsiteX58" fmla="*/ 3256304 w 7948307"/>
              <a:gd name="connsiteY58" fmla="*/ 397041 h 739526"/>
              <a:gd name="connsiteX59" fmla="*/ 3356353 w 7948307"/>
              <a:gd name="connsiteY59" fmla="*/ 278838 h 739526"/>
              <a:gd name="connsiteX60" fmla="*/ 3442209 w 7948307"/>
              <a:gd name="connsiteY60" fmla="*/ 377891 h 739526"/>
              <a:gd name="connsiteX61" fmla="*/ 3442209 w 7948307"/>
              <a:gd name="connsiteY61" fmla="*/ 723270 h 739526"/>
              <a:gd name="connsiteX62" fmla="*/ 3561414 w 7948307"/>
              <a:gd name="connsiteY62" fmla="*/ 723270 h 739526"/>
              <a:gd name="connsiteX63" fmla="*/ 3561414 w 7948307"/>
              <a:gd name="connsiteY63" fmla="*/ 376789 h 739526"/>
              <a:gd name="connsiteX64" fmla="*/ 3401831 w 7948307"/>
              <a:gd name="connsiteY64" fmla="*/ 208164 h 739526"/>
              <a:gd name="connsiteX65" fmla="*/ 5172960 w 7948307"/>
              <a:gd name="connsiteY65" fmla="*/ 677807 h 739526"/>
              <a:gd name="connsiteX66" fmla="*/ 5051688 w 7948307"/>
              <a:gd name="connsiteY66" fmla="*/ 470746 h 739526"/>
              <a:gd name="connsiteX67" fmla="*/ 5172960 w 7948307"/>
              <a:gd name="connsiteY67" fmla="*/ 263684 h 739526"/>
              <a:gd name="connsiteX68" fmla="*/ 5294232 w 7948307"/>
              <a:gd name="connsiteY68" fmla="*/ 470746 h 739526"/>
              <a:gd name="connsiteX69" fmla="*/ 5172960 w 7948307"/>
              <a:gd name="connsiteY69" fmla="*/ 677807 h 739526"/>
              <a:gd name="connsiteX70" fmla="*/ 5172960 w 7948307"/>
              <a:gd name="connsiteY70" fmla="*/ 208164 h 739526"/>
              <a:gd name="connsiteX71" fmla="*/ 4926418 w 7948307"/>
              <a:gd name="connsiteY71" fmla="*/ 470746 h 739526"/>
              <a:gd name="connsiteX72" fmla="*/ 5172960 w 7948307"/>
              <a:gd name="connsiteY72" fmla="*/ 733327 h 739526"/>
              <a:gd name="connsiteX73" fmla="*/ 5419502 w 7948307"/>
              <a:gd name="connsiteY73" fmla="*/ 470746 h 739526"/>
              <a:gd name="connsiteX74" fmla="*/ 5172960 w 7948307"/>
              <a:gd name="connsiteY74" fmla="*/ 208164 h 739526"/>
              <a:gd name="connsiteX75" fmla="*/ 6275299 w 7948307"/>
              <a:gd name="connsiteY75" fmla="*/ 208164 h 739526"/>
              <a:gd name="connsiteX76" fmla="*/ 6135836 w 7948307"/>
              <a:gd name="connsiteY76" fmla="*/ 281869 h 739526"/>
              <a:gd name="connsiteX77" fmla="*/ 6129772 w 7948307"/>
              <a:gd name="connsiteY77" fmla="*/ 281869 h 739526"/>
              <a:gd name="connsiteX78" fmla="*/ 6129772 w 7948307"/>
              <a:gd name="connsiteY78" fmla="*/ 218221 h 739526"/>
              <a:gd name="connsiteX79" fmla="*/ 6010567 w 7948307"/>
              <a:gd name="connsiteY79" fmla="*/ 218221 h 739526"/>
              <a:gd name="connsiteX80" fmla="*/ 6010567 w 7948307"/>
              <a:gd name="connsiteY80" fmla="*/ 723270 h 739526"/>
              <a:gd name="connsiteX81" fmla="*/ 6129772 w 7948307"/>
              <a:gd name="connsiteY81" fmla="*/ 723270 h 739526"/>
              <a:gd name="connsiteX82" fmla="*/ 6129772 w 7948307"/>
              <a:gd name="connsiteY82" fmla="*/ 397041 h 739526"/>
              <a:gd name="connsiteX83" fmla="*/ 6229822 w 7948307"/>
              <a:gd name="connsiteY83" fmla="*/ 278838 h 739526"/>
              <a:gd name="connsiteX84" fmla="*/ 6315677 w 7948307"/>
              <a:gd name="connsiteY84" fmla="*/ 377891 h 739526"/>
              <a:gd name="connsiteX85" fmla="*/ 6315677 w 7948307"/>
              <a:gd name="connsiteY85" fmla="*/ 723270 h 739526"/>
              <a:gd name="connsiteX86" fmla="*/ 6434883 w 7948307"/>
              <a:gd name="connsiteY86" fmla="*/ 723270 h 739526"/>
              <a:gd name="connsiteX87" fmla="*/ 6434883 w 7948307"/>
              <a:gd name="connsiteY87" fmla="*/ 376789 h 739526"/>
              <a:gd name="connsiteX88" fmla="*/ 6275299 w 7948307"/>
              <a:gd name="connsiteY88" fmla="*/ 208164 h 739526"/>
              <a:gd name="connsiteX89" fmla="*/ 6705679 w 7948307"/>
              <a:gd name="connsiteY89" fmla="*/ 208164 h 739526"/>
              <a:gd name="connsiteX90" fmla="*/ 6512746 w 7948307"/>
              <a:gd name="connsiteY90" fmla="*/ 353645 h 739526"/>
              <a:gd name="connsiteX91" fmla="*/ 6634983 w 7948307"/>
              <a:gd name="connsiteY91" fmla="*/ 499125 h 739526"/>
              <a:gd name="connsiteX92" fmla="*/ 6735996 w 7948307"/>
              <a:gd name="connsiteY92" fmla="*/ 524336 h 739526"/>
              <a:gd name="connsiteX93" fmla="*/ 6813859 w 7948307"/>
              <a:gd name="connsiteY93" fmla="*/ 599143 h 739526"/>
              <a:gd name="connsiteX94" fmla="*/ 6713809 w 7948307"/>
              <a:gd name="connsiteY94" fmla="*/ 680012 h 739526"/>
              <a:gd name="connsiteX95" fmla="*/ 6598601 w 7948307"/>
              <a:gd name="connsiteY95" fmla="*/ 562911 h 739526"/>
              <a:gd name="connsiteX96" fmla="*/ 6491522 w 7948307"/>
              <a:gd name="connsiteY96" fmla="*/ 593219 h 739526"/>
              <a:gd name="connsiteX97" fmla="*/ 6700717 w 7948307"/>
              <a:gd name="connsiteY97" fmla="*/ 733603 h 739526"/>
              <a:gd name="connsiteX98" fmla="*/ 6910877 w 7948307"/>
              <a:gd name="connsiteY98" fmla="*/ 568973 h 739526"/>
              <a:gd name="connsiteX99" fmla="*/ 6776513 w 7948307"/>
              <a:gd name="connsiteY99" fmla="*/ 417430 h 739526"/>
              <a:gd name="connsiteX100" fmla="*/ 6679495 w 7948307"/>
              <a:gd name="connsiteY100" fmla="*/ 393183 h 739526"/>
              <a:gd name="connsiteX101" fmla="*/ 6609763 w 7948307"/>
              <a:gd name="connsiteY101" fmla="*/ 326505 h 739526"/>
              <a:gd name="connsiteX102" fmla="*/ 6695618 w 7948307"/>
              <a:gd name="connsiteY102" fmla="*/ 261893 h 739526"/>
              <a:gd name="connsiteX103" fmla="*/ 6798701 w 7948307"/>
              <a:gd name="connsiteY103" fmla="*/ 358880 h 739526"/>
              <a:gd name="connsiteX104" fmla="*/ 6899714 w 7948307"/>
              <a:gd name="connsiteY104" fmla="*/ 328571 h 739526"/>
              <a:gd name="connsiteX105" fmla="*/ 6705679 w 7948307"/>
              <a:gd name="connsiteY105" fmla="*/ 208440 h 739526"/>
              <a:gd name="connsiteX106" fmla="*/ 7206755 w 7948307"/>
              <a:gd name="connsiteY106" fmla="*/ 678083 h 739526"/>
              <a:gd name="connsiteX107" fmla="*/ 7085482 w 7948307"/>
              <a:gd name="connsiteY107" fmla="*/ 471021 h 739526"/>
              <a:gd name="connsiteX108" fmla="*/ 7206755 w 7948307"/>
              <a:gd name="connsiteY108" fmla="*/ 263959 h 739526"/>
              <a:gd name="connsiteX109" fmla="*/ 7328027 w 7948307"/>
              <a:gd name="connsiteY109" fmla="*/ 471021 h 739526"/>
              <a:gd name="connsiteX110" fmla="*/ 7206755 w 7948307"/>
              <a:gd name="connsiteY110" fmla="*/ 678083 h 739526"/>
              <a:gd name="connsiteX111" fmla="*/ 7206755 w 7948307"/>
              <a:gd name="connsiteY111" fmla="*/ 208440 h 739526"/>
              <a:gd name="connsiteX112" fmla="*/ 6960213 w 7948307"/>
              <a:gd name="connsiteY112" fmla="*/ 471021 h 739526"/>
              <a:gd name="connsiteX113" fmla="*/ 7206755 w 7948307"/>
              <a:gd name="connsiteY113" fmla="*/ 733603 h 739526"/>
              <a:gd name="connsiteX114" fmla="*/ 7453296 w 7948307"/>
              <a:gd name="connsiteY114" fmla="*/ 471021 h 739526"/>
              <a:gd name="connsiteX115" fmla="*/ 7206755 w 7948307"/>
              <a:gd name="connsiteY115" fmla="*/ 208440 h 739526"/>
              <a:gd name="connsiteX116" fmla="*/ 7788724 w 7948307"/>
              <a:gd name="connsiteY116" fmla="*/ 208440 h 739526"/>
              <a:gd name="connsiteX117" fmla="*/ 7649261 w 7948307"/>
              <a:gd name="connsiteY117" fmla="*/ 282144 h 739526"/>
              <a:gd name="connsiteX118" fmla="*/ 7643197 w 7948307"/>
              <a:gd name="connsiteY118" fmla="*/ 282144 h 739526"/>
              <a:gd name="connsiteX119" fmla="*/ 7643197 w 7948307"/>
              <a:gd name="connsiteY119" fmla="*/ 218496 h 739526"/>
              <a:gd name="connsiteX120" fmla="*/ 7523992 w 7948307"/>
              <a:gd name="connsiteY120" fmla="*/ 218496 h 739526"/>
              <a:gd name="connsiteX121" fmla="*/ 7523992 w 7948307"/>
              <a:gd name="connsiteY121" fmla="*/ 723546 h 739526"/>
              <a:gd name="connsiteX122" fmla="*/ 7643197 w 7948307"/>
              <a:gd name="connsiteY122" fmla="*/ 723546 h 739526"/>
              <a:gd name="connsiteX123" fmla="*/ 7643197 w 7948307"/>
              <a:gd name="connsiteY123" fmla="*/ 397316 h 739526"/>
              <a:gd name="connsiteX124" fmla="*/ 7743247 w 7948307"/>
              <a:gd name="connsiteY124" fmla="*/ 279113 h 739526"/>
              <a:gd name="connsiteX125" fmla="*/ 7829102 w 7948307"/>
              <a:gd name="connsiteY125" fmla="*/ 378167 h 739526"/>
              <a:gd name="connsiteX126" fmla="*/ 7829102 w 7948307"/>
              <a:gd name="connsiteY126" fmla="*/ 723546 h 739526"/>
              <a:gd name="connsiteX127" fmla="*/ 7948308 w 7948307"/>
              <a:gd name="connsiteY127" fmla="*/ 723546 h 739526"/>
              <a:gd name="connsiteX128" fmla="*/ 7948308 w 7948307"/>
              <a:gd name="connsiteY128" fmla="*/ 377065 h 739526"/>
              <a:gd name="connsiteX129" fmla="*/ 7788724 w 7948307"/>
              <a:gd name="connsiteY129" fmla="*/ 208440 h 739526"/>
              <a:gd name="connsiteX130" fmla="*/ 468828 w 7948307"/>
              <a:gd name="connsiteY130" fmla="*/ 16532 h 739526"/>
              <a:gd name="connsiteX131" fmla="*/ 343559 w 7948307"/>
              <a:gd name="connsiteY131" fmla="*/ 16532 h 739526"/>
              <a:gd name="connsiteX132" fmla="*/ 343559 w 7948307"/>
              <a:gd name="connsiteY132" fmla="*/ 538664 h 739526"/>
              <a:gd name="connsiteX133" fmla="*/ 234414 w 7948307"/>
              <a:gd name="connsiteY133" fmla="*/ 673950 h 739526"/>
              <a:gd name="connsiteX134" fmla="*/ 125269 w 7948307"/>
              <a:gd name="connsiteY134" fmla="*/ 528469 h 739526"/>
              <a:gd name="connsiteX135" fmla="*/ 125269 w 7948307"/>
              <a:gd name="connsiteY135" fmla="*/ 431482 h 739526"/>
              <a:gd name="connsiteX136" fmla="*/ 0 w 7948307"/>
              <a:gd name="connsiteY136" fmla="*/ 462755 h 739526"/>
              <a:gd name="connsiteX137" fmla="*/ 0 w 7948307"/>
              <a:gd name="connsiteY137" fmla="*/ 506151 h 739526"/>
              <a:gd name="connsiteX138" fmla="*/ 234414 w 7948307"/>
              <a:gd name="connsiteY138" fmla="*/ 739527 h 739526"/>
              <a:gd name="connsiteX139" fmla="*/ 468828 w 7948307"/>
              <a:gd name="connsiteY139" fmla="*/ 506151 h 739526"/>
              <a:gd name="connsiteX140" fmla="*/ 468828 w 7948307"/>
              <a:gd name="connsiteY140" fmla="*/ 16256 h 739526"/>
              <a:gd name="connsiteX141" fmla="*/ 1222509 w 7948307"/>
              <a:gd name="connsiteY141" fmla="*/ 16256 h 739526"/>
              <a:gd name="connsiteX142" fmla="*/ 1103304 w 7948307"/>
              <a:gd name="connsiteY142" fmla="*/ 16256 h 739526"/>
              <a:gd name="connsiteX143" fmla="*/ 1103304 w 7948307"/>
              <a:gd name="connsiteY143" fmla="*/ 723270 h 739526"/>
              <a:gd name="connsiteX144" fmla="*/ 1222509 w 7948307"/>
              <a:gd name="connsiteY144" fmla="*/ 723270 h 739526"/>
              <a:gd name="connsiteX145" fmla="*/ 1222509 w 7948307"/>
              <a:gd name="connsiteY145" fmla="*/ 397041 h 739526"/>
              <a:gd name="connsiteX146" fmla="*/ 1322559 w 7948307"/>
              <a:gd name="connsiteY146" fmla="*/ 278838 h 739526"/>
              <a:gd name="connsiteX147" fmla="*/ 1408415 w 7948307"/>
              <a:gd name="connsiteY147" fmla="*/ 377891 h 739526"/>
              <a:gd name="connsiteX148" fmla="*/ 1408415 w 7948307"/>
              <a:gd name="connsiteY148" fmla="*/ 723270 h 739526"/>
              <a:gd name="connsiteX149" fmla="*/ 1527620 w 7948307"/>
              <a:gd name="connsiteY149" fmla="*/ 723270 h 739526"/>
              <a:gd name="connsiteX150" fmla="*/ 1527620 w 7948307"/>
              <a:gd name="connsiteY150" fmla="*/ 376789 h 739526"/>
              <a:gd name="connsiteX151" fmla="*/ 1368036 w 7948307"/>
              <a:gd name="connsiteY151" fmla="*/ 208164 h 739526"/>
              <a:gd name="connsiteX152" fmla="*/ 1228573 w 7948307"/>
              <a:gd name="connsiteY152" fmla="*/ 281869 h 739526"/>
              <a:gd name="connsiteX153" fmla="*/ 1222509 w 7948307"/>
              <a:gd name="connsiteY153" fmla="*/ 281869 h 739526"/>
              <a:gd name="connsiteX154" fmla="*/ 1222509 w 7948307"/>
              <a:gd name="connsiteY154" fmla="*/ 16256 h 739526"/>
              <a:gd name="connsiteX155" fmla="*/ 4855722 w 7948307"/>
              <a:gd name="connsiteY155" fmla="*/ 16256 h 739526"/>
              <a:gd name="connsiteX156" fmla="*/ 4730453 w 7948307"/>
              <a:gd name="connsiteY156" fmla="*/ 16256 h 739526"/>
              <a:gd name="connsiteX157" fmla="*/ 4730453 w 7948307"/>
              <a:gd name="connsiteY157" fmla="*/ 538389 h 739526"/>
              <a:gd name="connsiteX158" fmla="*/ 4621308 w 7948307"/>
              <a:gd name="connsiteY158" fmla="*/ 673675 h 739526"/>
              <a:gd name="connsiteX159" fmla="*/ 4512163 w 7948307"/>
              <a:gd name="connsiteY159" fmla="*/ 528194 h 739526"/>
              <a:gd name="connsiteX160" fmla="*/ 4512163 w 7948307"/>
              <a:gd name="connsiteY160" fmla="*/ 431207 h 739526"/>
              <a:gd name="connsiteX161" fmla="*/ 4386894 w 7948307"/>
              <a:gd name="connsiteY161" fmla="*/ 462480 h 739526"/>
              <a:gd name="connsiteX162" fmla="*/ 4386894 w 7948307"/>
              <a:gd name="connsiteY162" fmla="*/ 505876 h 739526"/>
              <a:gd name="connsiteX163" fmla="*/ 4621308 w 7948307"/>
              <a:gd name="connsiteY163" fmla="*/ 739251 h 739526"/>
              <a:gd name="connsiteX164" fmla="*/ 4855722 w 7948307"/>
              <a:gd name="connsiteY164" fmla="*/ 505876 h 739526"/>
              <a:gd name="connsiteX165" fmla="*/ 4855722 w 7948307"/>
              <a:gd name="connsiteY165" fmla="*/ 15981 h 739526"/>
              <a:gd name="connsiteX166" fmla="*/ 5609403 w 7948307"/>
              <a:gd name="connsiteY166" fmla="*/ 15981 h 739526"/>
              <a:gd name="connsiteX167" fmla="*/ 5490198 w 7948307"/>
              <a:gd name="connsiteY167" fmla="*/ 15981 h 739526"/>
              <a:gd name="connsiteX168" fmla="*/ 5490198 w 7948307"/>
              <a:gd name="connsiteY168" fmla="*/ 722995 h 739526"/>
              <a:gd name="connsiteX169" fmla="*/ 5609403 w 7948307"/>
              <a:gd name="connsiteY169" fmla="*/ 722995 h 739526"/>
              <a:gd name="connsiteX170" fmla="*/ 5609403 w 7948307"/>
              <a:gd name="connsiteY170" fmla="*/ 396765 h 739526"/>
              <a:gd name="connsiteX171" fmla="*/ 5709453 w 7948307"/>
              <a:gd name="connsiteY171" fmla="*/ 278562 h 739526"/>
              <a:gd name="connsiteX172" fmla="*/ 5795308 w 7948307"/>
              <a:gd name="connsiteY172" fmla="*/ 377616 h 739526"/>
              <a:gd name="connsiteX173" fmla="*/ 5795308 w 7948307"/>
              <a:gd name="connsiteY173" fmla="*/ 722995 h 739526"/>
              <a:gd name="connsiteX174" fmla="*/ 5914514 w 7948307"/>
              <a:gd name="connsiteY174" fmla="*/ 722995 h 739526"/>
              <a:gd name="connsiteX175" fmla="*/ 5914514 w 7948307"/>
              <a:gd name="connsiteY175" fmla="*/ 376514 h 739526"/>
              <a:gd name="connsiteX176" fmla="*/ 5754930 w 7948307"/>
              <a:gd name="connsiteY176" fmla="*/ 207889 h 739526"/>
              <a:gd name="connsiteX177" fmla="*/ 5615466 w 7948307"/>
              <a:gd name="connsiteY177" fmla="*/ 281593 h 739526"/>
              <a:gd name="connsiteX178" fmla="*/ 5609403 w 7948307"/>
              <a:gd name="connsiteY178" fmla="*/ 281593 h 739526"/>
              <a:gd name="connsiteX179" fmla="*/ 5609403 w 7948307"/>
              <a:gd name="connsiteY179" fmla="*/ 15981 h 739526"/>
              <a:gd name="connsiteX180" fmla="*/ 3954447 w 7948307"/>
              <a:gd name="connsiteY180" fmla="*/ 665409 h 739526"/>
              <a:gd name="connsiteX181" fmla="*/ 3797895 w 7948307"/>
              <a:gd name="connsiteY181" fmla="*/ 502845 h 739526"/>
              <a:gd name="connsiteX182" fmla="*/ 3859496 w 7948307"/>
              <a:gd name="connsiteY182" fmla="*/ 374585 h 739526"/>
              <a:gd name="connsiteX183" fmla="*/ 4087847 w 7948307"/>
              <a:gd name="connsiteY183" fmla="*/ 624079 h 739526"/>
              <a:gd name="connsiteX184" fmla="*/ 3954447 w 7948307"/>
              <a:gd name="connsiteY184" fmla="*/ 665546 h 739526"/>
              <a:gd name="connsiteX185" fmla="*/ 4176734 w 7948307"/>
              <a:gd name="connsiteY185" fmla="*/ 541282 h 739526"/>
              <a:gd name="connsiteX186" fmla="*/ 3978702 w 7948307"/>
              <a:gd name="connsiteY186" fmla="*/ 323061 h 739526"/>
              <a:gd name="connsiteX187" fmla="*/ 4076684 w 7948307"/>
              <a:gd name="connsiteY187" fmla="*/ 303911 h 739526"/>
              <a:gd name="connsiteX188" fmla="*/ 4208981 w 7948307"/>
              <a:gd name="connsiteY188" fmla="*/ 433273 h 739526"/>
              <a:gd name="connsiteX189" fmla="*/ 4176596 w 7948307"/>
              <a:gd name="connsiteY189" fmla="*/ 541282 h 739526"/>
              <a:gd name="connsiteX190" fmla="*/ 3951278 w 7948307"/>
              <a:gd name="connsiteY190" fmla="*/ 293854 h 739526"/>
              <a:gd name="connsiteX191" fmla="*/ 3907868 w 7948307"/>
              <a:gd name="connsiteY191" fmla="*/ 245361 h 739526"/>
              <a:gd name="connsiteX192" fmla="*/ 3858394 w 7948307"/>
              <a:gd name="connsiteY192" fmla="*/ 145343 h 739526"/>
              <a:gd name="connsiteX193" fmla="*/ 3954309 w 7948307"/>
              <a:gd name="connsiteY193" fmla="*/ 53453 h 739526"/>
              <a:gd name="connsiteX194" fmla="*/ 4049260 w 7948307"/>
              <a:gd name="connsiteY194" fmla="*/ 150440 h 739526"/>
              <a:gd name="connsiteX195" fmla="*/ 3951278 w 7948307"/>
              <a:gd name="connsiteY195" fmla="*/ 293854 h 739526"/>
              <a:gd name="connsiteX196" fmla="*/ 3957341 w 7948307"/>
              <a:gd name="connsiteY196" fmla="*/ 0 h 739526"/>
              <a:gd name="connsiteX197" fmla="*/ 3749249 w 7948307"/>
              <a:gd name="connsiteY197" fmla="*/ 174687 h 739526"/>
              <a:gd name="connsiteX198" fmla="*/ 3830143 w 7948307"/>
              <a:gd name="connsiteY198" fmla="*/ 343312 h 739526"/>
              <a:gd name="connsiteX199" fmla="*/ 3831108 w 7948307"/>
              <a:gd name="connsiteY199" fmla="*/ 345379 h 739526"/>
              <a:gd name="connsiteX200" fmla="*/ 3686683 w 7948307"/>
              <a:gd name="connsiteY200" fmla="*/ 548445 h 739526"/>
              <a:gd name="connsiteX201" fmla="*/ 3889815 w 7948307"/>
              <a:gd name="connsiteY201" fmla="*/ 739389 h 739526"/>
              <a:gd name="connsiteX202" fmla="*/ 4118165 w 7948307"/>
              <a:gd name="connsiteY202" fmla="*/ 657556 h 739526"/>
              <a:gd name="connsiteX203" fmla="*/ 4178801 w 7948307"/>
              <a:gd name="connsiteY203" fmla="*/ 723270 h 739526"/>
              <a:gd name="connsiteX204" fmla="*/ 4337420 w 7948307"/>
              <a:gd name="connsiteY204" fmla="*/ 723270 h 739526"/>
              <a:gd name="connsiteX205" fmla="*/ 4337420 w 7948307"/>
              <a:gd name="connsiteY205" fmla="*/ 718173 h 739526"/>
              <a:gd name="connsiteX206" fmla="*/ 4208155 w 7948307"/>
              <a:gd name="connsiteY206" fmla="*/ 575723 h 739526"/>
              <a:gd name="connsiteX207" fmla="*/ 4294011 w 7948307"/>
              <a:gd name="connsiteY207" fmla="*/ 378718 h 739526"/>
              <a:gd name="connsiteX208" fmla="*/ 4161713 w 7948307"/>
              <a:gd name="connsiteY208" fmla="*/ 250458 h 739526"/>
              <a:gd name="connsiteX209" fmla="*/ 4040440 w 7948307"/>
              <a:gd name="connsiteY209" fmla="*/ 274705 h 739526"/>
              <a:gd name="connsiteX210" fmla="*/ 4038373 w 7948307"/>
              <a:gd name="connsiteY210" fmla="*/ 270710 h 739526"/>
              <a:gd name="connsiteX211" fmla="*/ 4147518 w 7948307"/>
              <a:gd name="connsiteY211" fmla="*/ 137352 h 739526"/>
              <a:gd name="connsiteX212" fmla="*/ 3957617 w 7948307"/>
              <a:gd name="connsiteY212" fmla="*/ 0 h 73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7948307" h="739526">
                <a:moveTo>
                  <a:pt x="786066" y="677532"/>
                </a:moveTo>
                <a:cubicBezTo>
                  <a:pt x="708204" y="677532"/>
                  <a:pt x="664794" y="603827"/>
                  <a:pt x="664794" y="470470"/>
                </a:cubicBezTo>
                <a:cubicBezTo>
                  <a:pt x="664794" y="337113"/>
                  <a:pt x="708204" y="263408"/>
                  <a:pt x="786066" y="263408"/>
                </a:cubicBezTo>
                <a:cubicBezTo>
                  <a:pt x="863929" y="263408"/>
                  <a:pt x="907339" y="336148"/>
                  <a:pt x="907339" y="470470"/>
                </a:cubicBezTo>
                <a:cubicBezTo>
                  <a:pt x="907339" y="604792"/>
                  <a:pt x="863929" y="677532"/>
                  <a:pt x="786066" y="677532"/>
                </a:cubicBezTo>
                <a:moveTo>
                  <a:pt x="786066" y="207889"/>
                </a:moveTo>
                <a:cubicBezTo>
                  <a:pt x="627447" y="207889"/>
                  <a:pt x="539525" y="326091"/>
                  <a:pt x="539525" y="470470"/>
                </a:cubicBezTo>
                <a:cubicBezTo>
                  <a:pt x="539525" y="614849"/>
                  <a:pt x="627447" y="733052"/>
                  <a:pt x="786066" y="733052"/>
                </a:cubicBezTo>
                <a:cubicBezTo>
                  <a:pt x="944685" y="733052"/>
                  <a:pt x="1032607" y="614849"/>
                  <a:pt x="1032607" y="470470"/>
                </a:cubicBezTo>
                <a:cubicBezTo>
                  <a:pt x="1032607" y="326091"/>
                  <a:pt x="944685" y="207889"/>
                  <a:pt x="786066" y="207889"/>
                </a:cubicBezTo>
                <a:moveTo>
                  <a:pt x="1888405" y="207889"/>
                </a:moveTo>
                <a:cubicBezTo>
                  <a:pt x="1813575" y="207889"/>
                  <a:pt x="1772232" y="240263"/>
                  <a:pt x="1748942" y="281593"/>
                </a:cubicBezTo>
                <a:lnTo>
                  <a:pt x="1742878" y="281593"/>
                </a:lnTo>
                <a:lnTo>
                  <a:pt x="1742878" y="217945"/>
                </a:lnTo>
                <a:lnTo>
                  <a:pt x="1623673" y="217945"/>
                </a:lnTo>
                <a:lnTo>
                  <a:pt x="1623673" y="722995"/>
                </a:lnTo>
                <a:lnTo>
                  <a:pt x="1742878" y="722995"/>
                </a:lnTo>
                <a:lnTo>
                  <a:pt x="1742878" y="396765"/>
                </a:lnTo>
                <a:cubicBezTo>
                  <a:pt x="1742878" y="322096"/>
                  <a:pt x="1781327" y="278562"/>
                  <a:pt x="1842928" y="278562"/>
                </a:cubicBezTo>
                <a:cubicBezTo>
                  <a:pt x="1904529" y="278562"/>
                  <a:pt x="1928783" y="317963"/>
                  <a:pt x="1928783" y="377616"/>
                </a:cubicBezTo>
                <a:lnTo>
                  <a:pt x="1928783" y="722995"/>
                </a:lnTo>
                <a:lnTo>
                  <a:pt x="2047989" y="722995"/>
                </a:lnTo>
                <a:lnTo>
                  <a:pt x="2047989" y="376514"/>
                </a:lnTo>
                <a:cubicBezTo>
                  <a:pt x="2047989" y="272501"/>
                  <a:pt x="1993416" y="207889"/>
                  <a:pt x="1888405" y="207889"/>
                </a:cubicBezTo>
                <a:moveTo>
                  <a:pt x="2318785" y="207889"/>
                </a:moveTo>
                <a:cubicBezTo>
                  <a:pt x="2208675" y="207889"/>
                  <a:pt x="2125851" y="254316"/>
                  <a:pt x="2125851" y="353369"/>
                </a:cubicBezTo>
                <a:cubicBezTo>
                  <a:pt x="2125851" y="437269"/>
                  <a:pt x="2183456" y="482731"/>
                  <a:pt x="2248089" y="498850"/>
                </a:cubicBezTo>
                <a:lnTo>
                  <a:pt x="2349103" y="524061"/>
                </a:lnTo>
                <a:cubicBezTo>
                  <a:pt x="2402711" y="537149"/>
                  <a:pt x="2426965" y="556436"/>
                  <a:pt x="2426965" y="598868"/>
                </a:cubicBezTo>
                <a:cubicBezTo>
                  <a:pt x="2426965" y="650392"/>
                  <a:pt x="2390584" y="679736"/>
                  <a:pt x="2326916" y="679736"/>
                </a:cubicBezTo>
                <a:cubicBezTo>
                  <a:pt x="2258148" y="679736"/>
                  <a:pt x="2222869" y="646397"/>
                  <a:pt x="2211707" y="562635"/>
                </a:cubicBezTo>
                <a:lnTo>
                  <a:pt x="2104629" y="592944"/>
                </a:lnTo>
                <a:cubicBezTo>
                  <a:pt x="2110692" y="679874"/>
                  <a:pt x="2191587" y="733327"/>
                  <a:pt x="2313824" y="733327"/>
                </a:cubicBezTo>
                <a:cubicBezTo>
                  <a:pt x="2450255" y="733327"/>
                  <a:pt x="2523983" y="669679"/>
                  <a:pt x="2523983" y="568697"/>
                </a:cubicBezTo>
                <a:cubicBezTo>
                  <a:pt x="2523983" y="473776"/>
                  <a:pt x="2458248" y="434375"/>
                  <a:pt x="2389619" y="417155"/>
                </a:cubicBezTo>
                <a:lnTo>
                  <a:pt x="2292601" y="392908"/>
                </a:lnTo>
                <a:cubicBezTo>
                  <a:pt x="2244092" y="380784"/>
                  <a:pt x="2222869" y="358604"/>
                  <a:pt x="2222869" y="326229"/>
                </a:cubicBezTo>
                <a:cubicBezTo>
                  <a:pt x="2222869" y="285864"/>
                  <a:pt x="2257184" y="261617"/>
                  <a:pt x="2308725" y="261617"/>
                </a:cubicBezTo>
                <a:cubicBezTo>
                  <a:pt x="2369361" y="261617"/>
                  <a:pt x="2406707" y="294957"/>
                  <a:pt x="2411806" y="358604"/>
                </a:cubicBezTo>
                <a:lnTo>
                  <a:pt x="2512821" y="328296"/>
                </a:lnTo>
                <a:cubicBezTo>
                  <a:pt x="2500693" y="257622"/>
                  <a:pt x="2430962" y="208164"/>
                  <a:pt x="2318785" y="208164"/>
                </a:cubicBezTo>
                <a:moveTo>
                  <a:pt x="2819861" y="677807"/>
                </a:moveTo>
                <a:cubicBezTo>
                  <a:pt x="2741998" y="677807"/>
                  <a:pt x="2698588" y="604103"/>
                  <a:pt x="2698588" y="470746"/>
                </a:cubicBezTo>
                <a:cubicBezTo>
                  <a:pt x="2698588" y="337388"/>
                  <a:pt x="2741998" y="263684"/>
                  <a:pt x="2819861" y="263684"/>
                </a:cubicBezTo>
                <a:cubicBezTo>
                  <a:pt x="2897723" y="263684"/>
                  <a:pt x="2941133" y="336424"/>
                  <a:pt x="2941133" y="470746"/>
                </a:cubicBezTo>
                <a:cubicBezTo>
                  <a:pt x="2941133" y="605067"/>
                  <a:pt x="2897723" y="677807"/>
                  <a:pt x="2819861" y="677807"/>
                </a:cubicBezTo>
                <a:moveTo>
                  <a:pt x="2819861" y="208164"/>
                </a:moveTo>
                <a:cubicBezTo>
                  <a:pt x="2661242" y="208164"/>
                  <a:pt x="2573319" y="326367"/>
                  <a:pt x="2573319" y="470746"/>
                </a:cubicBezTo>
                <a:cubicBezTo>
                  <a:pt x="2573319" y="615124"/>
                  <a:pt x="2661242" y="733327"/>
                  <a:pt x="2819861" y="733327"/>
                </a:cubicBezTo>
                <a:cubicBezTo>
                  <a:pt x="2978480" y="733327"/>
                  <a:pt x="3066402" y="615124"/>
                  <a:pt x="3066402" y="470746"/>
                </a:cubicBezTo>
                <a:cubicBezTo>
                  <a:pt x="3066402" y="326367"/>
                  <a:pt x="2978480" y="208164"/>
                  <a:pt x="2819861" y="208164"/>
                </a:cubicBezTo>
                <a:moveTo>
                  <a:pt x="3401831" y="208164"/>
                </a:moveTo>
                <a:cubicBezTo>
                  <a:pt x="3327000" y="208164"/>
                  <a:pt x="3285657" y="240539"/>
                  <a:pt x="3262367" y="281869"/>
                </a:cubicBezTo>
                <a:lnTo>
                  <a:pt x="3256304" y="281869"/>
                </a:lnTo>
                <a:lnTo>
                  <a:pt x="3256304" y="218221"/>
                </a:lnTo>
                <a:lnTo>
                  <a:pt x="3137098" y="218221"/>
                </a:lnTo>
                <a:lnTo>
                  <a:pt x="3137098" y="723270"/>
                </a:lnTo>
                <a:lnTo>
                  <a:pt x="3256304" y="723270"/>
                </a:lnTo>
                <a:lnTo>
                  <a:pt x="3256304" y="397041"/>
                </a:lnTo>
                <a:cubicBezTo>
                  <a:pt x="3256304" y="322372"/>
                  <a:pt x="3294752" y="278838"/>
                  <a:pt x="3356353" y="278838"/>
                </a:cubicBezTo>
                <a:cubicBezTo>
                  <a:pt x="3417954" y="278838"/>
                  <a:pt x="3442209" y="318239"/>
                  <a:pt x="3442209" y="377891"/>
                </a:cubicBezTo>
                <a:lnTo>
                  <a:pt x="3442209" y="723270"/>
                </a:lnTo>
                <a:lnTo>
                  <a:pt x="3561414" y="723270"/>
                </a:lnTo>
                <a:lnTo>
                  <a:pt x="3561414" y="376789"/>
                </a:lnTo>
                <a:cubicBezTo>
                  <a:pt x="3561414" y="272776"/>
                  <a:pt x="3506842" y="208164"/>
                  <a:pt x="3401831" y="208164"/>
                </a:cubicBezTo>
                <a:moveTo>
                  <a:pt x="5172960" y="677807"/>
                </a:moveTo>
                <a:cubicBezTo>
                  <a:pt x="5095097" y="677807"/>
                  <a:pt x="5051688" y="604103"/>
                  <a:pt x="5051688" y="470746"/>
                </a:cubicBezTo>
                <a:cubicBezTo>
                  <a:pt x="5051688" y="337388"/>
                  <a:pt x="5095097" y="263684"/>
                  <a:pt x="5172960" y="263684"/>
                </a:cubicBezTo>
                <a:cubicBezTo>
                  <a:pt x="5250823" y="263684"/>
                  <a:pt x="5294232" y="336424"/>
                  <a:pt x="5294232" y="470746"/>
                </a:cubicBezTo>
                <a:cubicBezTo>
                  <a:pt x="5294232" y="605067"/>
                  <a:pt x="5250823" y="677807"/>
                  <a:pt x="5172960" y="677807"/>
                </a:cubicBezTo>
                <a:moveTo>
                  <a:pt x="5172960" y="208164"/>
                </a:moveTo>
                <a:cubicBezTo>
                  <a:pt x="5014341" y="208164"/>
                  <a:pt x="4926418" y="326367"/>
                  <a:pt x="4926418" y="470746"/>
                </a:cubicBezTo>
                <a:cubicBezTo>
                  <a:pt x="4926418" y="615124"/>
                  <a:pt x="5014341" y="733327"/>
                  <a:pt x="5172960" y="733327"/>
                </a:cubicBezTo>
                <a:cubicBezTo>
                  <a:pt x="5331579" y="733327"/>
                  <a:pt x="5419502" y="615124"/>
                  <a:pt x="5419502" y="470746"/>
                </a:cubicBezTo>
                <a:cubicBezTo>
                  <a:pt x="5419502" y="326367"/>
                  <a:pt x="5331579" y="208164"/>
                  <a:pt x="5172960" y="208164"/>
                </a:cubicBezTo>
                <a:moveTo>
                  <a:pt x="6275299" y="208164"/>
                </a:moveTo>
                <a:cubicBezTo>
                  <a:pt x="6200468" y="208164"/>
                  <a:pt x="6159126" y="240539"/>
                  <a:pt x="6135836" y="281869"/>
                </a:cubicBezTo>
                <a:lnTo>
                  <a:pt x="6129772" y="281869"/>
                </a:lnTo>
                <a:lnTo>
                  <a:pt x="6129772" y="218221"/>
                </a:lnTo>
                <a:lnTo>
                  <a:pt x="6010567" y="218221"/>
                </a:lnTo>
                <a:lnTo>
                  <a:pt x="6010567" y="723270"/>
                </a:lnTo>
                <a:lnTo>
                  <a:pt x="6129772" y="723270"/>
                </a:lnTo>
                <a:lnTo>
                  <a:pt x="6129772" y="397041"/>
                </a:lnTo>
                <a:cubicBezTo>
                  <a:pt x="6129772" y="322372"/>
                  <a:pt x="6168222" y="278838"/>
                  <a:pt x="6229822" y="278838"/>
                </a:cubicBezTo>
                <a:cubicBezTo>
                  <a:pt x="6291422" y="278838"/>
                  <a:pt x="6315677" y="318239"/>
                  <a:pt x="6315677" y="377891"/>
                </a:cubicBezTo>
                <a:lnTo>
                  <a:pt x="6315677" y="723270"/>
                </a:lnTo>
                <a:lnTo>
                  <a:pt x="6434883" y="723270"/>
                </a:lnTo>
                <a:lnTo>
                  <a:pt x="6434883" y="376789"/>
                </a:lnTo>
                <a:cubicBezTo>
                  <a:pt x="6434883" y="272776"/>
                  <a:pt x="6380310" y="208164"/>
                  <a:pt x="6275299" y="208164"/>
                </a:cubicBezTo>
                <a:moveTo>
                  <a:pt x="6705679" y="208164"/>
                </a:moveTo>
                <a:cubicBezTo>
                  <a:pt x="6595568" y="208164"/>
                  <a:pt x="6512746" y="254591"/>
                  <a:pt x="6512746" y="353645"/>
                </a:cubicBezTo>
                <a:cubicBezTo>
                  <a:pt x="6512746" y="437544"/>
                  <a:pt x="6570350" y="483007"/>
                  <a:pt x="6634983" y="499125"/>
                </a:cubicBezTo>
                <a:lnTo>
                  <a:pt x="6735996" y="524336"/>
                </a:lnTo>
                <a:cubicBezTo>
                  <a:pt x="6789605" y="537424"/>
                  <a:pt x="6813859" y="556711"/>
                  <a:pt x="6813859" y="599143"/>
                </a:cubicBezTo>
                <a:cubicBezTo>
                  <a:pt x="6813859" y="650668"/>
                  <a:pt x="6777477" y="680012"/>
                  <a:pt x="6713809" y="680012"/>
                </a:cubicBezTo>
                <a:cubicBezTo>
                  <a:pt x="6645042" y="680012"/>
                  <a:pt x="6609763" y="646672"/>
                  <a:pt x="6598601" y="562911"/>
                </a:cubicBezTo>
                <a:lnTo>
                  <a:pt x="6491522" y="593219"/>
                </a:lnTo>
                <a:cubicBezTo>
                  <a:pt x="6497586" y="680149"/>
                  <a:pt x="6578480" y="733603"/>
                  <a:pt x="6700717" y="733603"/>
                </a:cubicBezTo>
                <a:cubicBezTo>
                  <a:pt x="6837149" y="733603"/>
                  <a:pt x="6910877" y="669955"/>
                  <a:pt x="6910877" y="568973"/>
                </a:cubicBezTo>
                <a:cubicBezTo>
                  <a:pt x="6910877" y="474052"/>
                  <a:pt x="6845142" y="434651"/>
                  <a:pt x="6776513" y="417430"/>
                </a:cubicBezTo>
                <a:lnTo>
                  <a:pt x="6679495" y="393183"/>
                </a:lnTo>
                <a:cubicBezTo>
                  <a:pt x="6630986" y="381060"/>
                  <a:pt x="6609763" y="358880"/>
                  <a:pt x="6609763" y="326505"/>
                </a:cubicBezTo>
                <a:cubicBezTo>
                  <a:pt x="6609763" y="286140"/>
                  <a:pt x="6644078" y="261893"/>
                  <a:pt x="6695618" y="261893"/>
                </a:cubicBezTo>
                <a:cubicBezTo>
                  <a:pt x="6756255" y="261893"/>
                  <a:pt x="6793601" y="295232"/>
                  <a:pt x="6798701" y="358880"/>
                </a:cubicBezTo>
                <a:lnTo>
                  <a:pt x="6899714" y="328571"/>
                </a:lnTo>
                <a:cubicBezTo>
                  <a:pt x="6887587" y="257897"/>
                  <a:pt x="6817855" y="208440"/>
                  <a:pt x="6705679" y="208440"/>
                </a:cubicBezTo>
                <a:moveTo>
                  <a:pt x="7206755" y="678083"/>
                </a:moveTo>
                <a:cubicBezTo>
                  <a:pt x="7128892" y="678083"/>
                  <a:pt x="7085482" y="604378"/>
                  <a:pt x="7085482" y="471021"/>
                </a:cubicBezTo>
                <a:cubicBezTo>
                  <a:pt x="7085482" y="337664"/>
                  <a:pt x="7128892" y="263959"/>
                  <a:pt x="7206755" y="263959"/>
                </a:cubicBezTo>
                <a:cubicBezTo>
                  <a:pt x="7284617" y="263959"/>
                  <a:pt x="7328027" y="336700"/>
                  <a:pt x="7328027" y="471021"/>
                </a:cubicBezTo>
                <a:cubicBezTo>
                  <a:pt x="7328027" y="605343"/>
                  <a:pt x="7284617" y="678083"/>
                  <a:pt x="7206755" y="678083"/>
                </a:cubicBezTo>
                <a:moveTo>
                  <a:pt x="7206755" y="208440"/>
                </a:moveTo>
                <a:cubicBezTo>
                  <a:pt x="7048136" y="208440"/>
                  <a:pt x="6960213" y="326643"/>
                  <a:pt x="6960213" y="471021"/>
                </a:cubicBezTo>
                <a:cubicBezTo>
                  <a:pt x="6960213" y="615400"/>
                  <a:pt x="7048136" y="733603"/>
                  <a:pt x="7206755" y="733603"/>
                </a:cubicBezTo>
                <a:cubicBezTo>
                  <a:pt x="7365374" y="733603"/>
                  <a:pt x="7453296" y="615400"/>
                  <a:pt x="7453296" y="471021"/>
                </a:cubicBezTo>
                <a:cubicBezTo>
                  <a:pt x="7453296" y="326643"/>
                  <a:pt x="7365374" y="208440"/>
                  <a:pt x="7206755" y="208440"/>
                </a:cubicBezTo>
                <a:moveTo>
                  <a:pt x="7788724" y="208440"/>
                </a:moveTo>
                <a:cubicBezTo>
                  <a:pt x="7713894" y="208440"/>
                  <a:pt x="7672551" y="240815"/>
                  <a:pt x="7649261" y="282144"/>
                </a:cubicBezTo>
                <a:lnTo>
                  <a:pt x="7643197" y="282144"/>
                </a:lnTo>
                <a:lnTo>
                  <a:pt x="7643197" y="218496"/>
                </a:lnTo>
                <a:lnTo>
                  <a:pt x="7523992" y="218496"/>
                </a:lnTo>
                <a:lnTo>
                  <a:pt x="7523992" y="723546"/>
                </a:lnTo>
                <a:lnTo>
                  <a:pt x="7643197" y="723546"/>
                </a:lnTo>
                <a:lnTo>
                  <a:pt x="7643197" y="397316"/>
                </a:lnTo>
                <a:cubicBezTo>
                  <a:pt x="7643197" y="322647"/>
                  <a:pt x="7681646" y="279113"/>
                  <a:pt x="7743247" y="279113"/>
                </a:cubicBezTo>
                <a:cubicBezTo>
                  <a:pt x="7804848" y="279113"/>
                  <a:pt x="7829102" y="318514"/>
                  <a:pt x="7829102" y="378167"/>
                </a:cubicBezTo>
                <a:lnTo>
                  <a:pt x="7829102" y="723546"/>
                </a:lnTo>
                <a:lnTo>
                  <a:pt x="7948308" y="723546"/>
                </a:lnTo>
                <a:lnTo>
                  <a:pt x="7948308" y="377065"/>
                </a:lnTo>
                <a:cubicBezTo>
                  <a:pt x="7948308" y="273052"/>
                  <a:pt x="7893735" y="208440"/>
                  <a:pt x="7788724" y="208440"/>
                </a:cubicBezTo>
                <a:moveTo>
                  <a:pt x="468828" y="16532"/>
                </a:moveTo>
                <a:lnTo>
                  <a:pt x="343559" y="16532"/>
                </a:lnTo>
                <a:lnTo>
                  <a:pt x="343559" y="538664"/>
                </a:lnTo>
                <a:cubicBezTo>
                  <a:pt x="343559" y="623528"/>
                  <a:pt x="311174" y="673950"/>
                  <a:pt x="234414" y="673950"/>
                </a:cubicBezTo>
                <a:cubicBezTo>
                  <a:pt x="157654" y="673950"/>
                  <a:pt x="125269" y="620359"/>
                  <a:pt x="125269" y="528469"/>
                </a:cubicBezTo>
                <a:lnTo>
                  <a:pt x="125269" y="431482"/>
                </a:lnTo>
                <a:lnTo>
                  <a:pt x="0" y="462755"/>
                </a:lnTo>
                <a:lnTo>
                  <a:pt x="0" y="506151"/>
                </a:lnTo>
                <a:cubicBezTo>
                  <a:pt x="0" y="638406"/>
                  <a:pt x="65735" y="739527"/>
                  <a:pt x="234414" y="739527"/>
                </a:cubicBezTo>
                <a:cubicBezTo>
                  <a:pt x="403093" y="739527"/>
                  <a:pt x="468828" y="638544"/>
                  <a:pt x="468828" y="506151"/>
                </a:cubicBezTo>
                <a:lnTo>
                  <a:pt x="468828" y="16256"/>
                </a:lnTo>
                <a:moveTo>
                  <a:pt x="1222509" y="16256"/>
                </a:moveTo>
                <a:lnTo>
                  <a:pt x="1103304" y="16256"/>
                </a:lnTo>
                <a:lnTo>
                  <a:pt x="1103304" y="723270"/>
                </a:lnTo>
                <a:lnTo>
                  <a:pt x="1222509" y="723270"/>
                </a:lnTo>
                <a:lnTo>
                  <a:pt x="1222509" y="397041"/>
                </a:lnTo>
                <a:cubicBezTo>
                  <a:pt x="1222509" y="322372"/>
                  <a:pt x="1260958" y="278838"/>
                  <a:pt x="1322559" y="278838"/>
                </a:cubicBezTo>
                <a:cubicBezTo>
                  <a:pt x="1384160" y="278838"/>
                  <a:pt x="1408415" y="318239"/>
                  <a:pt x="1408415" y="377891"/>
                </a:cubicBezTo>
                <a:lnTo>
                  <a:pt x="1408415" y="723270"/>
                </a:lnTo>
                <a:lnTo>
                  <a:pt x="1527620" y="723270"/>
                </a:lnTo>
                <a:lnTo>
                  <a:pt x="1527620" y="376789"/>
                </a:lnTo>
                <a:cubicBezTo>
                  <a:pt x="1527620" y="272776"/>
                  <a:pt x="1473047" y="208164"/>
                  <a:pt x="1368036" y="208164"/>
                </a:cubicBezTo>
                <a:cubicBezTo>
                  <a:pt x="1293206" y="208164"/>
                  <a:pt x="1251863" y="240539"/>
                  <a:pt x="1228573" y="281869"/>
                </a:cubicBezTo>
                <a:lnTo>
                  <a:pt x="1222509" y="281869"/>
                </a:lnTo>
                <a:lnTo>
                  <a:pt x="1222509" y="16256"/>
                </a:lnTo>
                <a:moveTo>
                  <a:pt x="4855722" y="16256"/>
                </a:moveTo>
                <a:lnTo>
                  <a:pt x="4730453" y="16256"/>
                </a:lnTo>
                <a:lnTo>
                  <a:pt x="4730453" y="538389"/>
                </a:lnTo>
                <a:cubicBezTo>
                  <a:pt x="4730453" y="623252"/>
                  <a:pt x="4698068" y="673675"/>
                  <a:pt x="4621308" y="673675"/>
                </a:cubicBezTo>
                <a:cubicBezTo>
                  <a:pt x="4544548" y="673675"/>
                  <a:pt x="4512163" y="620084"/>
                  <a:pt x="4512163" y="528194"/>
                </a:cubicBezTo>
                <a:lnTo>
                  <a:pt x="4512163" y="431207"/>
                </a:lnTo>
                <a:lnTo>
                  <a:pt x="4386894" y="462480"/>
                </a:lnTo>
                <a:lnTo>
                  <a:pt x="4386894" y="505876"/>
                </a:lnTo>
                <a:cubicBezTo>
                  <a:pt x="4386894" y="638131"/>
                  <a:pt x="4452629" y="739251"/>
                  <a:pt x="4621308" y="739251"/>
                </a:cubicBezTo>
                <a:cubicBezTo>
                  <a:pt x="4789987" y="739251"/>
                  <a:pt x="4855722" y="638269"/>
                  <a:pt x="4855722" y="505876"/>
                </a:cubicBezTo>
                <a:lnTo>
                  <a:pt x="4855722" y="15981"/>
                </a:lnTo>
                <a:moveTo>
                  <a:pt x="5609403" y="15981"/>
                </a:moveTo>
                <a:lnTo>
                  <a:pt x="5490198" y="15981"/>
                </a:lnTo>
                <a:lnTo>
                  <a:pt x="5490198" y="722995"/>
                </a:lnTo>
                <a:lnTo>
                  <a:pt x="5609403" y="722995"/>
                </a:lnTo>
                <a:lnTo>
                  <a:pt x="5609403" y="396765"/>
                </a:lnTo>
                <a:cubicBezTo>
                  <a:pt x="5609403" y="322096"/>
                  <a:pt x="5647852" y="278562"/>
                  <a:pt x="5709453" y="278562"/>
                </a:cubicBezTo>
                <a:cubicBezTo>
                  <a:pt x="5771054" y="278562"/>
                  <a:pt x="5795308" y="317963"/>
                  <a:pt x="5795308" y="377616"/>
                </a:cubicBezTo>
                <a:lnTo>
                  <a:pt x="5795308" y="722995"/>
                </a:lnTo>
                <a:lnTo>
                  <a:pt x="5914514" y="722995"/>
                </a:lnTo>
                <a:lnTo>
                  <a:pt x="5914514" y="376514"/>
                </a:lnTo>
                <a:cubicBezTo>
                  <a:pt x="5914514" y="272501"/>
                  <a:pt x="5859941" y="207889"/>
                  <a:pt x="5754930" y="207889"/>
                </a:cubicBezTo>
                <a:cubicBezTo>
                  <a:pt x="5680099" y="207889"/>
                  <a:pt x="5638756" y="240263"/>
                  <a:pt x="5615466" y="281593"/>
                </a:cubicBezTo>
                <a:lnTo>
                  <a:pt x="5609403" y="281593"/>
                </a:lnTo>
                <a:lnTo>
                  <a:pt x="5609403" y="15981"/>
                </a:lnTo>
                <a:moveTo>
                  <a:pt x="3954447" y="665409"/>
                </a:moveTo>
                <a:cubicBezTo>
                  <a:pt x="3857429" y="665409"/>
                  <a:pt x="3797895" y="586607"/>
                  <a:pt x="3797895" y="502845"/>
                </a:cubicBezTo>
                <a:cubicBezTo>
                  <a:pt x="3797895" y="450356"/>
                  <a:pt x="3821185" y="401863"/>
                  <a:pt x="3859496" y="374585"/>
                </a:cubicBezTo>
                <a:lnTo>
                  <a:pt x="4087847" y="624079"/>
                </a:lnTo>
                <a:cubicBezTo>
                  <a:pt x="4045401" y="649290"/>
                  <a:pt x="3997857" y="665546"/>
                  <a:pt x="3954447" y="665546"/>
                </a:cubicBezTo>
                <a:moveTo>
                  <a:pt x="4176734" y="541282"/>
                </a:moveTo>
                <a:lnTo>
                  <a:pt x="3978702" y="323061"/>
                </a:lnTo>
                <a:cubicBezTo>
                  <a:pt x="4014119" y="308871"/>
                  <a:pt x="4048433" y="303911"/>
                  <a:pt x="4076684" y="303911"/>
                </a:cubicBezTo>
                <a:cubicBezTo>
                  <a:pt x="4158543" y="303911"/>
                  <a:pt x="4208981" y="351440"/>
                  <a:pt x="4208981" y="433273"/>
                </a:cubicBezTo>
                <a:cubicBezTo>
                  <a:pt x="4208981" y="469643"/>
                  <a:pt x="4198922" y="506978"/>
                  <a:pt x="4176596" y="541282"/>
                </a:cubicBezTo>
                <a:moveTo>
                  <a:pt x="3951278" y="293854"/>
                </a:moveTo>
                <a:lnTo>
                  <a:pt x="3907868" y="245361"/>
                </a:lnTo>
                <a:cubicBezTo>
                  <a:pt x="3869419" y="202929"/>
                  <a:pt x="3858394" y="176616"/>
                  <a:pt x="3858394" y="145343"/>
                </a:cubicBezTo>
                <a:cubicBezTo>
                  <a:pt x="3858394" y="86792"/>
                  <a:pt x="3895740" y="53453"/>
                  <a:pt x="3954309" y="53453"/>
                </a:cubicBezTo>
                <a:cubicBezTo>
                  <a:pt x="4012879" y="53453"/>
                  <a:pt x="4049260" y="87757"/>
                  <a:pt x="4049260" y="150440"/>
                </a:cubicBezTo>
                <a:cubicBezTo>
                  <a:pt x="4049260" y="208026"/>
                  <a:pt x="4021009" y="262582"/>
                  <a:pt x="3951278" y="293854"/>
                </a:cubicBezTo>
                <a:moveTo>
                  <a:pt x="3957341" y="0"/>
                </a:moveTo>
                <a:cubicBezTo>
                  <a:pt x="3817878" y="0"/>
                  <a:pt x="3749249" y="77838"/>
                  <a:pt x="3749249" y="174687"/>
                </a:cubicBezTo>
                <a:cubicBezTo>
                  <a:pt x="3749249" y="227176"/>
                  <a:pt x="3771436" y="279802"/>
                  <a:pt x="3830143" y="343312"/>
                </a:cubicBezTo>
                <a:lnTo>
                  <a:pt x="3831108" y="345379"/>
                </a:lnTo>
                <a:cubicBezTo>
                  <a:pt x="3732160" y="392908"/>
                  <a:pt x="3686683" y="469643"/>
                  <a:pt x="3686683" y="548445"/>
                </a:cubicBezTo>
                <a:cubicBezTo>
                  <a:pt x="3686683" y="652459"/>
                  <a:pt x="3766475" y="739389"/>
                  <a:pt x="3889815" y="739389"/>
                </a:cubicBezTo>
                <a:cubicBezTo>
                  <a:pt x="3960511" y="739389"/>
                  <a:pt x="4043334" y="710045"/>
                  <a:pt x="4118165" y="657556"/>
                </a:cubicBezTo>
                <a:lnTo>
                  <a:pt x="4178801" y="723270"/>
                </a:lnTo>
                <a:lnTo>
                  <a:pt x="4337420" y="723270"/>
                </a:lnTo>
                <a:lnTo>
                  <a:pt x="4337420" y="718173"/>
                </a:lnTo>
                <a:lnTo>
                  <a:pt x="4208155" y="575723"/>
                </a:lnTo>
                <a:cubicBezTo>
                  <a:pt x="4262728" y="511111"/>
                  <a:pt x="4294011" y="440437"/>
                  <a:pt x="4294011" y="378718"/>
                </a:cubicBezTo>
                <a:cubicBezTo>
                  <a:pt x="4294011" y="301982"/>
                  <a:pt x="4242469" y="250458"/>
                  <a:pt x="4161713" y="250458"/>
                </a:cubicBezTo>
                <a:cubicBezTo>
                  <a:pt x="4119268" y="250458"/>
                  <a:pt x="4071723" y="262582"/>
                  <a:pt x="4040440" y="274705"/>
                </a:cubicBezTo>
                <a:lnTo>
                  <a:pt x="4038373" y="270710"/>
                </a:lnTo>
                <a:cubicBezTo>
                  <a:pt x="4115133" y="229242"/>
                  <a:pt x="4147518" y="190943"/>
                  <a:pt x="4147518" y="137352"/>
                </a:cubicBezTo>
                <a:cubicBezTo>
                  <a:pt x="4147518" y="60617"/>
                  <a:pt x="4078752" y="0"/>
                  <a:pt x="3957617" y="0"/>
                </a:cubicBezTo>
              </a:path>
            </a:pathLst>
          </a:custGeom>
          <a:solidFill>
            <a:schemeClr val="tx2"/>
          </a:solidFill>
          <a:ln w="13780" cap="flat">
            <a:noFill/>
            <a:prstDash val="solid"/>
            <a:miter/>
          </a:ln>
        </p:spPr>
        <p:txBody>
          <a:bodyPr rtlCol="0" anchor="ctr"/>
          <a:lstStyle/>
          <a:p>
            <a:endParaRPr lang="en-GB" b="0" i="0">
              <a:solidFill>
                <a:schemeClr val="tx1"/>
              </a:solidFill>
              <a:latin typeface="Johnson Text" pitchFamily="2" charset="77"/>
            </a:endParaRPr>
          </a:p>
        </p:txBody>
      </p:sp>
      <p:sp>
        <p:nvSpPr>
          <p:cNvPr id="3" name="Footer Placeholder 4">
            <a:extLst>
              <a:ext uri="{FF2B5EF4-FFF2-40B4-BE49-F238E27FC236}">
                <a16:creationId xmlns:a16="http://schemas.microsoft.com/office/drawing/2014/main" id="{0FBDFE4B-6993-D3B3-3F04-FE6E5AA1FC1D}"/>
              </a:ext>
            </a:extLst>
          </p:cNvPr>
          <p:cNvSpPr txBox="1">
            <a:spLocks/>
          </p:cNvSpPr>
          <p:nvPr userDrawn="1"/>
        </p:nvSpPr>
        <p:spPr>
          <a:xfrm>
            <a:off x="9772073" y="6424023"/>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0" i="0" kern="1200">
                <a:solidFill>
                  <a:schemeClr val="tx1"/>
                </a:solidFill>
                <a:latin typeface="+mn-lt"/>
                <a:ea typeface="+mn-ea"/>
                <a:cs typeface="+mn-cs"/>
              </a:rPr>
              <a:t>HEALTH CARE COMPLIANCE</a:t>
            </a:r>
          </a:p>
        </p:txBody>
      </p:sp>
    </p:spTree>
    <p:extLst>
      <p:ext uri="{BB962C8B-B14F-4D97-AF65-F5344CB8AC3E}">
        <p14:creationId xmlns:p14="http://schemas.microsoft.com/office/powerpoint/2010/main" val="19431240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06B22-1DE8-7C36-14AE-7260C97F6705}"/>
              </a:ext>
            </a:extLst>
          </p:cNvPr>
          <p:cNvSpPr>
            <a:spLocks noGrp="1"/>
          </p:cNvSpPr>
          <p:nvPr>
            <p:ph type="title"/>
          </p:nvPr>
        </p:nvSpPr>
        <p:spPr>
          <a:xfrm>
            <a:off x="291479" y="264244"/>
            <a:ext cx="4667383" cy="327013"/>
          </a:xfrm>
        </p:spPr>
        <p:txBody>
          <a:bodyPr>
            <a:spAutoFit/>
          </a:bodyPr>
          <a:lstStyle>
            <a:lvl1pPr>
              <a:defRPr sz="2500" b="0" i="0">
                <a:solidFill>
                  <a:schemeClr val="bg1"/>
                </a:solidFill>
                <a:latin typeface="+mj-lt"/>
              </a:defRPr>
            </a:lvl1pPr>
          </a:lstStyle>
          <a:p>
            <a:r>
              <a:rPr lang="en-US"/>
              <a:t>Click to edit Master title style</a:t>
            </a:r>
          </a:p>
        </p:txBody>
      </p:sp>
      <p:sp>
        <p:nvSpPr>
          <p:cNvPr id="30" name="Subtitle 2">
            <a:extLst>
              <a:ext uri="{FF2B5EF4-FFF2-40B4-BE49-F238E27FC236}">
                <a16:creationId xmlns:a16="http://schemas.microsoft.com/office/drawing/2014/main" id="{AFC7E9F7-1405-E6D8-9042-37C2DC045BD5}"/>
              </a:ext>
            </a:extLst>
          </p:cNvPr>
          <p:cNvSpPr>
            <a:spLocks noGrp="1"/>
          </p:cNvSpPr>
          <p:nvPr>
            <p:ph type="subTitle" idx="1" hasCustomPrompt="1"/>
          </p:nvPr>
        </p:nvSpPr>
        <p:spPr>
          <a:xfrm>
            <a:off x="6165850" y="240207"/>
            <a:ext cx="2795587" cy="717180"/>
          </a:xfrm>
        </p:spPr>
        <p:txBody>
          <a:bodyPr anchor="t"/>
          <a:lstStyle>
            <a:lvl1pPr marL="0" indent="0" algn="l">
              <a:spcBef>
                <a:spcPts val="0"/>
              </a:spcBef>
              <a:spcAft>
                <a:spcPts val="0"/>
              </a:spcAft>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pporting details – delete if not required</a:t>
            </a:r>
          </a:p>
        </p:txBody>
      </p:sp>
      <p:sp>
        <p:nvSpPr>
          <p:cNvPr id="5" name="Graphic 3">
            <a:extLst>
              <a:ext uri="{FF2B5EF4-FFF2-40B4-BE49-F238E27FC236}">
                <a16:creationId xmlns:a16="http://schemas.microsoft.com/office/drawing/2014/main" id="{A2702702-3E11-9FDF-5B64-822892AA8E70}"/>
              </a:ext>
            </a:extLst>
          </p:cNvPr>
          <p:cNvSpPr/>
          <p:nvPr/>
        </p:nvSpPr>
        <p:spPr>
          <a:xfrm>
            <a:off x="284298" y="5510092"/>
            <a:ext cx="11615602" cy="1069665"/>
          </a:xfrm>
          <a:custGeom>
            <a:avLst/>
            <a:gdLst>
              <a:gd name="connsiteX0" fmla="*/ 1169268 w 11823056"/>
              <a:gd name="connsiteY0" fmla="*/ 997887 h 1088769"/>
              <a:gd name="connsiteX1" fmla="*/ 988876 w 11823056"/>
              <a:gd name="connsiteY1" fmla="*/ 692983 h 1088769"/>
              <a:gd name="connsiteX2" fmla="*/ 1169268 w 11823056"/>
              <a:gd name="connsiteY2" fmla="*/ 388078 h 1088769"/>
              <a:gd name="connsiteX3" fmla="*/ 1349660 w 11823056"/>
              <a:gd name="connsiteY3" fmla="*/ 692983 h 1088769"/>
              <a:gd name="connsiteX4" fmla="*/ 1169268 w 11823056"/>
              <a:gd name="connsiteY4" fmla="*/ 997887 h 1088769"/>
              <a:gd name="connsiteX5" fmla="*/ 1169268 w 11823056"/>
              <a:gd name="connsiteY5" fmla="*/ 306324 h 1088769"/>
              <a:gd name="connsiteX6" fmla="*/ 802539 w 11823056"/>
              <a:gd name="connsiteY6" fmla="*/ 692983 h 1088769"/>
              <a:gd name="connsiteX7" fmla="*/ 1169268 w 11823056"/>
              <a:gd name="connsiteY7" fmla="*/ 1079641 h 1088769"/>
              <a:gd name="connsiteX8" fmla="*/ 1535997 w 11823056"/>
              <a:gd name="connsiteY8" fmla="*/ 692983 h 1088769"/>
              <a:gd name="connsiteX9" fmla="*/ 1169268 w 11823056"/>
              <a:gd name="connsiteY9" fmla="*/ 306324 h 1088769"/>
              <a:gd name="connsiteX10" fmla="*/ 2808786 w 11823056"/>
              <a:gd name="connsiteY10" fmla="*/ 306324 h 1088769"/>
              <a:gd name="connsiteX11" fmla="*/ 2601335 w 11823056"/>
              <a:gd name="connsiteY11" fmla="*/ 414856 h 1088769"/>
              <a:gd name="connsiteX12" fmla="*/ 2592315 w 11823056"/>
              <a:gd name="connsiteY12" fmla="*/ 414856 h 1088769"/>
              <a:gd name="connsiteX13" fmla="*/ 2592315 w 11823056"/>
              <a:gd name="connsiteY13" fmla="*/ 321133 h 1088769"/>
              <a:gd name="connsiteX14" fmla="*/ 2414998 w 11823056"/>
              <a:gd name="connsiteY14" fmla="*/ 321133 h 1088769"/>
              <a:gd name="connsiteX15" fmla="*/ 2414998 w 11823056"/>
              <a:gd name="connsiteY15" fmla="*/ 1064832 h 1088769"/>
              <a:gd name="connsiteX16" fmla="*/ 2592315 w 11823056"/>
              <a:gd name="connsiteY16" fmla="*/ 1064832 h 1088769"/>
              <a:gd name="connsiteX17" fmla="*/ 2592315 w 11823056"/>
              <a:gd name="connsiteY17" fmla="*/ 584451 h 1088769"/>
              <a:gd name="connsiteX18" fmla="*/ 2741139 w 11823056"/>
              <a:gd name="connsiteY18" fmla="*/ 410393 h 1088769"/>
              <a:gd name="connsiteX19" fmla="*/ 2868848 w 11823056"/>
              <a:gd name="connsiteY19" fmla="*/ 556253 h 1088769"/>
              <a:gd name="connsiteX20" fmla="*/ 2868848 w 11823056"/>
              <a:gd name="connsiteY20" fmla="*/ 1064832 h 1088769"/>
              <a:gd name="connsiteX21" fmla="*/ 3046165 w 11823056"/>
              <a:gd name="connsiteY21" fmla="*/ 1064832 h 1088769"/>
              <a:gd name="connsiteX22" fmla="*/ 3046165 w 11823056"/>
              <a:gd name="connsiteY22" fmla="*/ 554630 h 1088769"/>
              <a:gd name="connsiteX23" fmla="*/ 2808786 w 11823056"/>
              <a:gd name="connsiteY23" fmla="*/ 306324 h 1088769"/>
              <a:gd name="connsiteX24" fmla="*/ 3448972 w 11823056"/>
              <a:gd name="connsiteY24" fmla="*/ 306324 h 1088769"/>
              <a:gd name="connsiteX25" fmla="*/ 3161985 w 11823056"/>
              <a:gd name="connsiteY25" fmla="*/ 520548 h 1088769"/>
              <a:gd name="connsiteX26" fmla="*/ 3343812 w 11823056"/>
              <a:gd name="connsiteY26" fmla="*/ 734773 h 1088769"/>
              <a:gd name="connsiteX27" fmla="*/ 3494070 w 11823056"/>
              <a:gd name="connsiteY27" fmla="*/ 771897 h 1088769"/>
              <a:gd name="connsiteX28" fmla="*/ 3609890 w 11823056"/>
              <a:gd name="connsiteY28" fmla="*/ 882052 h 1088769"/>
              <a:gd name="connsiteX29" fmla="*/ 3461067 w 11823056"/>
              <a:gd name="connsiteY29" fmla="*/ 1001133 h 1088769"/>
              <a:gd name="connsiteX30" fmla="*/ 3289694 w 11823056"/>
              <a:gd name="connsiteY30" fmla="*/ 828699 h 1088769"/>
              <a:gd name="connsiteX31" fmla="*/ 3130416 w 11823056"/>
              <a:gd name="connsiteY31" fmla="*/ 873329 h 1088769"/>
              <a:gd name="connsiteX32" fmla="*/ 3441593 w 11823056"/>
              <a:gd name="connsiteY32" fmla="*/ 1080047 h 1088769"/>
              <a:gd name="connsiteX33" fmla="*/ 3754204 w 11823056"/>
              <a:gd name="connsiteY33" fmla="*/ 837625 h 1088769"/>
              <a:gd name="connsiteX34" fmla="*/ 3554338 w 11823056"/>
              <a:gd name="connsiteY34" fmla="*/ 614474 h 1088769"/>
              <a:gd name="connsiteX35" fmla="*/ 3410024 w 11823056"/>
              <a:gd name="connsiteY35" fmla="*/ 578770 h 1088769"/>
              <a:gd name="connsiteX36" fmla="*/ 3306299 w 11823056"/>
              <a:gd name="connsiteY36" fmla="*/ 480584 h 1088769"/>
              <a:gd name="connsiteX37" fmla="*/ 3434008 w 11823056"/>
              <a:gd name="connsiteY37" fmla="*/ 385441 h 1088769"/>
              <a:gd name="connsiteX38" fmla="*/ 3587341 w 11823056"/>
              <a:gd name="connsiteY38" fmla="*/ 528257 h 1088769"/>
              <a:gd name="connsiteX39" fmla="*/ 3737599 w 11823056"/>
              <a:gd name="connsiteY39" fmla="*/ 483627 h 1088769"/>
              <a:gd name="connsiteX40" fmla="*/ 3448972 w 11823056"/>
              <a:gd name="connsiteY40" fmla="*/ 306324 h 1088769"/>
              <a:gd name="connsiteX41" fmla="*/ 4194524 w 11823056"/>
              <a:gd name="connsiteY41" fmla="*/ 997887 h 1088769"/>
              <a:gd name="connsiteX42" fmla="*/ 4014132 w 11823056"/>
              <a:gd name="connsiteY42" fmla="*/ 692983 h 1088769"/>
              <a:gd name="connsiteX43" fmla="*/ 4194524 w 11823056"/>
              <a:gd name="connsiteY43" fmla="*/ 388078 h 1088769"/>
              <a:gd name="connsiteX44" fmla="*/ 4374916 w 11823056"/>
              <a:gd name="connsiteY44" fmla="*/ 692983 h 1088769"/>
              <a:gd name="connsiteX45" fmla="*/ 4194524 w 11823056"/>
              <a:gd name="connsiteY45" fmla="*/ 997887 h 1088769"/>
              <a:gd name="connsiteX46" fmla="*/ 4194524 w 11823056"/>
              <a:gd name="connsiteY46" fmla="*/ 306324 h 1088769"/>
              <a:gd name="connsiteX47" fmla="*/ 3827796 w 11823056"/>
              <a:gd name="connsiteY47" fmla="*/ 692983 h 1088769"/>
              <a:gd name="connsiteX48" fmla="*/ 4194524 w 11823056"/>
              <a:gd name="connsiteY48" fmla="*/ 1079641 h 1088769"/>
              <a:gd name="connsiteX49" fmla="*/ 4561253 w 11823056"/>
              <a:gd name="connsiteY49" fmla="*/ 692983 h 1088769"/>
              <a:gd name="connsiteX50" fmla="*/ 4194524 w 11823056"/>
              <a:gd name="connsiteY50" fmla="*/ 306324 h 1088769"/>
              <a:gd name="connsiteX51" fmla="*/ 5060201 w 11823056"/>
              <a:gd name="connsiteY51" fmla="*/ 306324 h 1088769"/>
              <a:gd name="connsiteX52" fmla="*/ 4852750 w 11823056"/>
              <a:gd name="connsiteY52" fmla="*/ 414856 h 1088769"/>
              <a:gd name="connsiteX53" fmla="*/ 4843731 w 11823056"/>
              <a:gd name="connsiteY53" fmla="*/ 414856 h 1088769"/>
              <a:gd name="connsiteX54" fmla="*/ 4843731 w 11823056"/>
              <a:gd name="connsiteY54" fmla="*/ 321133 h 1088769"/>
              <a:gd name="connsiteX55" fmla="*/ 4666414 w 11823056"/>
              <a:gd name="connsiteY55" fmla="*/ 321133 h 1088769"/>
              <a:gd name="connsiteX56" fmla="*/ 4666414 w 11823056"/>
              <a:gd name="connsiteY56" fmla="*/ 1064832 h 1088769"/>
              <a:gd name="connsiteX57" fmla="*/ 4843731 w 11823056"/>
              <a:gd name="connsiteY57" fmla="*/ 1064832 h 1088769"/>
              <a:gd name="connsiteX58" fmla="*/ 4843731 w 11823056"/>
              <a:gd name="connsiteY58" fmla="*/ 584451 h 1088769"/>
              <a:gd name="connsiteX59" fmla="*/ 4992554 w 11823056"/>
              <a:gd name="connsiteY59" fmla="*/ 410393 h 1088769"/>
              <a:gd name="connsiteX60" fmla="*/ 5120263 w 11823056"/>
              <a:gd name="connsiteY60" fmla="*/ 556253 h 1088769"/>
              <a:gd name="connsiteX61" fmla="*/ 5120263 w 11823056"/>
              <a:gd name="connsiteY61" fmla="*/ 1064832 h 1088769"/>
              <a:gd name="connsiteX62" fmla="*/ 5297580 w 11823056"/>
              <a:gd name="connsiteY62" fmla="*/ 1064832 h 1088769"/>
              <a:gd name="connsiteX63" fmla="*/ 5297580 w 11823056"/>
              <a:gd name="connsiteY63" fmla="*/ 554630 h 1088769"/>
              <a:gd name="connsiteX64" fmla="*/ 5060201 w 11823056"/>
              <a:gd name="connsiteY64" fmla="*/ 306324 h 1088769"/>
              <a:gd name="connsiteX65" fmla="*/ 7694744 w 11823056"/>
              <a:gd name="connsiteY65" fmla="*/ 997887 h 1088769"/>
              <a:gd name="connsiteX66" fmla="*/ 7514353 w 11823056"/>
              <a:gd name="connsiteY66" fmla="*/ 692983 h 1088769"/>
              <a:gd name="connsiteX67" fmla="*/ 7694744 w 11823056"/>
              <a:gd name="connsiteY67" fmla="*/ 388078 h 1088769"/>
              <a:gd name="connsiteX68" fmla="*/ 7875136 w 11823056"/>
              <a:gd name="connsiteY68" fmla="*/ 692983 h 1088769"/>
              <a:gd name="connsiteX69" fmla="*/ 7694744 w 11823056"/>
              <a:gd name="connsiteY69" fmla="*/ 997887 h 1088769"/>
              <a:gd name="connsiteX70" fmla="*/ 7694744 w 11823056"/>
              <a:gd name="connsiteY70" fmla="*/ 306324 h 1088769"/>
              <a:gd name="connsiteX71" fmla="*/ 7328015 w 11823056"/>
              <a:gd name="connsiteY71" fmla="*/ 692983 h 1088769"/>
              <a:gd name="connsiteX72" fmla="*/ 7694744 w 11823056"/>
              <a:gd name="connsiteY72" fmla="*/ 1079641 h 1088769"/>
              <a:gd name="connsiteX73" fmla="*/ 8061473 w 11823056"/>
              <a:gd name="connsiteY73" fmla="*/ 692983 h 1088769"/>
              <a:gd name="connsiteX74" fmla="*/ 7694744 w 11823056"/>
              <a:gd name="connsiteY74" fmla="*/ 306324 h 1088769"/>
              <a:gd name="connsiteX75" fmla="*/ 9334262 w 11823056"/>
              <a:gd name="connsiteY75" fmla="*/ 306324 h 1088769"/>
              <a:gd name="connsiteX76" fmla="*/ 9126810 w 11823056"/>
              <a:gd name="connsiteY76" fmla="*/ 414856 h 1088769"/>
              <a:gd name="connsiteX77" fmla="*/ 9117791 w 11823056"/>
              <a:gd name="connsiteY77" fmla="*/ 414856 h 1088769"/>
              <a:gd name="connsiteX78" fmla="*/ 9117791 w 11823056"/>
              <a:gd name="connsiteY78" fmla="*/ 321133 h 1088769"/>
              <a:gd name="connsiteX79" fmla="*/ 8940474 w 11823056"/>
              <a:gd name="connsiteY79" fmla="*/ 321133 h 1088769"/>
              <a:gd name="connsiteX80" fmla="*/ 8940474 w 11823056"/>
              <a:gd name="connsiteY80" fmla="*/ 1064832 h 1088769"/>
              <a:gd name="connsiteX81" fmla="*/ 9117791 w 11823056"/>
              <a:gd name="connsiteY81" fmla="*/ 1064832 h 1088769"/>
              <a:gd name="connsiteX82" fmla="*/ 9117791 w 11823056"/>
              <a:gd name="connsiteY82" fmla="*/ 584451 h 1088769"/>
              <a:gd name="connsiteX83" fmla="*/ 9266614 w 11823056"/>
              <a:gd name="connsiteY83" fmla="*/ 410393 h 1088769"/>
              <a:gd name="connsiteX84" fmla="*/ 9394324 w 11823056"/>
              <a:gd name="connsiteY84" fmla="*/ 556253 h 1088769"/>
              <a:gd name="connsiteX85" fmla="*/ 9394324 w 11823056"/>
              <a:gd name="connsiteY85" fmla="*/ 1064832 h 1088769"/>
              <a:gd name="connsiteX86" fmla="*/ 9571641 w 11823056"/>
              <a:gd name="connsiteY86" fmla="*/ 1064832 h 1088769"/>
              <a:gd name="connsiteX87" fmla="*/ 9571641 w 11823056"/>
              <a:gd name="connsiteY87" fmla="*/ 554630 h 1088769"/>
              <a:gd name="connsiteX88" fmla="*/ 9334262 w 11823056"/>
              <a:gd name="connsiteY88" fmla="*/ 306324 h 1088769"/>
              <a:gd name="connsiteX89" fmla="*/ 9974653 w 11823056"/>
              <a:gd name="connsiteY89" fmla="*/ 306324 h 1088769"/>
              <a:gd name="connsiteX90" fmla="*/ 9687666 w 11823056"/>
              <a:gd name="connsiteY90" fmla="*/ 520548 h 1088769"/>
              <a:gd name="connsiteX91" fmla="*/ 9869493 w 11823056"/>
              <a:gd name="connsiteY91" fmla="*/ 734773 h 1088769"/>
              <a:gd name="connsiteX92" fmla="*/ 10019751 w 11823056"/>
              <a:gd name="connsiteY92" fmla="*/ 771897 h 1088769"/>
              <a:gd name="connsiteX93" fmla="*/ 10135571 w 11823056"/>
              <a:gd name="connsiteY93" fmla="*/ 882052 h 1088769"/>
              <a:gd name="connsiteX94" fmla="*/ 9986747 w 11823056"/>
              <a:gd name="connsiteY94" fmla="*/ 1001133 h 1088769"/>
              <a:gd name="connsiteX95" fmla="*/ 9815375 w 11823056"/>
              <a:gd name="connsiteY95" fmla="*/ 828699 h 1088769"/>
              <a:gd name="connsiteX96" fmla="*/ 9656097 w 11823056"/>
              <a:gd name="connsiteY96" fmla="*/ 873329 h 1088769"/>
              <a:gd name="connsiteX97" fmla="*/ 9967273 w 11823056"/>
              <a:gd name="connsiteY97" fmla="*/ 1080047 h 1088769"/>
              <a:gd name="connsiteX98" fmla="*/ 10279884 w 11823056"/>
              <a:gd name="connsiteY98" fmla="*/ 837625 h 1088769"/>
              <a:gd name="connsiteX99" fmla="*/ 10080018 w 11823056"/>
              <a:gd name="connsiteY99" fmla="*/ 614474 h 1088769"/>
              <a:gd name="connsiteX100" fmla="*/ 9935705 w 11823056"/>
              <a:gd name="connsiteY100" fmla="*/ 578770 h 1088769"/>
              <a:gd name="connsiteX101" fmla="*/ 9831980 w 11823056"/>
              <a:gd name="connsiteY101" fmla="*/ 480584 h 1088769"/>
              <a:gd name="connsiteX102" fmla="*/ 9959688 w 11823056"/>
              <a:gd name="connsiteY102" fmla="*/ 385441 h 1088769"/>
              <a:gd name="connsiteX103" fmla="*/ 10113022 w 11823056"/>
              <a:gd name="connsiteY103" fmla="*/ 528257 h 1088769"/>
              <a:gd name="connsiteX104" fmla="*/ 10263280 w 11823056"/>
              <a:gd name="connsiteY104" fmla="*/ 483627 h 1088769"/>
              <a:gd name="connsiteX105" fmla="*/ 9974653 w 11823056"/>
              <a:gd name="connsiteY105" fmla="*/ 306324 h 1088769"/>
              <a:gd name="connsiteX106" fmla="*/ 10720000 w 11823056"/>
              <a:gd name="connsiteY106" fmla="*/ 997887 h 1088769"/>
              <a:gd name="connsiteX107" fmla="*/ 10539607 w 11823056"/>
              <a:gd name="connsiteY107" fmla="*/ 692983 h 1088769"/>
              <a:gd name="connsiteX108" fmla="*/ 10720000 w 11823056"/>
              <a:gd name="connsiteY108" fmla="*/ 388078 h 1088769"/>
              <a:gd name="connsiteX109" fmla="*/ 10900392 w 11823056"/>
              <a:gd name="connsiteY109" fmla="*/ 692983 h 1088769"/>
              <a:gd name="connsiteX110" fmla="*/ 10720000 w 11823056"/>
              <a:gd name="connsiteY110" fmla="*/ 997887 h 1088769"/>
              <a:gd name="connsiteX111" fmla="*/ 10720000 w 11823056"/>
              <a:gd name="connsiteY111" fmla="*/ 306324 h 1088769"/>
              <a:gd name="connsiteX112" fmla="*/ 10353271 w 11823056"/>
              <a:gd name="connsiteY112" fmla="*/ 692983 h 1088769"/>
              <a:gd name="connsiteX113" fmla="*/ 10720000 w 11823056"/>
              <a:gd name="connsiteY113" fmla="*/ 1079641 h 1088769"/>
              <a:gd name="connsiteX114" fmla="*/ 11086728 w 11823056"/>
              <a:gd name="connsiteY114" fmla="*/ 692983 h 1088769"/>
              <a:gd name="connsiteX115" fmla="*/ 10720000 w 11823056"/>
              <a:gd name="connsiteY115" fmla="*/ 306324 h 1088769"/>
              <a:gd name="connsiteX116" fmla="*/ 11585677 w 11823056"/>
              <a:gd name="connsiteY116" fmla="*/ 306324 h 1088769"/>
              <a:gd name="connsiteX117" fmla="*/ 11378226 w 11823056"/>
              <a:gd name="connsiteY117" fmla="*/ 414856 h 1088769"/>
              <a:gd name="connsiteX118" fmla="*/ 11369206 w 11823056"/>
              <a:gd name="connsiteY118" fmla="*/ 414856 h 1088769"/>
              <a:gd name="connsiteX119" fmla="*/ 11369206 w 11823056"/>
              <a:gd name="connsiteY119" fmla="*/ 321133 h 1088769"/>
              <a:gd name="connsiteX120" fmla="*/ 11191889 w 11823056"/>
              <a:gd name="connsiteY120" fmla="*/ 321133 h 1088769"/>
              <a:gd name="connsiteX121" fmla="*/ 11191889 w 11823056"/>
              <a:gd name="connsiteY121" fmla="*/ 1064832 h 1088769"/>
              <a:gd name="connsiteX122" fmla="*/ 11369206 w 11823056"/>
              <a:gd name="connsiteY122" fmla="*/ 1064832 h 1088769"/>
              <a:gd name="connsiteX123" fmla="*/ 11369206 w 11823056"/>
              <a:gd name="connsiteY123" fmla="*/ 584451 h 1088769"/>
              <a:gd name="connsiteX124" fmla="*/ 11518030 w 11823056"/>
              <a:gd name="connsiteY124" fmla="*/ 410393 h 1088769"/>
              <a:gd name="connsiteX125" fmla="*/ 11645739 w 11823056"/>
              <a:gd name="connsiteY125" fmla="*/ 556253 h 1088769"/>
              <a:gd name="connsiteX126" fmla="*/ 11645739 w 11823056"/>
              <a:gd name="connsiteY126" fmla="*/ 1064832 h 1088769"/>
              <a:gd name="connsiteX127" fmla="*/ 11823056 w 11823056"/>
              <a:gd name="connsiteY127" fmla="*/ 1064832 h 1088769"/>
              <a:gd name="connsiteX128" fmla="*/ 11823056 w 11823056"/>
              <a:gd name="connsiteY128" fmla="*/ 554630 h 1088769"/>
              <a:gd name="connsiteX129" fmla="*/ 11585677 w 11823056"/>
              <a:gd name="connsiteY129" fmla="*/ 306324 h 1088769"/>
              <a:gd name="connsiteX130" fmla="*/ 697379 w 11823056"/>
              <a:gd name="connsiteY130" fmla="*/ 23735 h 1088769"/>
              <a:gd name="connsiteX131" fmla="*/ 511042 w 11823056"/>
              <a:gd name="connsiteY131" fmla="*/ 23735 h 1088769"/>
              <a:gd name="connsiteX132" fmla="*/ 511042 w 11823056"/>
              <a:gd name="connsiteY132" fmla="*/ 792589 h 1088769"/>
              <a:gd name="connsiteX133" fmla="*/ 348690 w 11823056"/>
              <a:gd name="connsiteY133" fmla="*/ 991801 h 1088769"/>
              <a:gd name="connsiteX134" fmla="*/ 186337 w 11823056"/>
              <a:gd name="connsiteY134" fmla="*/ 777577 h 1088769"/>
              <a:gd name="connsiteX135" fmla="*/ 186337 w 11823056"/>
              <a:gd name="connsiteY135" fmla="*/ 634761 h 1088769"/>
              <a:gd name="connsiteX136" fmla="*/ 0 w 11823056"/>
              <a:gd name="connsiteY136" fmla="*/ 680811 h 1088769"/>
              <a:gd name="connsiteX137" fmla="*/ 0 w 11823056"/>
              <a:gd name="connsiteY137" fmla="*/ 744713 h 1088769"/>
              <a:gd name="connsiteX138" fmla="*/ 348690 w 11823056"/>
              <a:gd name="connsiteY138" fmla="*/ 1088364 h 1088769"/>
              <a:gd name="connsiteX139" fmla="*/ 697379 w 11823056"/>
              <a:gd name="connsiteY139" fmla="*/ 744713 h 1088769"/>
              <a:gd name="connsiteX140" fmla="*/ 697379 w 11823056"/>
              <a:gd name="connsiteY140" fmla="*/ 23735 h 1088769"/>
              <a:gd name="connsiteX141" fmla="*/ 1818474 w 11823056"/>
              <a:gd name="connsiteY141" fmla="*/ 23735 h 1088769"/>
              <a:gd name="connsiteX142" fmla="*/ 1641157 w 11823056"/>
              <a:gd name="connsiteY142" fmla="*/ 23735 h 1088769"/>
              <a:gd name="connsiteX143" fmla="*/ 1641157 w 11823056"/>
              <a:gd name="connsiteY143" fmla="*/ 1064832 h 1088769"/>
              <a:gd name="connsiteX144" fmla="*/ 1818474 w 11823056"/>
              <a:gd name="connsiteY144" fmla="*/ 1064832 h 1088769"/>
              <a:gd name="connsiteX145" fmla="*/ 1818474 w 11823056"/>
              <a:gd name="connsiteY145" fmla="*/ 584451 h 1088769"/>
              <a:gd name="connsiteX146" fmla="*/ 1967298 w 11823056"/>
              <a:gd name="connsiteY146" fmla="*/ 410393 h 1088769"/>
              <a:gd name="connsiteX147" fmla="*/ 2095007 w 11823056"/>
              <a:gd name="connsiteY147" fmla="*/ 556253 h 1088769"/>
              <a:gd name="connsiteX148" fmla="*/ 2095007 w 11823056"/>
              <a:gd name="connsiteY148" fmla="*/ 1064832 h 1088769"/>
              <a:gd name="connsiteX149" fmla="*/ 2272324 w 11823056"/>
              <a:gd name="connsiteY149" fmla="*/ 1064832 h 1088769"/>
              <a:gd name="connsiteX150" fmla="*/ 2272324 w 11823056"/>
              <a:gd name="connsiteY150" fmla="*/ 554630 h 1088769"/>
              <a:gd name="connsiteX151" fmla="*/ 2034945 w 11823056"/>
              <a:gd name="connsiteY151" fmla="*/ 306324 h 1088769"/>
              <a:gd name="connsiteX152" fmla="*/ 1827494 w 11823056"/>
              <a:gd name="connsiteY152" fmla="*/ 414856 h 1088769"/>
              <a:gd name="connsiteX153" fmla="*/ 1818474 w 11823056"/>
              <a:gd name="connsiteY153" fmla="*/ 414856 h 1088769"/>
              <a:gd name="connsiteX154" fmla="*/ 1818474 w 11823056"/>
              <a:gd name="connsiteY154" fmla="*/ 23735 h 1088769"/>
              <a:gd name="connsiteX155" fmla="*/ 7222855 w 11823056"/>
              <a:gd name="connsiteY155" fmla="*/ 23735 h 1088769"/>
              <a:gd name="connsiteX156" fmla="*/ 7036518 w 11823056"/>
              <a:gd name="connsiteY156" fmla="*/ 23735 h 1088769"/>
              <a:gd name="connsiteX157" fmla="*/ 7036518 w 11823056"/>
              <a:gd name="connsiteY157" fmla="*/ 792589 h 1088769"/>
              <a:gd name="connsiteX158" fmla="*/ 6874166 w 11823056"/>
              <a:gd name="connsiteY158" fmla="*/ 991801 h 1088769"/>
              <a:gd name="connsiteX159" fmla="*/ 6711813 w 11823056"/>
              <a:gd name="connsiteY159" fmla="*/ 777577 h 1088769"/>
              <a:gd name="connsiteX160" fmla="*/ 6711813 w 11823056"/>
              <a:gd name="connsiteY160" fmla="*/ 634761 h 1088769"/>
              <a:gd name="connsiteX161" fmla="*/ 6525476 w 11823056"/>
              <a:gd name="connsiteY161" fmla="*/ 680811 h 1088769"/>
              <a:gd name="connsiteX162" fmla="*/ 6525476 w 11823056"/>
              <a:gd name="connsiteY162" fmla="*/ 744713 h 1088769"/>
              <a:gd name="connsiteX163" fmla="*/ 6874166 w 11823056"/>
              <a:gd name="connsiteY163" fmla="*/ 1088364 h 1088769"/>
              <a:gd name="connsiteX164" fmla="*/ 7222855 w 11823056"/>
              <a:gd name="connsiteY164" fmla="*/ 744713 h 1088769"/>
              <a:gd name="connsiteX165" fmla="*/ 7222855 w 11823056"/>
              <a:gd name="connsiteY165" fmla="*/ 23735 h 1088769"/>
              <a:gd name="connsiteX166" fmla="*/ 8343950 w 11823056"/>
              <a:gd name="connsiteY166" fmla="*/ 23735 h 1088769"/>
              <a:gd name="connsiteX167" fmla="*/ 8166633 w 11823056"/>
              <a:gd name="connsiteY167" fmla="*/ 23735 h 1088769"/>
              <a:gd name="connsiteX168" fmla="*/ 8166633 w 11823056"/>
              <a:gd name="connsiteY168" fmla="*/ 1064832 h 1088769"/>
              <a:gd name="connsiteX169" fmla="*/ 8343950 w 11823056"/>
              <a:gd name="connsiteY169" fmla="*/ 1064832 h 1088769"/>
              <a:gd name="connsiteX170" fmla="*/ 8343950 w 11823056"/>
              <a:gd name="connsiteY170" fmla="*/ 584451 h 1088769"/>
              <a:gd name="connsiteX171" fmla="*/ 8492774 w 11823056"/>
              <a:gd name="connsiteY171" fmla="*/ 410393 h 1088769"/>
              <a:gd name="connsiteX172" fmla="*/ 8620483 w 11823056"/>
              <a:gd name="connsiteY172" fmla="*/ 556253 h 1088769"/>
              <a:gd name="connsiteX173" fmla="*/ 8620483 w 11823056"/>
              <a:gd name="connsiteY173" fmla="*/ 1064832 h 1088769"/>
              <a:gd name="connsiteX174" fmla="*/ 8797800 w 11823056"/>
              <a:gd name="connsiteY174" fmla="*/ 1064832 h 1088769"/>
              <a:gd name="connsiteX175" fmla="*/ 8797800 w 11823056"/>
              <a:gd name="connsiteY175" fmla="*/ 554630 h 1088769"/>
              <a:gd name="connsiteX176" fmla="*/ 8560421 w 11823056"/>
              <a:gd name="connsiteY176" fmla="*/ 306324 h 1088769"/>
              <a:gd name="connsiteX177" fmla="*/ 8352970 w 11823056"/>
              <a:gd name="connsiteY177" fmla="*/ 414856 h 1088769"/>
              <a:gd name="connsiteX178" fmla="*/ 8343950 w 11823056"/>
              <a:gd name="connsiteY178" fmla="*/ 414856 h 1088769"/>
              <a:gd name="connsiteX179" fmla="*/ 8343950 w 11823056"/>
              <a:gd name="connsiteY179" fmla="*/ 23735 h 1088769"/>
              <a:gd name="connsiteX180" fmla="*/ 5882214 w 11823056"/>
              <a:gd name="connsiteY180" fmla="*/ 980035 h 1088769"/>
              <a:gd name="connsiteX181" fmla="*/ 5649345 w 11823056"/>
              <a:gd name="connsiteY181" fmla="*/ 740656 h 1088769"/>
              <a:gd name="connsiteX182" fmla="*/ 5740976 w 11823056"/>
              <a:gd name="connsiteY182" fmla="*/ 551790 h 1088769"/>
              <a:gd name="connsiteX183" fmla="*/ 6080646 w 11823056"/>
              <a:gd name="connsiteY183" fmla="*/ 919176 h 1088769"/>
              <a:gd name="connsiteX184" fmla="*/ 5882214 w 11823056"/>
              <a:gd name="connsiteY184" fmla="*/ 980035 h 1088769"/>
              <a:gd name="connsiteX185" fmla="*/ 6212865 w 11823056"/>
              <a:gd name="connsiteY185" fmla="*/ 797052 h 1088769"/>
              <a:gd name="connsiteX186" fmla="*/ 5918293 w 11823056"/>
              <a:gd name="connsiteY186" fmla="*/ 475716 h 1088769"/>
              <a:gd name="connsiteX187" fmla="*/ 6064042 w 11823056"/>
              <a:gd name="connsiteY187" fmla="*/ 447518 h 1088769"/>
              <a:gd name="connsiteX188" fmla="*/ 6260833 w 11823056"/>
              <a:gd name="connsiteY188" fmla="*/ 638007 h 1088769"/>
              <a:gd name="connsiteX189" fmla="*/ 6212865 w 11823056"/>
              <a:gd name="connsiteY189" fmla="*/ 797052 h 1088769"/>
              <a:gd name="connsiteX190" fmla="*/ 5877705 w 11823056"/>
              <a:gd name="connsiteY190" fmla="*/ 432708 h 1088769"/>
              <a:gd name="connsiteX191" fmla="*/ 5813132 w 11823056"/>
              <a:gd name="connsiteY191" fmla="*/ 361300 h 1088769"/>
              <a:gd name="connsiteX192" fmla="*/ 5739541 w 11823056"/>
              <a:gd name="connsiteY192" fmla="*/ 214021 h 1088769"/>
              <a:gd name="connsiteX193" fmla="*/ 5882214 w 11823056"/>
              <a:gd name="connsiteY193" fmla="*/ 78711 h 1088769"/>
              <a:gd name="connsiteX194" fmla="*/ 6023453 w 11823056"/>
              <a:gd name="connsiteY194" fmla="*/ 221527 h 1088769"/>
              <a:gd name="connsiteX195" fmla="*/ 5877705 w 11823056"/>
              <a:gd name="connsiteY195" fmla="*/ 432708 h 1088769"/>
              <a:gd name="connsiteX196" fmla="*/ 5886724 w 11823056"/>
              <a:gd name="connsiteY196" fmla="*/ 0 h 1088769"/>
              <a:gd name="connsiteX197" fmla="*/ 5577188 w 11823056"/>
              <a:gd name="connsiteY197" fmla="*/ 257231 h 1088769"/>
              <a:gd name="connsiteX198" fmla="*/ 5697518 w 11823056"/>
              <a:gd name="connsiteY198" fmla="*/ 505537 h 1088769"/>
              <a:gd name="connsiteX199" fmla="*/ 5698952 w 11823056"/>
              <a:gd name="connsiteY199" fmla="*/ 508580 h 1088769"/>
              <a:gd name="connsiteX200" fmla="*/ 5484122 w 11823056"/>
              <a:gd name="connsiteY200" fmla="*/ 807601 h 1088769"/>
              <a:gd name="connsiteX201" fmla="*/ 5786279 w 11823056"/>
              <a:gd name="connsiteY201" fmla="*/ 1088770 h 1088769"/>
              <a:gd name="connsiteX202" fmla="*/ 6125949 w 11823056"/>
              <a:gd name="connsiteY202" fmla="*/ 968269 h 1088769"/>
              <a:gd name="connsiteX203" fmla="*/ 6216145 w 11823056"/>
              <a:gd name="connsiteY203" fmla="*/ 1065035 h 1088769"/>
              <a:gd name="connsiteX204" fmla="*/ 6452089 w 11823056"/>
              <a:gd name="connsiteY204" fmla="*/ 1065035 h 1088769"/>
              <a:gd name="connsiteX205" fmla="*/ 6452089 w 11823056"/>
              <a:gd name="connsiteY205" fmla="*/ 1057529 h 1088769"/>
              <a:gd name="connsiteX206" fmla="*/ 6259808 w 11823056"/>
              <a:gd name="connsiteY206" fmla="*/ 847768 h 1088769"/>
              <a:gd name="connsiteX207" fmla="*/ 6387517 w 11823056"/>
              <a:gd name="connsiteY207" fmla="*/ 557673 h 1088769"/>
              <a:gd name="connsiteX208" fmla="*/ 6190726 w 11823056"/>
              <a:gd name="connsiteY208" fmla="*/ 368806 h 1088769"/>
              <a:gd name="connsiteX209" fmla="*/ 6010334 w 11823056"/>
              <a:gd name="connsiteY209" fmla="*/ 404510 h 1088769"/>
              <a:gd name="connsiteX210" fmla="*/ 6007259 w 11823056"/>
              <a:gd name="connsiteY210" fmla="*/ 398627 h 1088769"/>
              <a:gd name="connsiteX211" fmla="*/ 6169612 w 11823056"/>
              <a:gd name="connsiteY211" fmla="*/ 202255 h 1088769"/>
              <a:gd name="connsiteX212" fmla="*/ 5886724 w 11823056"/>
              <a:gd name="connsiteY212" fmla="*/ 0 h 1088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11823056" h="1088769">
                <a:moveTo>
                  <a:pt x="1169268" y="997887"/>
                </a:moveTo>
                <a:cubicBezTo>
                  <a:pt x="1053448" y="997887"/>
                  <a:pt x="988876" y="889355"/>
                  <a:pt x="988876" y="692983"/>
                </a:cubicBezTo>
                <a:cubicBezTo>
                  <a:pt x="988876" y="493568"/>
                  <a:pt x="1053448" y="388078"/>
                  <a:pt x="1169268" y="388078"/>
                </a:cubicBezTo>
                <a:cubicBezTo>
                  <a:pt x="1285088" y="388078"/>
                  <a:pt x="1349660" y="495191"/>
                  <a:pt x="1349660" y="692983"/>
                </a:cubicBezTo>
                <a:cubicBezTo>
                  <a:pt x="1349455" y="892398"/>
                  <a:pt x="1284883" y="997887"/>
                  <a:pt x="1169268" y="997887"/>
                </a:cubicBezTo>
                <a:moveTo>
                  <a:pt x="1169268" y="306324"/>
                </a:moveTo>
                <a:cubicBezTo>
                  <a:pt x="933324" y="306324"/>
                  <a:pt x="802539" y="480381"/>
                  <a:pt x="802539" y="692983"/>
                </a:cubicBezTo>
                <a:cubicBezTo>
                  <a:pt x="802539" y="905584"/>
                  <a:pt x="933324" y="1079641"/>
                  <a:pt x="1169268" y="1079641"/>
                </a:cubicBezTo>
                <a:cubicBezTo>
                  <a:pt x="1405213" y="1079641"/>
                  <a:pt x="1535997" y="905584"/>
                  <a:pt x="1535997" y="692983"/>
                </a:cubicBezTo>
                <a:cubicBezTo>
                  <a:pt x="1535997" y="480381"/>
                  <a:pt x="1405213" y="306324"/>
                  <a:pt x="1169268" y="306324"/>
                </a:cubicBezTo>
                <a:moveTo>
                  <a:pt x="2808786" y="306324"/>
                </a:moveTo>
                <a:cubicBezTo>
                  <a:pt x="2697476" y="306324"/>
                  <a:pt x="2635978" y="353997"/>
                  <a:pt x="2601335" y="414856"/>
                </a:cubicBezTo>
                <a:lnTo>
                  <a:pt x="2592315" y="414856"/>
                </a:lnTo>
                <a:lnTo>
                  <a:pt x="2592315" y="321133"/>
                </a:lnTo>
                <a:lnTo>
                  <a:pt x="2414998" y="321133"/>
                </a:lnTo>
                <a:lnTo>
                  <a:pt x="2414998" y="1064832"/>
                </a:lnTo>
                <a:lnTo>
                  <a:pt x="2592315" y="1064832"/>
                </a:lnTo>
                <a:lnTo>
                  <a:pt x="2592315" y="584451"/>
                </a:lnTo>
                <a:cubicBezTo>
                  <a:pt x="2592315" y="474498"/>
                  <a:pt x="2649508" y="410393"/>
                  <a:pt x="2741139" y="410393"/>
                </a:cubicBezTo>
                <a:cubicBezTo>
                  <a:pt x="2829900" y="410393"/>
                  <a:pt x="2868848" y="468413"/>
                  <a:pt x="2868848" y="556253"/>
                </a:cubicBezTo>
                <a:lnTo>
                  <a:pt x="2868848" y="1064832"/>
                </a:lnTo>
                <a:lnTo>
                  <a:pt x="3046165" y="1064832"/>
                </a:lnTo>
                <a:lnTo>
                  <a:pt x="3046165" y="554630"/>
                </a:lnTo>
                <a:cubicBezTo>
                  <a:pt x="3046370" y="401467"/>
                  <a:pt x="2965194" y="306324"/>
                  <a:pt x="2808786" y="306324"/>
                </a:cubicBezTo>
                <a:moveTo>
                  <a:pt x="3448972" y="306324"/>
                </a:moveTo>
                <a:cubicBezTo>
                  <a:pt x="3285185" y="306324"/>
                  <a:pt x="3161985" y="374689"/>
                  <a:pt x="3161985" y="520548"/>
                </a:cubicBezTo>
                <a:cubicBezTo>
                  <a:pt x="3161985" y="644093"/>
                  <a:pt x="3247671" y="711038"/>
                  <a:pt x="3343812" y="734773"/>
                </a:cubicBezTo>
                <a:lnTo>
                  <a:pt x="3494070" y="771897"/>
                </a:lnTo>
                <a:cubicBezTo>
                  <a:pt x="3573812" y="791169"/>
                  <a:pt x="3609890" y="819570"/>
                  <a:pt x="3609890" y="882052"/>
                </a:cubicBezTo>
                <a:cubicBezTo>
                  <a:pt x="3609890" y="957923"/>
                  <a:pt x="3555773" y="1001133"/>
                  <a:pt x="3461067" y="1001133"/>
                </a:cubicBezTo>
                <a:cubicBezTo>
                  <a:pt x="3358776" y="1001133"/>
                  <a:pt x="3306299" y="952040"/>
                  <a:pt x="3289694" y="828699"/>
                </a:cubicBezTo>
                <a:lnTo>
                  <a:pt x="3130416" y="873329"/>
                </a:lnTo>
                <a:cubicBezTo>
                  <a:pt x="3139436" y="1001336"/>
                  <a:pt x="3259766" y="1080047"/>
                  <a:pt x="3441593" y="1080047"/>
                </a:cubicBezTo>
                <a:cubicBezTo>
                  <a:pt x="3644534" y="1080047"/>
                  <a:pt x="3754204" y="986324"/>
                  <a:pt x="3754204" y="837625"/>
                </a:cubicBezTo>
                <a:cubicBezTo>
                  <a:pt x="3754204" y="697851"/>
                  <a:pt x="3656423" y="639832"/>
                  <a:pt x="3554338" y="614474"/>
                </a:cubicBezTo>
                <a:lnTo>
                  <a:pt x="3410024" y="578770"/>
                </a:lnTo>
                <a:cubicBezTo>
                  <a:pt x="3337867" y="560918"/>
                  <a:pt x="3306299" y="528257"/>
                  <a:pt x="3306299" y="480584"/>
                </a:cubicBezTo>
                <a:cubicBezTo>
                  <a:pt x="3306299" y="421145"/>
                  <a:pt x="3357341" y="385441"/>
                  <a:pt x="3434008" y="385441"/>
                </a:cubicBezTo>
                <a:cubicBezTo>
                  <a:pt x="3524204" y="385441"/>
                  <a:pt x="3579756" y="434534"/>
                  <a:pt x="3587341" y="528257"/>
                </a:cubicBezTo>
                <a:lnTo>
                  <a:pt x="3737599" y="483627"/>
                </a:lnTo>
                <a:cubicBezTo>
                  <a:pt x="3719560" y="379152"/>
                  <a:pt x="3615835" y="306324"/>
                  <a:pt x="3448972" y="306324"/>
                </a:cubicBezTo>
                <a:moveTo>
                  <a:pt x="4194524" y="997887"/>
                </a:moveTo>
                <a:cubicBezTo>
                  <a:pt x="4078704" y="997887"/>
                  <a:pt x="4014132" y="889355"/>
                  <a:pt x="4014132" y="692983"/>
                </a:cubicBezTo>
                <a:cubicBezTo>
                  <a:pt x="4014132" y="493568"/>
                  <a:pt x="4078704" y="388078"/>
                  <a:pt x="4194524" y="388078"/>
                </a:cubicBezTo>
                <a:cubicBezTo>
                  <a:pt x="4310344" y="388078"/>
                  <a:pt x="4374916" y="495191"/>
                  <a:pt x="4374916" y="692983"/>
                </a:cubicBezTo>
                <a:cubicBezTo>
                  <a:pt x="4374916" y="892398"/>
                  <a:pt x="4310139" y="997887"/>
                  <a:pt x="4194524" y="997887"/>
                </a:cubicBezTo>
                <a:moveTo>
                  <a:pt x="4194524" y="306324"/>
                </a:moveTo>
                <a:cubicBezTo>
                  <a:pt x="3958580" y="306324"/>
                  <a:pt x="3827796" y="480381"/>
                  <a:pt x="3827796" y="692983"/>
                </a:cubicBezTo>
                <a:cubicBezTo>
                  <a:pt x="3827796" y="905584"/>
                  <a:pt x="3958580" y="1079641"/>
                  <a:pt x="4194524" y="1079641"/>
                </a:cubicBezTo>
                <a:cubicBezTo>
                  <a:pt x="4430469" y="1079641"/>
                  <a:pt x="4561253" y="905584"/>
                  <a:pt x="4561253" y="692983"/>
                </a:cubicBezTo>
                <a:cubicBezTo>
                  <a:pt x="4561253" y="480381"/>
                  <a:pt x="4430469" y="306324"/>
                  <a:pt x="4194524" y="306324"/>
                </a:cubicBezTo>
                <a:moveTo>
                  <a:pt x="5060201" y="306324"/>
                </a:moveTo>
                <a:cubicBezTo>
                  <a:pt x="4948891" y="306324"/>
                  <a:pt x="4887394" y="353997"/>
                  <a:pt x="4852750" y="414856"/>
                </a:cubicBezTo>
                <a:lnTo>
                  <a:pt x="4843731" y="414856"/>
                </a:lnTo>
                <a:lnTo>
                  <a:pt x="4843731" y="321133"/>
                </a:lnTo>
                <a:lnTo>
                  <a:pt x="4666414" y="321133"/>
                </a:lnTo>
                <a:lnTo>
                  <a:pt x="4666414" y="1064832"/>
                </a:lnTo>
                <a:lnTo>
                  <a:pt x="4843731" y="1064832"/>
                </a:lnTo>
                <a:lnTo>
                  <a:pt x="4843731" y="584451"/>
                </a:lnTo>
                <a:cubicBezTo>
                  <a:pt x="4843731" y="474498"/>
                  <a:pt x="4900923" y="410393"/>
                  <a:pt x="4992554" y="410393"/>
                </a:cubicBezTo>
                <a:cubicBezTo>
                  <a:pt x="5081315" y="410393"/>
                  <a:pt x="5120263" y="468413"/>
                  <a:pt x="5120263" y="556253"/>
                </a:cubicBezTo>
                <a:lnTo>
                  <a:pt x="5120263" y="1064832"/>
                </a:lnTo>
                <a:lnTo>
                  <a:pt x="5297580" y="1064832"/>
                </a:lnTo>
                <a:lnTo>
                  <a:pt x="5297580" y="554630"/>
                </a:lnTo>
                <a:cubicBezTo>
                  <a:pt x="5297580" y="401467"/>
                  <a:pt x="5216404" y="306324"/>
                  <a:pt x="5060201" y="306324"/>
                </a:cubicBezTo>
                <a:moveTo>
                  <a:pt x="7694744" y="997887"/>
                </a:moveTo>
                <a:cubicBezTo>
                  <a:pt x="7578925" y="997887"/>
                  <a:pt x="7514353" y="889355"/>
                  <a:pt x="7514353" y="692983"/>
                </a:cubicBezTo>
                <a:cubicBezTo>
                  <a:pt x="7514353" y="493568"/>
                  <a:pt x="7578925" y="388078"/>
                  <a:pt x="7694744" y="388078"/>
                </a:cubicBezTo>
                <a:cubicBezTo>
                  <a:pt x="7810564" y="388078"/>
                  <a:pt x="7875136" y="495191"/>
                  <a:pt x="7875136" y="692983"/>
                </a:cubicBezTo>
                <a:cubicBezTo>
                  <a:pt x="7875136" y="892398"/>
                  <a:pt x="7810359" y="997887"/>
                  <a:pt x="7694744" y="997887"/>
                </a:cubicBezTo>
                <a:moveTo>
                  <a:pt x="7694744" y="306324"/>
                </a:moveTo>
                <a:cubicBezTo>
                  <a:pt x="7458800" y="306324"/>
                  <a:pt x="7328015" y="480381"/>
                  <a:pt x="7328015" y="692983"/>
                </a:cubicBezTo>
                <a:cubicBezTo>
                  <a:pt x="7328015" y="905584"/>
                  <a:pt x="7458800" y="1079641"/>
                  <a:pt x="7694744" y="1079641"/>
                </a:cubicBezTo>
                <a:cubicBezTo>
                  <a:pt x="7930689" y="1079641"/>
                  <a:pt x="8061473" y="905584"/>
                  <a:pt x="8061473" y="692983"/>
                </a:cubicBezTo>
                <a:cubicBezTo>
                  <a:pt x="8061473" y="480381"/>
                  <a:pt x="7930689" y="306324"/>
                  <a:pt x="7694744" y="306324"/>
                </a:cubicBezTo>
                <a:moveTo>
                  <a:pt x="9334262" y="306324"/>
                </a:moveTo>
                <a:cubicBezTo>
                  <a:pt x="9222951" y="306324"/>
                  <a:pt x="9161454" y="353997"/>
                  <a:pt x="9126810" y="414856"/>
                </a:cubicBezTo>
                <a:lnTo>
                  <a:pt x="9117791" y="414856"/>
                </a:lnTo>
                <a:lnTo>
                  <a:pt x="9117791" y="321133"/>
                </a:lnTo>
                <a:lnTo>
                  <a:pt x="8940474" y="321133"/>
                </a:lnTo>
                <a:lnTo>
                  <a:pt x="8940474" y="1064832"/>
                </a:lnTo>
                <a:lnTo>
                  <a:pt x="9117791" y="1064832"/>
                </a:lnTo>
                <a:lnTo>
                  <a:pt x="9117791" y="584451"/>
                </a:lnTo>
                <a:cubicBezTo>
                  <a:pt x="9117791" y="474498"/>
                  <a:pt x="9174983" y="410393"/>
                  <a:pt x="9266614" y="410393"/>
                </a:cubicBezTo>
                <a:cubicBezTo>
                  <a:pt x="9355376" y="410393"/>
                  <a:pt x="9394324" y="468413"/>
                  <a:pt x="9394324" y="556253"/>
                </a:cubicBezTo>
                <a:lnTo>
                  <a:pt x="9394324" y="1064832"/>
                </a:lnTo>
                <a:lnTo>
                  <a:pt x="9571641" y="1064832"/>
                </a:lnTo>
                <a:lnTo>
                  <a:pt x="9571641" y="554630"/>
                </a:lnTo>
                <a:cubicBezTo>
                  <a:pt x="9571846" y="401467"/>
                  <a:pt x="9490669" y="306324"/>
                  <a:pt x="9334262" y="306324"/>
                </a:cubicBezTo>
                <a:moveTo>
                  <a:pt x="9974653" y="306324"/>
                </a:moveTo>
                <a:cubicBezTo>
                  <a:pt x="9810865" y="306324"/>
                  <a:pt x="9687666" y="374689"/>
                  <a:pt x="9687666" y="520548"/>
                </a:cubicBezTo>
                <a:cubicBezTo>
                  <a:pt x="9687666" y="644093"/>
                  <a:pt x="9773352" y="711038"/>
                  <a:pt x="9869493" y="734773"/>
                </a:cubicBezTo>
                <a:lnTo>
                  <a:pt x="10019751" y="771897"/>
                </a:lnTo>
                <a:cubicBezTo>
                  <a:pt x="10099492" y="791169"/>
                  <a:pt x="10135571" y="819570"/>
                  <a:pt x="10135571" y="882052"/>
                </a:cubicBezTo>
                <a:cubicBezTo>
                  <a:pt x="10135571" y="957923"/>
                  <a:pt x="10081453" y="1001133"/>
                  <a:pt x="9986747" y="1001133"/>
                </a:cubicBezTo>
                <a:cubicBezTo>
                  <a:pt x="9884457" y="1001133"/>
                  <a:pt x="9831980" y="952040"/>
                  <a:pt x="9815375" y="828699"/>
                </a:cubicBezTo>
                <a:lnTo>
                  <a:pt x="9656097" y="873329"/>
                </a:lnTo>
                <a:cubicBezTo>
                  <a:pt x="9665117" y="1001336"/>
                  <a:pt x="9785446" y="1080047"/>
                  <a:pt x="9967273" y="1080047"/>
                </a:cubicBezTo>
                <a:cubicBezTo>
                  <a:pt x="10170215" y="1080047"/>
                  <a:pt x="10279884" y="986324"/>
                  <a:pt x="10279884" y="837625"/>
                </a:cubicBezTo>
                <a:cubicBezTo>
                  <a:pt x="10279884" y="697851"/>
                  <a:pt x="10182104" y="639832"/>
                  <a:pt x="10080018" y="614474"/>
                </a:cubicBezTo>
                <a:lnTo>
                  <a:pt x="9935705" y="578770"/>
                </a:lnTo>
                <a:cubicBezTo>
                  <a:pt x="9863548" y="560918"/>
                  <a:pt x="9831980" y="528257"/>
                  <a:pt x="9831980" y="480584"/>
                </a:cubicBezTo>
                <a:cubicBezTo>
                  <a:pt x="9831980" y="421145"/>
                  <a:pt x="9883022" y="385441"/>
                  <a:pt x="9959688" y="385441"/>
                </a:cubicBezTo>
                <a:cubicBezTo>
                  <a:pt x="10049884" y="385441"/>
                  <a:pt x="10105437" y="434534"/>
                  <a:pt x="10113022" y="528257"/>
                </a:cubicBezTo>
                <a:lnTo>
                  <a:pt x="10263280" y="483627"/>
                </a:lnTo>
                <a:cubicBezTo>
                  <a:pt x="10245036" y="379152"/>
                  <a:pt x="10141311" y="306324"/>
                  <a:pt x="9974653" y="306324"/>
                </a:cubicBezTo>
                <a:moveTo>
                  <a:pt x="10720000" y="997887"/>
                </a:moveTo>
                <a:cubicBezTo>
                  <a:pt x="10604180" y="997887"/>
                  <a:pt x="10539607" y="889355"/>
                  <a:pt x="10539607" y="692983"/>
                </a:cubicBezTo>
                <a:cubicBezTo>
                  <a:pt x="10539607" y="493568"/>
                  <a:pt x="10604180" y="388078"/>
                  <a:pt x="10720000" y="388078"/>
                </a:cubicBezTo>
                <a:cubicBezTo>
                  <a:pt x="10835819" y="388078"/>
                  <a:pt x="10900392" y="495191"/>
                  <a:pt x="10900392" y="692983"/>
                </a:cubicBezTo>
                <a:cubicBezTo>
                  <a:pt x="10900392" y="892398"/>
                  <a:pt x="10835614" y="997887"/>
                  <a:pt x="10720000" y="997887"/>
                </a:cubicBezTo>
                <a:moveTo>
                  <a:pt x="10720000" y="306324"/>
                </a:moveTo>
                <a:cubicBezTo>
                  <a:pt x="10484056" y="306324"/>
                  <a:pt x="10353271" y="480381"/>
                  <a:pt x="10353271" y="692983"/>
                </a:cubicBezTo>
                <a:cubicBezTo>
                  <a:pt x="10353271" y="905584"/>
                  <a:pt x="10484056" y="1079641"/>
                  <a:pt x="10720000" y="1079641"/>
                </a:cubicBezTo>
                <a:cubicBezTo>
                  <a:pt x="10955945" y="1079641"/>
                  <a:pt x="11086728" y="905584"/>
                  <a:pt x="11086728" y="692983"/>
                </a:cubicBezTo>
                <a:cubicBezTo>
                  <a:pt x="11086728" y="480381"/>
                  <a:pt x="10955945" y="306324"/>
                  <a:pt x="10720000" y="306324"/>
                </a:cubicBezTo>
                <a:moveTo>
                  <a:pt x="11585677" y="306324"/>
                </a:moveTo>
                <a:cubicBezTo>
                  <a:pt x="11474367" y="306324"/>
                  <a:pt x="11412869" y="353997"/>
                  <a:pt x="11378226" y="414856"/>
                </a:cubicBezTo>
                <a:lnTo>
                  <a:pt x="11369206" y="414856"/>
                </a:lnTo>
                <a:lnTo>
                  <a:pt x="11369206" y="321133"/>
                </a:lnTo>
                <a:lnTo>
                  <a:pt x="11191889" y="321133"/>
                </a:lnTo>
                <a:lnTo>
                  <a:pt x="11191889" y="1064832"/>
                </a:lnTo>
                <a:lnTo>
                  <a:pt x="11369206" y="1064832"/>
                </a:lnTo>
                <a:lnTo>
                  <a:pt x="11369206" y="584451"/>
                </a:lnTo>
                <a:cubicBezTo>
                  <a:pt x="11369206" y="474498"/>
                  <a:pt x="11426398" y="410393"/>
                  <a:pt x="11518030" y="410393"/>
                </a:cubicBezTo>
                <a:cubicBezTo>
                  <a:pt x="11606791" y="410393"/>
                  <a:pt x="11645739" y="468413"/>
                  <a:pt x="11645739" y="556253"/>
                </a:cubicBezTo>
                <a:lnTo>
                  <a:pt x="11645739" y="1064832"/>
                </a:lnTo>
                <a:lnTo>
                  <a:pt x="11823056" y="1064832"/>
                </a:lnTo>
                <a:lnTo>
                  <a:pt x="11823056" y="554630"/>
                </a:lnTo>
                <a:cubicBezTo>
                  <a:pt x="11823056" y="401467"/>
                  <a:pt x="11741880" y="306324"/>
                  <a:pt x="11585677" y="306324"/>
                </a:cubicBezTo>
                <a:moveTo>
                  <a:pt x="697379" y="23735"/>
                </a:moveTo>
                <a:lnTo>
                  <a:pt x="511042" y="23735"/>
                </a:lnTo>
                <a:lnTo>
                  <a:pt x="511042" y="792589"/>
                </a:lnTo>
                <a:cubicBezTo>
                  <a:pt x="511042" y="917553"/>
                  <a:pt x="462869" y="991801"/>
                  <a:pt x="348690" y="991801"/>
                </a:cubicBezTo>
                <a:cubicBezTo>
                  <a:pt x="235945" y="991801"/>
                  <a:pt x="186337" y="912887"/>
                  <a:pt x="186337" y="777577"/>
                </a:cubicBezTo>
                <a:lnTo>
                  <a:pt x="186337" y="634761"/>
                </a:lnTo>
                <a:lnTo>
                  <a:pt x="0" y="680811"/>
                </a:lnTo>
                <a:lnTo>
                  <a:pt x="0" y="744713"/>
                </a:lnTo>
                <a:cubicBezTo>
                  <a:pt x="0" y="939462"/>
                  <a:pt x="97781" y="1088364"/>
                  <a:pt x="348690" y="1088364"/>
                </a:cubicBezTo>
                <a:cubicBezTo>
                  <a:pt x="599598" y="1088364"/>
                  <a:pt x="697379" y="939665"/>
                  <a:pt x="697379" y="744713"/>
                </a:cubicBezTo>
                <a:lnTo>
                  <a:pt x="697379" y="23735"/>
                </a:lnTo>
                <a:moveTo>
                  <a:pt x="1818474" y="23735"/>
                </a:moveTo>
                <a:lnTo>
                  <a:pt x="1641157" y="23735"/>
                </a:lnTo>
                <a:lnTo>
                  <a:pt x="1641157" y="1064832"/>
                </a:lnTo>
                <a:lnTo>
                  <a:pt x="1818474" y="1064832"/>
                </a:lnTo>
                <a:lnTo>
                  <a:pt x="1818474" y="584451"/>
                </a:lnTo>
                <a:cubicBezTo>
                  <a:pt x="1818474" y="474498"/>
                  <a:pt x="1875667" y="410393"/>
                  <a:pt x="1967298" y="410393"/>
                </a:cubicBezTo>
                <a:cubicBezTo>
                  <a:pt x="2056059" y="410393"/>
                  <a:pt x="2095007" y="468413"/>
                  <a:pt x="2095007" y="556253"/>
                </a:cubicBezTo>
                <a:lnTo>
                  <a:pt x="2095007" y="1064832"/>
                </a:lnTo>
                <a:lnTo>
                  <a:pt x="2272324" y="1064832"/>
                </a:lnTo>
                <a:lnTo>
                  <a:pt x="2272324" y="554630"/>
                </a:lnTo>
                <a:cubicBezTo>
                  <a:pt x="2272324" y="401467"/>
                  <a:pt x="2191148" y="306324"/>
                  <a:pt x="2034945" y="306324"/>
                </a:cubicBezTo>
                <a:cubicBezTo>
                  <a:pt x="1923635" y="306324"/>
                  <a:pt x="1862138" y="353997"/>
                  <a:pt x="1827494" y="414856"/>
                </a:cubicBezTo>
                <a:lnTo>
                  <a:pt x="1818474" y="414856"/>
                </a:lnTo>
                <a:lnTo>
                  <a:pt x="1818474" y="23735"/>
                </a:lnTo>
                <a:moveTo>
                  <a:pt x="7222855" y="23735"/>
                </a:moveTo>
                <a:lnTo>
                  <a:pt x="7036518" y="23735"/>
                </a:lnTo>
                <a:lnTo>
                  <a:pt x="7036518" y="792589"/>
                </a:lnTo>
                <a:cubicBezTo>
                  <a:pt x="7036518" y="917553"/>
                  <a:pt x="6988346" y="991801"/>
                  <a:pt x="6874166" y="991801"/>
                </a:cubicBezTo>
                <a:cubicBezTo>
                  <a:pt x="6761421" y="991801"/>
                  <a:pt x="6711813" y="912887"/>
                  <a:pt x="6711813" y="777577"/>
                </a:cubicBezTo>
                <a:lnTo>
                  <a:pt x="6711813" y="634761"/>
                </a:lnTo>
                <a:lnTo>
                  <a:pt x="6525476" y="680811"/>
                </a:lnTo>
                <a:lnTo>
                  <a:pt x="6525476" y="744713"/>
                </a:lnTo>
                <a:cubicBezTo>
                  <a:pt x="6525476" y="939462"/>
                  <a:pt x="6623257" y="1088364"/>
                  <a:pt x="6874166" y="1088364"/>
                </a:cubicBezTo>
                <a:cubicBezTo>
                  <a:pt x="7125074" y="1088364"/>
                  <a:pt x="7222855" y="939665"/>
                  <a:pt x="7222855" y="744713"/>
                </a:cubicBezTo>
                <a:lnTo>
                  <a:pt x="7222855" y="23735"/>
                </a:lnTo>
                <a:moveTo>
                  <a:pt x="8343950" y="23735"/>
                </a:moveTo>
                <a:lnTo>
                  <a:pt x="8166633" y="23735"/>
                </a:lnTo>
                <a:lnTo>
                  <a:pt x="8166633" y="1064832"/>
                </a:lnTo>
                <a:lnTo>
                  <a:pt x="8343950" y="1064832"/>
                </a:lnTo>
                <a:lnTo>
                  <a:pt x="8343950" y="584451"/>
                </a:lnTo>
                <a:cubicBezTo>
                  <a:pt x="8343950" y="474498"/>
                  <a:pt x="8401143" y="410393"/>
                  <a:pt x="8492774" y="410393"/>
                </a:cubicBezTo>
                <a:cubicBezTo>
                  <a:pt x="8581535" y="410393"/>
                  <a:pt x="8620483" y="468413"/>
                  <a:pt x="8620483" y="556253"/>
                </a:cubicBezTo>
                <a:lnTo>
                  <a:pt x="8620483" y="1064832"/>
                </a:lnTo>
                <a:lnTo>
                  <a:pt x="8797800" y="1064832"/>
                </a:lnTo>
                <a:lnTo>
                  <a:pt x="8797800" y="554630"/>
                </a:lnTo>
                <a:cubicBezTo>
                  <a:pt x="8797800" y="401467"/>
                  <a:pt x="8716624" y="306324"/>
                  <a:pt x="8560421" y="306324"/>
                </a:cubicBezTo>
                <a:cubicBezTo>
                  <a:pt x="8449110" y="306324"/>
                  <a:pt x="8387613" y="353997"/>
                  <a:pt x="8352970" y="414856"/>
                </a:cubicBezTo>
                <a:lnTo>
                  <a:pt x="8343950" y="414856"/>
                </a:lnTo>
                <a:lnTo>
                  <a:pt x="8343950" y="23735"/>
                </a:lnTo>
                <a:moveTo>
                  <a:pt x="5882214" y="980035"/>
                </a:moveTo>
                <a:cubicBezTo>
                  <a:pt x="5737901" y="980035"/>
                  <a:pt x="5649345" y="863997"/>
                  <a:pt x="5649345" y="740656"/>
                </a:cubicBezTo>
                <a:cubicBezTo>
                  <a:pt x="5649345" y="663365"/>
                  <a:pt x="5683988" y="591957"/>
                  <a:pt x="5740976" y="551790"/>
                </a:cubicBezTo>
                <a:lnTo>
                  <a:pt x="6080646" y="919176"/>
                </a:lnTo>
                <a:cubicBezTo>
                  <a:pt x="6017508" y="956300"/>
                  <a:pt x="5946787" y="980035"/>
                  <a:pt x="5882214" y="980035"/>
                </a:cubicBezTo>
                <a:moveTo>
                  <a:pt x="6212865" y="797052"/>
                </a:moveTo>
                <a:lnTo>
                  <a:pt x="5918293" y="475716"/>
                </a:lnTo>
                <a:cubicBezTo>
                  <a:pt x="5970976" y="454821"/>
                  <a:pt x="6022018" y="447518"/>
                  <a:pt x="6064042" y="447518"/>
                </a:cubicBezTo>
                <a:cubicBezTo>
                  <a:pt x="6185806" y="447518"/>
                  <a:pt x="6260833" y="517506"/>
                  <a:pt x="6260833" y="638007"/>
                </a:cubicBezTo>
                <a:cubicBezTo>
                  <a:pt x="6261038" y="691563"/>
                  <a:pt x="6245869" y="746539"/>
                  <a:pt x="6212865" y="797052"/>
                </a:cubicBezTo>
                <a:moveTo>
                  <a:pt x="5877705" y="432708"/>
                </a:moveTo>
                <a:lnTo>
                  <a:pt x="5813132" y="361300"/>
                </a:lnTo>
                <a:cubicBezTo>
                  <a:pt x="5755940" y="298818"/>
                  <a:pt x="5739541" y="260071"/>
                  <a:pt x="5739541" y="214021"/>
                </a:cubicBezTo>
                <a:cubicBezTo>
                  <a:pt x="5739541" y="127804"/>
                  <a:pt x="5795093" y="78711"/>
                  <a:pt x="5882214" y="78711"/>
                </a:cubicBezTo>
                <a:cubicBezTo>
                  <a:pt x="5970976" y="78711"/>
                  <a:pt x="6023453" y="129224"/>
                  <a:pt x="6023453" y="221527"/>
                </a:cubicBezTo>
                <a:cubicBezTo>
                  <a:pt x="6023453" y="306324"/>
                  <a:pt x="5981430" y="386658"/>
                  <a:pt x="5877705" y="432708"/>
                </a:cubicBezTo>
                <a:moveTo>
                  <a:pt x="5886724" y="0"/>
                </a:moveTo>
                <a:cubicBezTo>
                  <a:pt x="5679273" y="0"/>
                  <a:pt x="5577188" y="114618"/>
                  <a:pt x="5577188" y="257231"/>
                </a:cubicBezTo>
                <a:cubicBezTo>
                  <a:pt x="5577188" y="334522"/>
                  <a:pt x="5610192" y="412016"/>
                  <a:pt x="5697518" y="505537"/>
                </a:cubicBezTo>
                <a:lnTo>
                  <a:pt x="5698952" y="508580"/>
                </a:lnTo>
                <a:cubicBezTo>
                  <a:pt x="5551769" y="578568"/>
                  <a:pt x="5484122" y="691563"/>
                  <a:pt x="5484122" y="807601"/>
                </a:cubicBezTo>
                <a:cubicBezTo>
                  <a:pt x="5484122" y="960763"/>
                  <a:pt x="5602812" y="1088770"/>
                  <a:pt x="5786279" y="1088770"/>
                </a:cubicBezTo>
                <a:cubicBezTo>
                  <a:pt x="5891439" y="1088770"/>
                  <a:pt x="6014639" y="1045560"/>
                  <a:pt x="6125949" y="968269"/>
                </a:cubicBezTo>
                <a:lnTo>
                  <a:pt x="6216145" y="1065035"/>
                </a:lnTo>
                <a:lnTo>
                  <a:pt x="6452089" y="1065035"/>
                </a:lnTo>
                <a:lnTo>
                  <a:pt x="6452089" y="1057529"/>
                </a:lnTo>
                <a:lnTo>
                  <a:pt x="6259808" y="847768"/>
                </a:lnTo>
                <a:cubicBezTo>
                  <a:pt x="6340984" y="752625"/>
                  <a:pt x="6387517" y="648556"/>
                  <a:pt x="6387517" y="557673"/>
                </a:cubicBezTo>
                <a:cubicBezTo>
                  <a:pt x="6387517" y="444677"/>
                  <a:pt x="6310850" y="368806"/>
                  <a:pt x="6190726" y="368806"/>
                </a:cubicBezTo>
                <a:cubicBezTo>
                  <a:pt x="6127588" y="368806"/>
                  <a:pt x="6056867" y="386658"/>
                  <a:pt x="6010334" y="404510"/>
                </a:cubicBezTo>
                <a:lnTo>
                  <a:pt x="6007259" y="398627"/>
                </a:lnTo>
                <a:cubicBezTo>
                  <a:pt x="6121439" y="337565"/>
                  <a:pt x="6169612" y="281169"/>
                  <a:pt x="6169612" y="202255"/>
                </a:cubicBezTo>
                <a:cubicBezTo>
                  <a:pt x="6169202" y="89260"/>
                  <a:pt x="6067117" y="0"/>
                  <a:pt x="5886724" y="0"/>
                </a:cubicBezTo>
              </a:path>
            </a:pathLst>
          </a:custGeom>
          <a:solidFill>
            <a:schemeClr val="bg1"/>
          </a:solidFill>
          <a:ln w="20487" cap="flat">
            <a:noFill/>
            <a:prstDash val="solid"/>
            <a:miter/>
          </a:ln>
        </p:spPr>
        <p:txBody>
          <a:bodyPr rtlCol="0" anchor="ctr"/>
          <a:lstStyle/>
          <a:p>
            <a:endParaRPr lang="en-GB"/>
          </a:p>
        </p:txBody>
      </p:sp>
      <p:sp>
        <p:nvSpPr>
          <p:cNvPr id="3" name="Footer Placeholder 4">
            <a:extLst>
              <a:ext uri="{FF2B5EF4-FFF2-40B4-BE49-F238E27FC236}">
                <a16:creationId xmlns:a16="http://schemas.microsoft.com/office/drawing/2014/main" id="{8FADA551-21B1-AE3E-98DC-FF79ED537168}"/>
              </a:ext>
            </a:extLst>
          </p:cNvPr>
          <p:cNvSpPr txBox="1">
            <a:spLocks/>
          </p:cNvSpPr>
          <p:nvPr userDrawn="1"/>
        </p:nvSpPr>
        <p:spPr>
          <a:xfrm>
            <a:off x="10168425" y="427750"/>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0" i="0" kern="1200">
                <a:solidFill>
                  <a:schemeClr val="bg1"/>
                </a:solidFill>
                <a:latin typeface="+mn-lt"/>
                <a:ea typeface="+mn-ea"/>
                <a:cs typeface="+mn-cs"/>
              </a:rPr>
              <a:t>HEALTH CARE COMPLIANCE</a:t>
            </a:r>
          </a:p>
        </p:txBody>
      </p:sp>
    </p:spTree>
    <p:extLst>
      <p:ext uri="{BB962C8B-B14F-4D97-AF65-F5344CB8AC3E}">
        <p14:creationId xmlns:p14="http://schemas.microsoft.com/office/powerpoint/2010/main" val="405047632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35250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15786A-E328-9078-D331-D91ADE28C97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1E19B60-8A38-7683-3F9D-30645510C00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9FD601-DF50-C856-46E1-F6E8D4D3634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18031F42-2ECA-C8B5-8810-7B7F45C6BD1C}"/>
              </a:ext>
            </a:extLst>
          </p:cNvPr>
          <p:cNvSpPr>
            <a:spLocks noGrp="1"/>
          </p:cNvSpPr>
          <p:nvPr>
            <p:ph type="ftr" sz="quarter" idx="11"/>
          </p:nvPr>
        </p:nvSpPr>
        <p:spPr/>
        <p:txBody>
          <a:bodyPr/>
          <a:lstStyle/>
          <a:p>
            <a:r>
              <a:rPr lang="en-US"/>
              <a:t>Job Aid and Guidance Document still under review.</a:t>
            </a:r>
          </a:p>
        </p:txBody>
      </p:sp>
      <p:sp>
        <p:nvSpPr>
          <p:cNvPr id="6" name="Slide Number Placeholder 5">
            <a:extLst>
              <a:ext uri="{FF2B5EF4-FFF2-40B4-BE49-F238E27FC236}">
                <a16:creationId xmlns:a16="http://schemas.microsoft.com/office/drawing/2014/main" id="{7E863859-1D3C-B1C1-C3D0-F2F5B380C3B6}"/>
              </a:ext>
            </a:extLst>
          </p:cNvPr>
          <p:cNvSpPr>
            <a:spLocks noGrp="1"/>
          </p:cNvSpPr>
          <p:nvPr>
            <p:ph type="sldNum" sz="quarter" idx="12"/>
          </p:nvPr>
        </p:nvSpPr>
        <p:spPr/>
        <p:txBody>
          <a:bodyPr/>
          <a:lstStyle/>
          <a:p>
            <a:fld id="{F0A4554C-2AE9-4D0D-B9B9-00942F774D19}" type="slidenum">
              <a:rPr lang="en-US" smtClean="0"/>
              <a:t>‹#›</a:t>
            </a:fld>
            <a:endParaRPr lang="en-US"/>
          </a:p>
        </p:txBody>
      </p:sp>
    </p:spTree>
    <p:extLst>
      <p:ext uri="{BB962C8B-B14F-4D97-AF65-F5344CB8AC3E}">
        <p14:creationId xmlns:p14="http://schemas.microsoft.com/office/powerpoint/2010/main" val="33813690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8169284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1_Title Slide [Accessible Version]">
    <p:bg>
      <p:bgPr>
        <a:solidFill>
          <a:srgbClr val="F6F3F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97A17AB-0114-CDE0-D80E-3AAA53BE4837}"/>
              </a:ext>
            </a:extLst>
          </p:cNvPr>
          <p:cNvSpPr>
            <a:spLocks noGrp="1"/>
          </p:cNvSpPr>
          <p:nvPr>
            <p:ph type="ctrTitle"/>
          </p:nvPr>
        </p:nvSpPr>
        <p:spPr>
          <a:xfrm>
            <a:off x="284806" y="261082"/>
            <a:ext cx="9656119" cy="1938992"/>
          </a:xfrm>
        </p:spPr>
        <p:txBody>
          <a:bodyPr anchor="t"/>
          <a:lstStyle>
            <a:lvl1pPr algn="l">
              <a:lnSpc>
                <a:spcPct val="80000"/>
              </a:lnSpc>
              <a:defRPr sz="7875" b="0" i="0" spc="0" baseline="0">
                <a:solidFill>
                  <a:schemeClr val="tx2"/>
                </a:solidFill>
                <a:latin typeface="+mj-lt"/>
              </a:defRPr>
            </a:lvl1pPr>
          </a:lstStyle>
          <a:p>
            <a:r>
              <a:rPr lang="en-US"/>
              <a:t>Click to edit Master title style</a:t>
            </a:r>
            <a:endParaRPr lang="en-GB"/>
          </a:p>
        </p:txBody>
      </p:sp>
      <p:sp>
        <p:nvSpPr>
          <p:cNvPr id="9" name="Subtitle 2">
            <a:extLst>
              <a:ext uri="{FF2B5EF4-FFF2-40B4-BE49-F238E27FC236}">
                <a16:creationId xmlns:a16="http://schemas.microsoft.com/office/drawing/2014/main" id="{565D7B25-1665-DB97-EC26-F653F638EABF}"/>
              </a:ext>
            </a:extLst>
          </p:cNvPr>
          <p:cNvSpPr>
            <a:spLocks noGrp="1"/>
          </p:cNvSpPr>
          <p:nvPr>
            <p:ph type="subTitle" idx="1" hasCustomPrompt="1"/>
          </p:nvPr>
        </p:nvSpPr>
        <p:spPr>
          <a:xfrm>
            <a:off x="6165851" y="5892920"/>
            <a:ext cx="2795587" cy="717180"/>
          </a:xfrm>
        </p:spPr>
        <p:txBody>
          <a:bodyPr anchor="b"/>
          <a:lstStyle>
            <a:lvl1pPr marL="0" indent="0" algn="l">
              <a:lnSpc>
                <a:spcPct val="100000"/>
              </a:lnSpc>
              <a:spcBef>
                <a:spcPts val="0"/>
              </a:spcBef>
              <a:spcAft>
                <a:spcPts val="0"/>
              </a:spcAft>
              <a:buNone/>
              <a:defRPr sz="105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Supporting details – delete if not required</a:t>
            </a:r>
          </a:p>
        </p:txBody>
      </p:sp>
      <p:sp>
        <p:nvSpPr>
          <p:cNvPr id="10" name="Text Placeholder 31">
            <a:extLst>
              <a:ext uri="{FF2B5EF4-FFF2-40B4-BE49-F238E27FC236}">
                <a16:creationId xmlns:a16="http://schemas.microsoft.com/office/drawing/2014/main" id="{938BB031-45ED-95FB-C1C5-66605571CD90}"/>
              </a:ext>
            </a:extLst>
          </p:cNvPr>
          <p:cNvSpPr>
            <a:spLocks noGrp="1"/>
          </p:cNvSpPr>
          <p:nvPr>
            <p:ph type="body" sz="quarter" idx="10" hasCustomPrompt="1"/>
          </p:nvPr>
        </p:nvSpPr>
        <p:spPr>
          <a:xfrm>
            <a:off x="9104313" y="5892920"/>
            <a:ext cx="2795587" cy="717180"/>
          </a:xfrm>
        </p:spPr>
        <p:txBody>
          <a:bodyPr anchor="b"/>
          <a:lstStyle>
            <a:lvl1pPr>
              <a:lnSpc>
                <a:spcPct val="100000"/>
              </a:lnSpc>
              <a:spcBef>
                <a:spcPts val="0"/>
              </a:spcBef>
              <a:spcAft>
                <a:spcPts val="0"/>
              </a:spcAft>
              <a:defRPr sz="1050">
                <a:solidFill>
                  <a:schemeClr val="tx1"/>
                </a:solidFill>
              </a:defRPr>
            </a:lvl1pPr>
          </a:lstStyle>
          <a:p>
            <a:r>
              <a:rPr lang="en-GB"/>
              <a:t>Supporting details – delete if not required</a:t>
            </a:r>
          </a:p>
        </p:txBody>
      </p:sp>
      <p:sp>
        <p:nvSpPr>
          <p:cNvPr id="2" name="Graphic 3">
            <a:extLst>
              <a:ext uri="{FF2B5EF4-FFF2-40B4-BE49-F238E27FC236}">
                <a16:creationId xmlns:a16="http://schemas.microsoft.com/office/drawing/2014/main" id="{F6FA51BA-59E9-FFE0-09DF-9DB6F0962CC9}"/>
              </a:ext>
            </a:extLst>
          </p:cNvPr>
          <p:cNvSpPr/>
          <p:nvPr userDrawn="1"/>
        </p:nvSpPr>
        <p:spPr>
          <a:xfrm>
            <a:off x="294331" y="6157513"/>
            <a:ext cx="2132373" cy="406800"/>
          </a:xfrm>
          <a:custGeom>
            <a:avLst/>
            <a:gdLst>
              <a:gd name="connsiteX0" fmla="*/ 1397722 w 14842808"/>
              <a:gd name="connsiteY0" fmla="*/ 1202934 h 2831613"/>
              <a:gd name="connsiteX1" fmla="*/ 1182034 w 14842808"/>
              <a:gd name="connsiteY1" fmla="*/ 835550 h 2831613"/>
              <a:gd name="connsiteX2" fmla="*/ 1397722 w 14842808"/>
              <a:gd name="connsiteY2" fmla="*/ 468165 h 2831613"/>
              <a:gd name="connsiteX3" fmla="*/ 1613410 w 14842808"/>
              <a:gd name="connsiteY3" fmla="*/ 835550 h 2831613"/>
              <a:gd name="connsiteX4" fmla="*/ 1397722 w 14842808"/>
              <a:gd name="connsiteY4" fmla="*/ 1202934 h 2831613"/>
              <a:gd name="connsiteX5" fmla="*/ 1397722 w 14842808"/>
              <a:gd name="connsiteY5" fmla="*/ 369441 h 2831613"/>
              <a:gd name="connsiteX6" fmla="*/ 959388 w 14842808"/>
              <a:gd name="connsiteY6" fmla="*/ 835550 h 2831613"/>
              <a:gd name="connsiteX7" fmla="*/ 1397722 w 14842808"/>
              <a:gd name="connsiteY7" fmla="*/ 1301658 h 2831613"/>
              <a:gd name="connsiteX8" fmla="*/ 1836056 w 14842808"/>
              <a:gd name="connsiteY8" fmla="*/ 835550 h 2831613"/>
              <a:gd name="connsiteX9" fmla="*/ 1397722 w 14842808"/>
              <a:gd name="connsiteY9" fmla="*/ 369441 h 2831613"/>
              <a:gd name="connsiteX10" fmla="*/ 3357471 w 14842808"/>
              <a:gd name="connsiteY10" fmla="*/ 369441 h 2831613"/>
              <a:gd name="connsiteX11" fmla="*/ 3109571 w 14842808"/>
              <a:gd name="connsiteY11" fmla="*/ 500301 h 2831613"/>
              <a:gd name="connsiteX12" fmla="*/ 3098748 w 14842808"/>
              <a:gd name="connsiteY12" fmla="*/ 500301 h 2831613"/>
              <a:gd name="connsiteX13" fmla="*/ 3098748 w 14842808"/>
              <a:gd name="connsiteY13" fmla="*/ 387438 h 2831613"/>
              <a:gd name="connsiteX14" fmla="*/ 2886667 w 14842808"/>
              <a:gd name="connsiteY14" fmla="*/ 387438 h 2831613"/>
              <a:gd name="connsiteX15" fmla="*/ 2886667 w 14842808"/>
              <a:gd name="connsiteY15" fmla="*/ 1283661 h 2831613"/>
              <a:gd name="connsiteX16" fmla="*/ 3098748 w 14842808"/>
              <a:gd name="connsiteY16" fmla="*/ 1283661 h 2831613"/>
              <a:gd name="connsiteX17" fmla="*/ 3098748 w 14842808"/>
              <a:gd name="connsiteY17" fmla="*/ 704433 h 2831613"/>
              <a:gd name="connsiteX18" fmla="*/ 3276555 w 14842808"/>
              <a:gd name="connsiteY18" fmla="*/ 494645 h 2831613"/>
              <a:gd name="connsiteX19" fmla="*/ 3429367 w 14842808"/>
              <a:gd name="connsiteY19" fmla="*/ 670239 h 2831613"/>
              <a:gd name="connsiteX20" fmla="*/ 3429367 w 14842808"/>
              <a:gd name="connsiteY20" fmla="*/ 1283147 h 2831613"/>
              <a:gd name="connsiteX21" fmla="*/ 3641447 w 14842808"/>
              <a:gd name="connsiteY21" fmla="*/ 1283147 h 2831613"/>
              <a:gd name="connsiteX22" fmla="*/ 3641447 w 14842808"/>
              <a:gd name="connsiteY22" fmla="*/ 668697 h 2831613"/>
              <a:gd name="connsiteX23" fmla="*/ 3357471 w 14842808"/>
              <a:gd name="connsiteY23" fmla="*/ 369441 h 2831613"/>
              <a:gd name="connsiteX24" fmla="*/ 4122559 w 14842808"/>
              <a:gd name="connsiteY24" fmla="*/ 369441 h 2831613"/>
              <a:gd name="connsiteX25" fmla="*/ 3779312 w 14842808"/>
              <a:gd name="connsiteY25" fmla="*/ 627562 h 2831613"/>
              <a:gd name="connsiteX26" fmla="*/ 3996805 w 14842808"/>
              <a:gd name="connsiteY26" fmla="*/ 885683 h 2831613"/>
              <a:gd name="connsiteX27" fmla="*/ 4176416 w 14842808"/>
              <a:gd name="connsiteY27" fmla="*/ 930417 h 2831613"/>
              <a:gd name="connsiteX28" fmla="*/ 4314797 w 14842808"/>
              <a:gd name="connsiteY28" fmla="*/ 1063076 h 2831613"/>
              <a:gd name="connsiteX29" fmla="*/ 4136989 w 14842808"/>
              <a:gd name="connsiteY29" fmla="*/ 1206534 h 2831613"/>
              <a:gd name="connsiteX30" fmla="*/ 3932124 w 14842808"/>
              <a:gd name="connsiteY30" fmla="*/ 998546 h 2831613"/>
              <a:gd name="connsiteX31" fmla="*/ 3741690 w 14842808"/>
              <a:gd name="connsiteY31" fmla="*/ 1052278 h 2831613"/>
              <a:gd name="connsiteX32" fmla="*/ 4113539 w 14842808"/>
              <a:gd name="connsiteY32" fmla="*/ 1301401 h 2831613"/>
              <a:gd name="connsiteX33" fmla="*/ 4487193 w 14842808"/>
              <a:gd name="connsiteY33" fmla="*/ 1009344 h 2831613"/>
              <a:gd name="connsiteX34" fmla="*/ 4248313 w 14842808"/>
              <a:gd name="connsiteY34" fmla="*/ 740425 h 2831613"/>
              <a:gd name="connsiteX35" fmla="*/ 4075916 w 14842808"/>
              <a:gd name="connsiteY35" fmla="*/ 697491 h 2831613"/>
              <a:gd name="connsiteX36" fmla="*/ 3951966 w 14842808"/>
              <a:gd name="connsiteY36" fmla="*/ 579229 h 2831613"/>
              <a:gd name="connsiteX37" fmla="*/ 4104778 w 14842808"/>
              <a:gd name="connsiteY37" fmla="*/ 464566 h 2831613"/>
              <a:gd name="connsiteX38" fmla="*/ 4287997 w 14842808"/>
              <a:gd name="connsiteY38" fmla="*/ 636560 h 2831613"/>
              <a:gd name="connsiteX39" fmla="*/ 4467608 w 14842808"/>
              <a:gd name="connsiteY39" fmla="*/ 582828 h 2831613"/>
              <a:gd name="connsiteX40" fmla="*/ 4122559 w 14842808"/>
              <a:gd name="connsiteY40" fmla="*/ 369441 h 2831613"/>
              <a:gd name="connsiteX41" fmla="*/ 5013658 w 14842808"/>
              <a:gd name="connsiteY41" fmla="*/ 1202934 h 2831613"/>
              <a:gd name="connsiteX42" fmla="*/ 4797969 w 14842808"/>
              <a:gd name="connsiteY42" fmla="*/ 835550 h 2831613"/>
              <a:gd name="connsiteX43" fmla="*/ 5013658 w 14842808"/>
              <a:gd name="connsiteY43" fmla="*/ 468165 h 2831613"/>
              <a:gd name="connsiteX44" fmla="*/ 5229346 w 14842808"/>
              <a:gd name="connsiteY44" fmla="*/ 835550 h 2831613"/>
              <a:gd name="connsiteX45" fmla="*/ 5013658 w 14842808"/>
              <a:gd name="connsiteY45" fmla="*/ 1202934 h 2831613"/>
              <a:gd name="connsiteX46" fmla="*/ 5013658 w 14842808"/>
              <a:gd name="connsiteY46" fmla="*/ 369441 h 2831613"/>
              <a:gd name="connsiteX47" fmla="*/ 4575324 w 14842808"/>
              <a:gd name="connsiteY47" fmla="*/ 835550 h 2831613"/>
              <a:gd name="connsiteX48" fmla="*/ 5013658 w 14842808"/>
              <a:gd name="connsiteY48" fmla="*/ 1301658 h 2831613"/>
              <a:gd name="connsiteX49" fmla="*/ 5451992 w 14842808"/>
              <a:gd name="connsiteY49" fmla="*/ 835550 h 2831613"/>
              <a:gd name="connsiteX50" fmla="*/ 5013658 w 14842808"/>
              <a:gd name="connsiteY50" fmla="*/ 369441 h 2831613"/>
              <a:gd name="connsiteX51" fmla="*/ 6048292 w 14842808"/>
              <a:gd name="connsiteY51" fmla="*/ 369441 h 2831613"/>
              <a:gd name="connsiteX52" fmla="*/ 5800392 w 14842808"/>
              <a:gd name="connsiteY52" fmla="*/ 500301 h 2831613"/>
              <a:gd name="connsiteX53" fmla="*/ 5789569 w 14842808"/>
              <a:gd name="connsiteY53" fmla="*/ 500301 h 2831613"/>
              <a:gd name="connsiteX54" fmla="*/ 5789569 w 14842808"/>
              <a:gd name="connsiteY54" fmla="*/ 387438 h 2831613"/>
              <a:gd name="connsiteX55" fmla="*/ 5577488 w 14842808"/>
              <a:gd name="connsiteY55" fmla="*/ 387438 h 2831613"/>
              <a:gd name="connsiteX56" fmla="*/ 5577488 w 14842808"/>
              <a:gd name="connsiteY56" fmla="*/ 1283661 h 2831613"/>
              <a:gd name="connsiteX57" fmla="*/ 5789569 w 14842808"/>
              <a:gd name="connsiteY57" fmla="*/ 1283661 h 2831613"/>
              <a:gd name="connsiteX58" fmla="*/ 5789569 w 14842808"/>
              <a:gd name="connsiteY58" fmla="*/ 704433 h 2831613"/>
              <a:gd name="connsiteX59" fmla="*/ 5967376 w 14842808"/>
              <a:gd name="connsiteY59" fmla="*/ 494645 h 2831613"/>
              <a:gd name="connsiteX60" fmla="*/ 6120188 w 14842808"/>
              <a:gd name="connsiteY60" fmla="*/ 670239 h 2831613"/>
              <a:gd name="connsiteX61" fmla="*/ 6120188 w 14842808"/>
              <a:gd name="connsiteY61" fmla="*/ 1283147 h 2831613"/>
              <a:gd name="connsiteX62" fmla="*/ 6332269 w 14842808"/>
              <a:gd name="connsiteY62" fmla="*/ 1283147 h 2831613"/>
              <a:gd name="connsiteX63" fmla="*/ 6332269 w 14842808"/>
              <a:gd name="connsiteY63" fmla="*/ 668697 h 2831613"/>
              <a:gd name="connsiteX64" fmla="*/ 6048292 w 14842808"/>
              <a:gd name="connsiteY64" fmla="*/ 369441 h 2831613"/>
              <a:gd name="connsiteX65" fmla="*/ 9197289 w 14842808"/>
              <a:gd name="connsiteY65" fmla="*/ 1202934 h 2831613"/>
              <a:gd name="connsiteX66" fmla="*/ 8981601 w 14842808"/>
              <a:gd name="connsiteY66" fmla="*/ 835550 h 2831613"/>
              <a:gd name="connsiteX67" fmla="*/ 9197289 w 14842808"/>
              <a:gd name="connsiteY67" fmla="*/ 468165 h 2831613"/>
              <a:gd name="connsiteX68" fmla="*/ 9412978 w 14842808"/>
              <a:gd name="connsiteY68" fmla="*/ 835550 h 2831613"/>
              <a:gd name="connsiteX69" fmla="*/ 9197289 w 14842808"/>
              <a:gd name="connsiteY69" fmla="*/ 1202934 h 2831613"/>
              <a:gd name="connsiteX70" fmla="*/ 9197289 w 14842808"/>
              <a:gd name="connsiteY70" fmla="*/ 369441 h 2831613"/>
              <a:gd name="connsiteX71" fmla="*/ 8758955 w 14842808"/>
              <a:gd name="connsiteY71" fmla="*/ 835550 h 2831613"/>
              <a:gd name="connsiteX72" fmla="*/ 9197289 w 14842808"/>
              <a:gd name="connsiteY72" fmla="*/ 1301658 h 2831613"/>
              <a:gd name="connsiteX73" fmla="*/ 9635623 w 14842808"/>
              <a:gd name="connsiteY73" fmla="*/ 835550 h 2831613"/>
              <a:gd name="connsiteX74" fmla="*/ 9197289 w 14842808"/>
              <a:gd name="connsiteY74" fmla="*/ 369441 h 2831613"/>
              <a:gd name="connsiteX75" fmla="*/ 11157038 w 14842808"/>
              <a:gd name="connsiteY75" fmla="*/ 369441 h 2831613"/>
              <a:gd name="connsiteX76" fmla="*/ 10909138 w 14842808"/>
              <a:gd name="connsiteY76" fmla="*/ 500301 h 2831613"/>
              <a:gd name="connsiteX77" fmla="*/ 10898314 w 14842808"/>
              <a:gd name="connsiteY77" fmla="*/ 500301 h 2831613"/>
              <a:gd name="connsiteX78" fmla="*/ 10898314 w 14842808"/>
              <a:gd name="connsiteY78" fmla="*/ 387438 h 2831613"/>
              <a:gd name="connsiteX79" fmla="*/ 10686234 w 14842808"/>
              <a:gd name="connsiteY79" fmla="*/ 387438 h 2831613"/>
              <a:gd name="connsiteX80" fmla="*/ 10686234 w 14842808"/>
              <a:gd name="connsiteY80" fmla="*/ 1283661 h 2831613"/>
              <a:gd name="connsiteX81" fmla="*/ 10898314 w 14842808"/>
              <a:gd name="connsiteY81" fmla="*/ 1283661 h 2831613"/>
              <a:gd name="connsiteX82" fmla="*/ 10898314 w 14842808"/>
              <a:gd name="connsiteY82" fmla="*/ 704433 h 2831613"/>
              <a:gd name="connsiteX83" fmla="*/ 11076123 w 14842808"/>
              <a:gd name="connsiteY83" fmla="*/ 494645 h 2831613"/>
              <a:gd name="connsiteX84" fmla="*/ 11228934 w 14842808"/>
              <a:gd name="connsiteY84" fmla="*/ 670239 h 2831613"/>
              <a:gd name="connsiteX85" fmla="*/ 11228934 w 14842808"/>
              <a:gd name="connsiteY85" fmla="*/ 1283147 h 2831613"/>
              <a:gd name="connsiteX86" fmla="*/ 11441014 w 14842808"/>
              <a:gd name="connsiteY86" fmla="*/ 1283147 h 2831613"/>
              <a:gd name="connsiteX87" fmla="*/ 11441014 w 14842808"/>
              <a:gd name="connsiteY87" fmla="*/ 668697 h 2831613"/>
              <a:gd name="connsiteX88" fmla="*/ 11157038 w 14842808"/>
              <a:gd name="connsiteY88" fmla="*/ 369441 h 2831613"/>
              <a:gd name="connsiteX89" fmla="*/ 11922383 w 14842808"/>
              <a:gd name="connsiteY89" fmla="*/ 369441 h 2831613"/>
              <a:gd name="connsiteX90" fmla="*/ 11579137 w 14842808"/>
              <a:gd name="connsiteY90" fmla="*/ 627562 h 2831613"/>
              <a:gd name="connsiteX91" fmla="*/ 11796630 w 14842808"/>
              <a:gd name="connsiteY91" fmla="*/ 885683 h 2831613"/>
              <a:gd name="connsiteX92" fmla="*/ 11976241 w 14842808"/>
              <a:gd name="connsiteY92" fmla="*/ 930417 h 2831613"/>
              <a:gd name="connsiteX93" fmla="*/ 12114621 w 14842808"/>
              <a:gd name="connsiteY93" fmla="*/ 1063076 h 2831613"/>
              <a:gd name="connsiteX94" fmla="*/ 11936814 w 14842808"/>
              <a:gd name="connsiteY94" fmla="*/ 1206534 h 2831613"/>
              <a:gd name="connsiteX95" fmla="*/ 11731949 w 14842808"/>
              <a:gd name="connsiteY95" fmla="*/ 998546 h 2831613"/>
              <a:gd name="connsiteX96" fmla="*/ 11541514 w 14842808"/>
              <a:gd name="connsiteY96" fmla="*/ 1052278 h 2831613"/>
              <a:gd name="connsiteX97" fmla="*/ 11913364 w 14842808"/>
              <a:gd name="connsiteY97" fmla="*/ 1301401 h 2831613"/>
              <a:gd name="connsiteX98" fmla="*/ 12287018 w 14842808"/>
              <a:gd name="connsiteY98" fmla="*/ 1009344 h 2831613"/>
              <a:gd name="connsiteX99" fmla="*/ 12048137 w 14842808"/>
              <a:gd name="connsiteY99" fmla="*/ 740425 h 2831613"/>
              <a:gd name="connsiteX100" fmla="*/ 11875741 w 14842808"/>
              <a:gd name="connsiteY100" fmla="*/ 697491 h 2831613"/>
              <a:gd name="connsiteX101" fmla="*/ 11751791 w 14842808"/>
              <a:gd name="connsiteY101" fmla="*/ 579229 h 2831613"/>
              <a:gd name="connsiteX102" fmla="*/ 11904603 w 14842808"/>
              <a:gd name="connsiteY102" fmla="*/ 464566 h 2831613"/>
              <a:gd name="connsiteX103" fmla="*/ 12087821 w 14842808"/>
              <a:gd name="connsiteY103" fmla="*/ 636560 h 2831613"/>
              <a:gd name="connsiteX104" fmla="*/ 12267433 w 14842808"/>
              <a:gd name="connsiteY104" fmla="*/ 582828 h 2831613"/>
              <a:gd name="connsiteX105" fmla="*/ 11922383 w 14842808"/>
              <a:gd name="connsiteY105" fmla="*/ 369441 h 2831613"/>
              <a:gd name="connsiteX106" fmla="*/ 12813224 w 14842808"/>
              <a:gd name="connsiteY106" fmla="*/ 1202934 h 2831613"/>
              <a:gd name="connsiteX107" fmla="*/ 12597536 w 14842808"/>
              <a:gd name="connsiteY107" fmla="*/ 835550 h 2831613"/>
              <a:gd name="connsiteX108" fmla="*/ 12813224 w 14842808"/>
              <a:gd name="connsiteY108" fmla="*/ 468165 h 2831613"/>
              <a:gd name="connsiteX109" fmla="*/ 13028913 w 14842808"/>
              <a:gd name="connsiteY109" fmla="*/ 835550 h 2831613"/>
              <a:gd name="connsiteX110" fmla="*/ 12813224 w 14842808"/>
              <a:gd name="connsiteY110" fmla="*/ 1202934 h 2831613"/>
              <a:gd name="connsiteX111" fmla="*/ 12813224 w 14842808"/>
              <a:gd name="connsiteY111" fmla="*/ 369441 h 2831613"/>
              <a:gd name="connsiteX112" fmla="*/ 12374891 w 14842808"/>
              <a:gd name="connsiteY112" fmla="*/ 835550 h 2831613"/>
              <a:gd name="connsiteX113" fmla="*/ 12813224 w 14842808"/>
              <a:gd name="connsiteY113" fmla="*/ 1301658 h 2831613"/>
              <a:gd name="connsiteX114" fmla="*/ 13251560 w 14842808"/>
              <a:gd name="connsiteY114" fmla="*/ 835550 h 2831613"/>
              <a:gd name="connsiteX115" fmla="*/ 12813224 w 14842808"/>
              <a:gd name="connsiteY115" fmla="*/ 369441 h 2831613"/>
              <a:gd name="connsiteX116" fmla="*/ 13847858 w 14842808"/>
              <a:gd name="connsiteY116" fmla="*/ 369441 h 2831613"/>
              <a:gd name="connsiteX117" fmla="*/ 13599958 w 14842808"/>
              <a:gd name="connsiteY117" fmla="*/ 500301 h 2831613"/>
              <a:gd name="connsiteX118" fmla="*/ 13589136 w 14842808"/>
              <a:gd name="connsiteY118" fmla="*/ 500301 h 2831613"/>
              <a:gd name="connsiteX119" fmla="*/ 13589136 w 14842808"/>
              <a:gd name="connsiteY119" fmla="*/ 387438 h 2831613"/>
              <a:gd name="connsiteX120" fmla="*/ 13377056 w 14842808"/>
              <a:gd name="connsiteY120" fmla="*/ 387438 h 2831613"/>
              <a:gd name="connsiteX121" fmla="*/ 13377056 w 14842808"/>
              <a:gd name="connsiteY121" fmla="*/ 1283661 h 2831613"/>
              <a:gd name="connsiteX122" fmla="*/ 13589136 w 14842808"/>
              <a:gd name="connsiteY122" fmla="*/ 1283661 h 2831613"/>
              <a:gd name="connsiteX123" fmla="*/ 13589136 w 14842808"/>
              <a:gd name="connsiteY123" fmla="*/ 704433 h 2831613"/>
              <a:gd name="connsiteX124" fmla="*/ 13766944 w 14842808"/>
              <a:gd name="connsiteY124" fmla="*/ 494645 h 2831613"/>
              <a:gd name="connsiteX125" fmla="*/ 13919755 w 14842808"/>
              <a:gd name="connsiteY125" fmla="*/ 670239 h 2831613"/>
              <a:gd name="connsiteX126" fmla="*/ 13919755 w 14842808"/>
              <a:gd name="connsiteY126" fmla="*/ 1283147 h 2831613"/>
              <a:gd name="connsiteX127" fmla="*/ 14131835 w 14842808"/>
              <a:gd name="connsiteY127" fmla="*/ 1283147 h 2831613"/>
              <a:gd name="connsiteX128" fmla="*/ 14131835 w 14842808"/>
              <a:gd name="connsiteY128" fmla="*/ 668697 h 2831613"/>
              <a:gd name="connsiteX129" fmla="*/ 13847858 w 14842808"/>
              <a:gd name="connsiteY129" fmla="*/ 369441 h 2831613"/>
              <a:gd name="connsiteX130" fmla="*/ 833634 w 14842808"/>
              <a:gd name="connsiteY130" fmla="*/ 28794 h 2831613"/>
              <a:gd name="connsiteX131" fmla="*/ 610730 w 14842808"/>
              <a:gd name="connsiteY131" fmla="*/ 28794 h 2831613"/>
              <a:gd name="connsiteX132" fmla="*/ 610730 w 14842808"/>
              <a:gd name="connsiteY132" fmla="*/ 955355 h 2831613"/>
              <a:gd name="connsiteX133" fmla="*/ 416688 w 14842808"/>
              <a:gd name="connsiteY133" fmla="*/ 1195479 h 2831613"/>
              <a:gd name="connsiteX134" fmla="*/ 222646 w 14842808"/>
              <a:gd name="connsiteY134" fmla="*/ 937358 h 2831613"/>
              <a:gd name="connsiteX135" fmla="*/ 222646 w 14842808"/>
              <a:gd name="connsiteY135" fmla="*/ 765363 h 2831613"/>
              <a:gd name="connsiteX136" fmla="*/ 0 w 14842808"/>
              <a:gd name="connsiteY136" fmla="*/ 821152 h 2831613"/>
              <a:gd name="connsiteX137" fmla="*/ 0 w 14842808"/>
              <a:gd name="connsiteY137" fmla="*/ 898280 h 2831613"/>
              <a:gd name="connsiteX138" fmla="*/ 416946 w 14842808"/>
              <a:gd name="connsiteY138" fmla="*/ 1312456 h 2831613"/>
              <a:gd name="connsiteX139" fmla="*/ 833634 w 14842808"/>
              <a:gd name="connsiteY139" fmla="*/ 898280 h 2831613"/>
              <a:gd name="connsiteX140" fmla="*/ 833634 w 14842808"/>
              <a:gd name="connsiteY140" fmla="*/ 28794 h 2831613"/>
              <a:gd name="connsiteX141" fmla="*/ 2173633 w 14842808"/>
              <a:gd name="connsiteY141" fmla="*/ 28794 h 2831613"/>
              <a:gd name="connsiteX142" fmla="*/ 1961552 w 14842808"/>
              <a:gd name="connsiteY142" fmla="*/ 28794 h 2831613"/>
              <a:gd name="connsiteX143" fmla="*/ 1961552 w 14842808"/>
              <a:gd name="connsiteY143" fmla="*/ 1283404 h 2831613"/>
              <a:gd name="connsiteX144" fmla="*/ 2173633 w 14842808"/>
              <a:gd name="connsiteY144" fmla="*/ 1283404 h 2831613"/>
              <a:gd name="connsiteX145" fmla="*/ 2173633 w 14842808"/>
              <a:gd name="connsiteY145" fmla="*/ 704433 h 2831613"/>
              <a:gd name="connsiteX146" fmla="*/ 2351441 w 14842808"/>
              <a:gd name="connsiteY146" fmla="*/ 494645 h 2831613"/>
              <a:gd name="connsiteX147" fmla="*/ 2504252 w 14842808"/>
              <a:gd name="connsiteY147" fmla="*/ 670239 h 2831613"/>
              <a:gd name="connsiteX148" fmla="*/ 2504252 w 14842808"/>
              <a:gd name="connsiteY148" fmla="*/ 1283147 h 2831613"/>
              <a:gd name="connsiteX149" fmla="*/ 2716075 w 14842808"/>
              <a:gd name="connsiteY149" fmla="*/ 1283147 h 2831613"/>
              <a:gd name="connsiteX150" fmla="*/ 2716075 w 14842808"/>
              <a:gd name="connsiteY150" fmla="*/ 668697 h 2831613"/>
              <a:gd name="connsiteX151" fmla="*/ 2432098 w 14842808"/>
              <a:gd name="connsiteY151" fmla="*/ 369441 h 2831613"/>
              <a:gd name="connsiteX152" fmla="*/ 2184198 w 14842808"/>
              <a:gd name="connsiteY152" fmla="*/ 500301 h 2831613"/>
              <a:gd name="connsiteX153" fmla="*/ 2173375 w 14842808"/>
              <a:gd name="connsiteY153" fmla="*/ 500301 h 2831613"/>
              <a:gd name="connsiteX154" fmla="*/ 2173375 w 14842808"/>
              <a:gd name="connsiteY154" fmla="*/ 28794 h 2831613"/>
              <a:gd name="connsiteX155" fmla="*/ 8633201 w 14842808"/>
              <a:gd name="connsiteY155" fmla="*/ 28794 h 2831613"/>
              <a:gd name="connsiteX156" fmla="*/ 8410555 w 14842808"/>
              <a:gd name="connsiteY156" fmla="*/ 28794 h 2831613"/>
              <a:gd name="connsiteX157" fmla="*/ 8410555 w 14842808"/>
              <a:gd name="connsiteY157" fmla="*/ 955355 h 2831613"/>
              <a:gd name="connsiteX158" fmla="*/ 8216513 w 14842808"/>
              <a:gd name="connsiteY158" fmla="*/ 1195479 h 2831613"/>
              <a:gd name="connsiteX159" fmla="*/ 8022471 w 14842808"/>
              <a:gd name="connsiteY159" fmla="*/ 937358 h 2831613"/>
              <a:gd name="connsiteX160" fmla="*/ 8022471 w 14842808"/>
              <a:gd name="connsiteY160" fmla="*/ 765363 h 2831613"/>
              <a:gd name="connsiteX161" fmla="*/ 7799825 w 14842808"/>
              <a:gd name="connsiteY161" fmla="*/ 820895 h 2831613"/>
              <a:gd name="connsiteX162" fmla="*/ 7799825 w 14842808"/>
              <a:gd name="connsiteY162" fmla="*/ 898023 h 2831613"/>
              <a:gd name="connsiteX163" fmla="*/ 8216771 w 14842808"/>
              <a:gd name="connsiteY163" fmla="*/ 1312199 h 2831613"/>
              <a:gd name="connsiteX164" fmla="*/ 8633459 w 14842808"/>
              <a:gd name="connsiteY164" fmla="*/ 898023 h 2831613"/>
              <a:gd name="connsiteX165" fmla="*/ 8633459 w 14842808"/>
              <a:gd name="connsiteY165" fmla="*/ 28794 h 2831613"/>
              <a:gd name="connsiteX166" fmla="*/ 9973200 w 14842808"/>
              <a:gd name="connsiteY166" fmla="*/ 28794 h 2831613"/>
              <a:gd name="connsiteX167" fmla="*/ 9761120 w 14842808"/>
              <a:gd name="connsiteY167" fmla="*/ 28794 h 2831613"/>
              <a:gd name="connsiteX168" fmla="*/ 9761120 w 14842808"/>
              <a:gd name="connsiteY168" fmla="*/ 1283404 h 2831613"/>
              <a:gd name="connsiteX169" fmla="*/ 9973200 w 14842808"/>
              <a:gd name="connsiteY169" fmla="*/ 1283404 h 2831613"/>
              <a:gd name="connsiteX170" fmla="*/ 9973200 w 14842808"/>
              <a:gd name="connsiteY170" fmla="*/ 704433 h 2831613"/>
              <a:gd name="connsiteX171" fmla="*/ 10151007 w 14842808"/>
              <a:gd name="connsiteY171" fmla="*/ 494645 h 2831613"/>
              <a:gd name="connsiteX172" fmla="*/ 10303819 w 14842808"/>
              <a:gd name="connsiteY172" fmla="*/ 670239 h 2831613"/>
              <a:gd name="connsiteX173" fmla="*/ 10303819 w 14842808"/>
              <a:gd name="connsiteY173" fmla="*/ 1283147 h 2831613"/>
              <a:gd name="connsiteX174" fmla="*/ 10515899 w 14842808"/>
              <a:gd name="connsiteY174" fmla="*/ 1283147 h 2831613"/>
              <a:gd name="connsiteX175" fmla="*/ 10515899 w 14842808"/>
              <a:gd name="connsiteY175" fmla="*/ 668697 h 2831613"/>
              <a:gd name="connsiteX176" fmla="*/ 10231923 w 14842808"/>
              <a:gd name="connsiteY176" fmla="*/ 369441 h 2831613"/>
              <a:gd name="connsiteX177" fmla="*/ 9984023 w 14842808"/>
              <a:gd name="connsiteY177" fmla="*/ 500301 h 2831613"/>
              <a:gd name="connsiteX178" fmla="*/ 9973200 w 14842808"/>
              <a:gd name="connsiteY178" fmla="*/ 500301 h 2831613"/>
              <a:gd name="connsiteX179" fmla="*/ 9973200 w 14842808"/>
              <a:gd name="connsiteY179" fmla="*/ 28794 h 2831613"/>
              <a:gd name="connsiteX180" fmla="*/ 7030872 w 14842808"/>
              <a:gd name="connsiteY180" fmla="*/ 1181339 h 2831613"/>
              <a:gd name="connsiteX181" fmla="*/ 6752307 w 14842808"/>
              <a:gd name="connsiteY181" fmla="*/ 892624 h 2831613"/>
              <a:gd name="connsiteX182" fmla="*/ 6861826 w 14842808"/>
              <a:gd name="connsiteY182" fmla="*/ 665097 h 2831613"/>
              <a:gd name="connsiteX183" fmla="*/ 7267949 w 14842808"/>
              <a:gd name="connsiteY183" fmla="*/ 1107810 h 2831613"/>
              <a:gd name="connsiteX184" fmla="*/ 7030872 w 14842808"/>
              <a:gd name="connsiteY184" fmla="*/ 1181339 h 2831613"/>
              <a:gd name="connsiteX185" fmla="*/ 7426171 w 14842808"/>
              <a:gd name="connsiteY185" fmla="*/ 960754 h 2831613"/>
              <a:gd name="connsiteX186" fmla="*/ 7074164 w 14842808"/>
              <a:gd name="connsiteY186" fmla="*/ 573573 h 2831613"/>
              <a:gd name="connsiteX187" fmla="*/ 7248364 w 14842808"/>
              <a:gd name="connsiteY187" fmla="*/ 539637 h 2831613"/>
              <a:gd name="connsiteX188" fmla="*/ 7483637 w 14842808"/>
              <a:gd name="connsiteY188" fmla="*/ 768963 h 2831613"/>
              <a:gd name="connsiteX189" fmla="*/ 7426171 w 14842808"/>
              <a:gd name="connsiteY189" fmla="*/ 960754 h 2831613"/>
              <a:gd name="connsiteX190" fmla="*/ 7025461 w 14842808"/>
              <a:gd name="connsiteY190" fmla="*/ 521640 h 2831613"/>
              <a:gd name="connsiteX191" fmla="*/ 6948153 w 14842808"/>
              <a:gd name="connsiteY191" fmla="*/ 435514 h 2831613"/>
              <a:gd name="connsiteX192" fmla="*/ 6860022 w 14842808"/>
              <a:gd name="connsiteY192" fmla="*/ 258121 h 2831613"/>
              <a:gd name="connsiteX193" fmla="*/ 7030614 w 14842808"/>
              <a:gd name="connsiteY193" fmla="*/ 95124 h 2831613"/>
              <a:gd name="connsiteX194" fmla="*/ 7199403 w 14842808"/>
              <a:gd name="connsiteY194" fmla="*/ 267119 h 2831613"/>
              <a:gd name="connsiteX195" fmla="*/ 7025461 w 14842808"/>
              <a:gd name="connsiteY195" fmla="*/ 521640 h 2831613"/>
              <a:gd name="connsiteX196" fmla="*/ 7036283 w 14842808"/>
              <a:gd name="connsiteY196" fmla="*/ 0 h 2831613"/>
              <a:gd name="connsiteX197" fmla="*/ 6666238 w 14842808"/>
              <a:gd name="connsiteY197" fmla="*/ 310053 h 2831613"/>
              <a:gd name="connsiteX198" fmla="*/ 6810030 w 14842808"/>
              <a:gd name="connsiteY198" fmla="*/ 609308 h 2831613"/>
              <a:gd name="connsiteX199" fmla="*/ 6811834 w 14842808"/>
              <a:gd name="connsiteY199" fmla="*/ 612908 h 2831613"/>
              <a:gd name="connsiteX200" fmla="*/ 6554914 w 14842808"/>
              <a:gd name="connsiteY200" fmla="*/ 973094 h 2831613"/>
              <a:gd name="connsiteX201" fmla="*/ 6915941 w 14842808"/>
              <a:gd name="connsiteY201" fmla="*/ 1311941 h 2831613"/>
              <a:gd name="connsiteX202" fmla="*/ 7322064 w 14842808"/>
              <a:gd name="connsiteY202" fmla="*/ 1166684 h 2831613"/>
              <a:gd name="connsiteX203" fmla="*/ 7429780 w 14842808"/>
              <a:gd name="connsiteY203" fmla="*/ 1283147 h 2831613"/>
              <a:gd name="connsiteX204" fmla="*/ 7711952 w 14842808"/>
              <a:gd name="connsiteY204" fmla="*/ 1283147 h 2831613"/>
              <a:gd name="connsiteX205" fmla="*/ 7711952 w 14842808"/>
              <a:gd name="connsiteY205" fmla="*/ 1274406 h 2831613"/>
              <a:gd name="connsiteX206" fmla="*/ 7482091 w 14842808"/>
              <a:gd name="connsiteY206" fmla="*/ 1021684 h 2831613"/>
              <a:gd name="connsiteX207" fmla="*/ 7634902 w 14842808"/>
              <a:gd name="connsiteY207" fmla="*/ 672039 h 2831613"/>
              <a:gd name="connsiteX208" fmla="*/ 7399629 w 14842808"/>
              <a:gd name="connsiteY208" fmla="*/ 444512 h 2831613"/>
              <a:gd name="connsiteX209" fmla="*/ 7183941 w 14842808"/>
              <a:gd name="connsiteY209" fmla="*/ 487447 h 2831613"/>
              <a:gd name="connsiteX210" fmla="*/ 7180333 w 14842808"/>
              <a:gd name="connsiteY210" fmla="*/ 480248 h 2831613"/>
              <a:gd name="connsiteX211" fmla="*/ 7374375 w 14842808"/>
              <a:gd name="connsiteY211" fmla="*/ 243723 h 2831613"/>
              <a:gd name="connsiteX212" fmla="*/ 7036283 w 14842808"/>
              <a:gd name="connsiteY212" fmla="*/ 0 h 2831613"/>
              <a:gd name="connsiteX213" fmla="*/ 3908932 w 14842808"/>
              <a:gd name="connsiteY213" fmla="*/ 1917394 h 2831613"/>
              <a:gd name="connsiteX214" fmla="*/ 3756120 w 14842808"/>
              <a:gd name="connsiteY214" fmla="*/ 1917394 h 2831613"/>
              <a:gd name="connsiteX215" fmla="*/ 3526259 w 14842808"/>
              <a:gd name="connsiteY215" fmla="*/ 2641622 h 2831613"/>
              <a:gd name="connsiteX216" fmla="*/ 3294594 w 14842808"/>
              <a:gd name="connsiteY216" fmla="*/ 1917394 h 2831613"/>
              <a:gd name="connsiteX217" fmla="*/ 3136371 w 14842808"/>
              <a:gd name="connsiteY217" fmla="*/ 1917394 h 2831613"/>
              <a:gd name="connsiteX218" fmla="*/ 3429109 w 14842808"/>
              <a:gd name="connsiteY218" fmla="*/ 2813617 h 2831613"/>
              <a:gd name="connsiteX219" fmla="*/ 3615936 w 14842808"/>
              <a:gd name="connsiteY219" fmla="*/ 2813617 h 2831613"/>
              <a:gd name="connsiteX220" fmla="*/ 3908932 w 14842808"/>
              <a:gd name="connsiteY220" fmla="*/ 1917394 h 2831613"/>
              <a:gd name="connsiteX221" fmla="*/ 5785961 w 14842808"/>
              <a:gd name="connsiteY221" fmla="*/ 1917394 h 2831613"/>
              <a:gd name="connsiteX222" fmla="*/ 5636757 w 14842808"/>
              <a:gd name="connsiteY222" fmla="*/ 1917394 h 2831613"/>
              <a:gd name="connsiteX223" fmla="*/ 5636757 w 14842808"/>
              <a:gd name="connsiteY223" fmla="*/ 2813617 h 2831613"/>
              <a:gd name="connsiteX224" fmla="*/ 5785961 w 14842808"/>
              <a:gd name="connsiteY224" fmla="*/ 2813617 h 2831613"/>
              <a:gd name="connsiteX225" fmla="*/ 5785961 w 14842808"/>
              <a:gd name="connsiteY225" fmla="*/ 1917394 h 2831613"/>
              <a:gd name="connsiteX226" fmla="*/ 6702056 w 14842808"/>
              <a:gd name="connsiteY226" fmla="*/ 1917394 h 2831613"/>
              <a:gd name="connsiteX227" fmla="*/ 6549245 w 14842808"/>
              <a:gd name="connsiteY227" fmla="*/ 1917394 h 2831613"/>
              <a:gd name="connsiteX228" fmla="*/ 6319384 w 14842808"/>
              <a:gd name="connsiteY228" fmla="*/ 2641622 h 2831613"/>
              <a:gd name="connsiteX229" fmla="*/ 6087719 w 14842808"/>
              <a:gd name="connsiteY229" fmla="*/ 1917394 h 2831613"/>
              <a:gd name="connsiteX230" fmla="*/ 5929754 w 14842808"/>
              <a:gd name="connsiteY230" fmla="*/ 1917394 h 2831613"/>
              <a:gd name="connsiteX231" fmla="*/ 6222492 w 14842808"/>
              <a:gd name="connsiteY231" fmla="*/ 2813617 h 2831613"/>
              <a:gd name="connsiteX232" fmla="*/ 6409319 w 14842808"/>
              <a:gd name="connsiteY232" fmla="*/ 2813617 h 2831613"/>
              <a:gd name="connsiteX233" fmla="*/ 6702056 w 14842808"/>
              <a:gd name="connsiteY233" fmla="*/ 1917394 h 2831613"/>
              <a:gd name="connsiteX234" fmla="*/ 11697676 w 14842808"/>
              <a:gd name="connsiteY234" fmla="*/ 1917394 h 2831613"/>
              <a:gd name="connsiteX235" fmla="*/ 11548472 w 14842808"/>
              <a:gd name="connsiteY235" fmla="*/ 1917394 h 2831613"/>
              <a:gd name="connsiteX236" fmla="*/ 11548472 w 14842808"/>
              <a:gd name="connsiteY236" fmla="*/ 2813617 h 2831613"/>
              <a:gd name="connsiteX237" fmla="*/ 11697676 w 14842808"/>
              <a:gd name="connsiteY237" fmla="*/ 2813617 h 2831613"/>
              <a:gd name="connsiteX238" fmla="*/ 11697676 w 14842808"/>
              <a:gd name="connsiteY238" fmla="*/ 1917394 h 2831613"/>
              <a:gd name="connsiteX239" fmla="*/ 12980209 w 14842808"/>
              <a:gd name="connsiteY239" fmla="*/ 1917394 h 2831613"/>
              <a:gd name="connsiteX240" fmla="*/ 12831005 w 14842808"/>
              <a:gd name="connsiteY240" fmla="*/ 1917394 h 2831613"/>
              <a:gd name="connsiteX241" fmla="*/ 12831005 w 14842808"/>
              <a:gd name="connsiteY241" fmla="*/ 2813617 h 2831613"/>
              <a:gd name="connsiteX242" fmla="*/ 12980209 w 14842808"/>
              <a:gd name="connsiteY242" fmla="*/ 2813617 h 2831613"/>
              <a:gd name="connsiteX243" fmla="*/ 12980209 w 14842808"/>
              <a:gd name="connsiteY243" fmla="*/ 1917394 h 2831613"/>
              <a:gd name="connsiteX244" fmla="*/ 853219 w 14842808"/>
              <a:gd name="connsiteY244" fmla="*/ 1899397 h 2831613"/>
              <a:gd name="connsiteX245" fmla="*/ 601711 w 14842808"/>
              <a:gd name="connsiteY245" fmla="*/ 2055452 h 2831613"/>
              <a:gd name="connsiteX246" fmla="*/ 601711 w 14842808"/>
              <a:gd name="connsiteY246" fmla="*/ 1917394 h 2831613"/>
              <a:gd name="connsiteX247" fmla="*/ 452507 w 14842808"/>
              <a:gd name="connsiteY247" fmla="*/ 1917394 h 2831613"/>
              <a:gd name="connsiteX248" fmla="*/ 452507 w 14842808"/>
              <a:gd name="connsiteY248" fmla="*/ 2813617 h 2831613"/>
              <a:gd name="connsiteX249" fmla="*/ 601711 w 14842808"/>
              <a:gd name="connsiteY249" fmla="*/ 2813617 h 2831613"/>
              <a:gd name="connsiteX250" fmla="*/ 601711 w 14842808"/>
              <a:gd name="connsiteY250" fmla="*/ 2223847 h 2831613"/>
              <a:gd name="connsiteX251" fmla="*/ 797557 w 14842808"/>
              <a:gd name="connsiteY251" fmla="*/ 2014060 h 2831613"/>
              <a:gd name="connsiteX252" fmla="*/ 991599 w 14842808"/>
              <a:gd name="connsiteY252" fmla="*/ 2223847 h 2831613"/>
              <a:gd name="connsiteX253" fmla="*/ 991599 w 14842808"/>
              <a:gd name="connsiteY253" fmla="*/ 2813617 h 2831613"/>
              <a:gd name="connsiteX254" fmla="*/ 1140803 w 14842808"/>
              <a:gd name="connsiteY254" fmla="*/ 2813617 h 2831613"/>
              <a:gd name="connsiteX255" fmla="*/ 1140803 w 14842808"/>
              <a:gd name="connsiteY255" fmla="*/ 2193511 h 2831613"/>
              <a:gd name="connsiteX256" fmla="*/ 853219 w 14842808"/>
              <a:gd name="connsiteY256" fmla="*/ 1899397 h 2831613"/>
              <a:gd name="connsiteX257" fmla="*/ 1756945 w 14842808"/>
              <a:gd name="connsiteY257" fmla="*/ 1899397 h 2831613"/>
              <a:gd name="connsiteX258" fmla="*/ 1505437 w 14842808"/>
              <a:gd name="connsiteY258" fmla="*/ 2055452 h 2831613"/>
              <a:gd name="connsiteX259" fmla="*/ 1505437 w 14842808"/>
              <a:gd name="connsiteY259" fmla="*/ 1917394 h 2831613"/>
              <a:gd name="connsiteX260" fmla="*/ 1356234 w 14842808"/>
              <a:gd name="connsiteY260" fmla="*/ 1917394 h 2831613"/>
              <a:gd name="connsiteX261" fmla="*/ 1356234 w 14842808"/>
              <a:gd name="connsiteY261" fmla="*/ 2813617 h 2831613"/>
              <a:gd name="connsiteX262" fmla="*/ 1505437 w 14842808"/>
              <a:gd name="connsiteY262" fmla="*/ 2813617 h 2831613"/>
              <a:gd name="connsiteX263" fmla="*/ 1505437 w 14842808"/>
              <a:gd name="connsiteY263" fmla="*/ 2223847 h 2831613"/>
              <a:gd name="connsiteX264" fmla="*/ 1701283 w 14842808"/>
              <a:gd name="connsiteY264" fmla="*/ 2014060 h 2831613"/>
              <a:gd name="connsiteX265" fmla="*/ 1895326 w 14842808"/>
              <a:gd name="connsiteY265" fmla="*/ 2223847 h 2831613"/>
              <a:gd name="connsiteX266" fmla="*/ 1895326 w 14842808"/>
              <a:gd name="connsiteY266" fmla="*/ 2813617 h 2831613"/>
              <a:gd name="connsiteX267" fmla="*/ 2044529 w 14842808"/>
              <a:gd name="connsiteY267" fmla="*/ 2813617 h 2831613"/>
              <a:gd name="connsiteX268" fmla="*/ 2044529 w 14842808"/>
              <a:gd name="connsiteY268" fmla="*/ 2193511 h 2831613"/>
              <a:gd name="connsiteX269" fmla="*/ 1756945 w 14842808"/>
              <a:gd name="connsiteY269" fmla="*/ 1899397 h 2831613"/>
              <a:gd name="connsiteX270" fmla="*/ 2644179 w 14842808"/>
              <a:gd name="connsiteY270" fmla="*/ 2704353 h 2831613"/>
              <a:gd name="connsiteX271" fmla="*/ 2389064 w 14842808"/>
              <a:gd name="connsiteY271" fmla="*/ 2365505 h 2831613"/>
              <a:gd name="connsiteX272" fmla="*/ 2644179 w 14842808"/>
              <a:gd name="connsiteY272" fmla="*/ 2026658 h 2831613"/>
              <a:gd name="connsiteX273" fmla="*/ 2899294 w 14842808"/>
              <a:gd name="connsiteY273" fmla="*/ 2365505 h 2831613"/>
              <a:gd name="connsiteX274" fmla="*/ 2644179 w 14842808"/>
              <a:gd name="connsiteY274" fmla="*/ 2704353 h 2831613"/>
              <a:gd name="connsiteX275" fmla="*/ 2651394 w 14842808"/>
              <a:gd name="connsiteY275" fmla="*/ 1899397 h 2831613"/>
              <a:gd name="connsiteX276" fmla="*/ 2232902 w 14842808"/>
              <a:gd name="connsiteY276" fmla="*/ 2376303 h 2831613"/>
              <a:gd name="connsiteX277" fmla="*/ 2637221 w 14842808"/>
              <a:gd name="connsiteY277" fmla="*/ 2831613 h 2831613"/>
              <a:gd name="connsiteX278" fmla="*/ 3055971 w 14842808"/>
              <a:gd name="connsiteY278" fmla="*/ 2354707 h 2831613"/>
              <a:gd name="connsiteX279" fmla="*/ 2651394 w 14842808"/>
              <a:gd name="connsiteY279" fmla="*/ 1899397 h 2831613"/>
              <a:gd name="connsiteX280" fmla="*/ 4365047 w 14842808"/>
              <a:gd name="connsiteY280" fmla="*/ 2723892 h 2831613"/>
              <a:gd name="connsiteX281" fmla="*/ 4192651 w 14842808"/>
              <a:gd name="connsiteY281" fmla="*/ 2566294 h 2831613"/>
              <a:gd name="connsiteX282" fmla="*/ 4343659 w 14842808"/>
              <a:gd name="connsiteY282" fmla="*/ 2415638 h 2831613"/>
              <a:gd name="connsiteX283" fmla="*/ 4453178 w 14842808"/>
              <a:gd name="connsiteY283" fmla="*/ 2388644 h 2831613"/>
              <a:gd name="connsiteX284" fmla="*/ 4573520 w 14842808"/>
              <a:gd name="connsiteY284" fmla="*/ 2349309 h 2831613"/>
              <a:gd name="connsiteX285" fmla="*/ 4573520 w 14842808"/>
              <a:gd name="connsiteY285" fmla="*/ 2523103 h 2831613"/>
              <a:gd name="connsiteX286" fmla="*/ 4365047 w 14842808"/>
              <a:gd name="connsiteY286" fmla="*/ 2723892 h 2831613"/>
              <a:gd name="connsiteX287" fmla="*/ 4411947 w 14842808"/>
              <a:gd name="connsiteY287" fmla="*/ 1899397 h 2831613"/>
              <a:gd name="connsiteX288" fmla="*/ 4049116 w 14842808"/>
              <a:gd name="connsiteY288" fmla="*/ 2186312 h 2831613"/>
              <a:gd name="connsiteX289" fmla="*/ 4187497 w 14842808"/>
              <a:gd name="connsiteY289" fmla="*/ 2215106 h 2831613"/>
              <a:gd name="connsiteX290" fmla="*/ 4401381 w 14842808"/>
              <a:gd name="connsiteY290" fmla="*/ 2014317 h 2831613"/>
              <a:gd name="connsiteX291" fmla="*/ 4573777 w 14842808"/>
              <a:gd name="connsiteY291" fmla="*/ 2180913 h 2831613"/>
              <a:gd name="connsiteX292" fmla="*/ 4573777 w 14842808"/>
              <a:gd name="connsiteY292" fmla="*/ 2186312 h 2831613"/>
              <a:gd name="connsiteX293" fmla="*/ 4521724 w 14842808"/>
              <a:gd name="connsiteY293" fmla="*/ 2258041 h 2831613"/>
              <a:gd name="connsiteX294" fmla="*/ 4263001 w 14842808"/>
              <a:gd name="connsiteY294" fmla="*/ 2322571 h 2831613"/>
              <a:gd name="connsiteX295" fmla="*/ 4043705 w 14842808"/>
              <a:gd name="connsiteY295" fmla="*/ 2577092 h 2831613"/>
              <a:gd name="connsiteX296" fmla="*/ 4324074 w 14842808"/>
              <a:gd name="connsiteY296" fmla="*/ 2831613 h 2831613"/>
              <a:gd name="connsiteX297" fmla="*/ 4573777 w 14842808"/>
              <a:gd name="connsiteY297" fmla="*/ 2677358 h 2831613"/>
              <a:gd name="connsiteX298" fmla="*/ 4591816 w 14842808"/>
              <a:gd name="connsiteY298" fmla="*/ 2813617 h 2831613"/>
              <a:gd name="connsiteX299" fmla="*/ 4744627 w 14842808"/>
              <a:gd name="connsiteY299" fmla="*/ 2813617 h 2831613"/>
              <a:gd name="connsiteX300" fmla="*/ 4721177 w 14842808"/>
              <a:gd name="connsiteY300" fmla="*/ 2627225 h 2831613"/>
              <a:gd name="connsiteX301" fmla="*/ 4721177 w 14842808"/>
              <a:gd name="connsiteY301" fmla="*/ 2171915 h 2831613"/>
              <a:gd name="connsiteX302" fmla="*/ 4411947 w 14842808"/>
              <a:gd name="connsiteY302" fmla="*/ 1899397 h 2831613"/>
              <a:gd name="connsiteX303" fmla="*/ 6942741 w 14842808"/>
              <a:gd name="connsiteY303" fmla="*/ 2268581 h 2831613"/>
              <a:gd name="connsiteX304" fmla="*/ 7185229 w 14842808"/>
              <a:gd name="connsiteY304" fmla="*/ 2021259 h 2831613"/>
              <a:gd name="connsiteX305" fmla="*/ 7402721 w 14842808"/>
              <a:gd name="connsiteY305" fmla="*/ 2268581 h 2831613"/>
              <a:gd name="connsiteX306" fmla="*/ 6942741 w 14842808"/>
              <a:gd name="connsiteY306" fmla="*/ 2268581 h 2831613"/>
              <a:gd name="connsiteX307" fmla="*/ 7185229 w 14842808"/>
              <a:gd name="connsiteY307" fmla="*/ 1899397 h 2831613"/>
              <a:gd name="connsiteX308" fmla="*/ 6782714 w 14842808"/>
              <a:gd name="connsiteY308" fmla="*/ 2372704 h 2831613"/>
              <a:gd name="connsiteX309" fmla="*/ 7185229 w 14842808"/>
              <a:gd name="connsiteY309" fmla="*/ 2831613 h 2831613"/>
              <a:gd name="connsiteX310" fmla="*/ 7551667 w 14842808"/>
              <a:gd name="connsiteY310" fmla="*/ 2539557 h 2831613"/>
              <a:gd name="connsiteX311" fmla="*/ 7415091 w 14842808"/>
              <a:gd name="connsiteY311" fmla="*/ 2503821 h 2831613"/>
              <a:gd name="connsiteX312" fmla="*/ 7199403 w 14842808"/>
              <a:gd name="connsiteY312" fmla="*/ 2706410 h 2831613"/>
              <a:gd name="connsiteX313" fmla="*/ 6937072 w 14842808"/>
              <a:gd name="connsiteY313" fmla="*/ 2374761 h 2831613"/>
              <a:gd name="connsiteX314" fmla="*/ 7553213 w 14842808"/>
              <a:gd name="connsiteY314" fmla="*/ 2374761 h 2831613"/>
              <a:gd name="connsiteX315" fmla="*/ 7553213 w 14842808"/>
              <a:gd name="connsiteY315" fmla="*/ 2324627 h 2831613"/>
              <a:gd name="connsiteX316" fmla="*/ 7185229 w 14842808"/>
              <a:gd name="connsiteY316" fmla="*/ 1899397 h 2831613"/>
              <a:gd name="connsiteX317" fmla="*/ 9777354 w 14842808"/>
              <a:gd name="connsiteY317" fmla="*/ 2268581 h 2831613"/>
              <a:gd name="connsiteX318" fmla="*/ 10019842 w 14842808"/>
              <a:gd name="connsiteY318" fmla="*/ 2021259 h 2831613"/>
              <a:gd name="connsiteX319" fmla="*/ 10237334 w 14842808"/>
              <a:gd name="connsiteY319" fmla="*/ 2268581 h 2831613"/>
              <a:gd name="connsiteX320" fmla="*/ 9777354 w 14842808"/>
              <a:gd name="connsiteY320" fmla="*/ 2268581 h 2831613"/>
              <a:gd name="connsiteX321" fmla="*/ 10019842 w 14842808"/>
              <a:gd name="connsiteY321" fmla="*/ 1899397 h 2831613"/>
              <a:gd name="connsiteX322" fmla="*/ 9617327 w 14842808"/>
              <a:gd name="connsiteY322" fmla="*/ 2372704 h 2831613"/>
              <a:gd name="connsiteX323" fmla="*/ 10019842 w 14842808"/>
              <a:gd name="connsiteY323" fmla="*/ 2831613 h 2831613"/>
              <a:gd name="connsiteX324" fmla="*/ 10386280 w 14842808"/>
              <a:gd name="connsiteY324" fmla="*/ 2539557 h 2831613"/>
              <a:gd name="connsiteX325" fmla="*/ 10249704 w 14842808"/>
              <a:gd name="connsiteY325" fmla="*/ 2503821 h 2831613"/>
              <a:gd name="connsiteX326" fmla="*/ 10034016 w 14842808"/>
              <a:gd name="connsiteY326" fmla="*/ 2706410 h 2831613"/>
              <a:gd name="connsiteX327" fmla="*/ 9771684 w 14842808"/>
              <a:gd name="connsiteY327" fmla="*/ 2374761 h 2831613"/>
              <a:gd name="connsiteX328" fmla="*/ 10387826 w 14842808"/>
              <a:gd name="connsiteY328" fmla="*/ 2374761 h 2831613"/>
              <a:gd name="connsiteX329" fmla="*/ 10387826 w 14842808"/>
              <a:gd name="connsiteY329" fmla="*/ 2324627 h 2831613"/>
              <a:gd name="connsiteX330" fmla="*/ 10019842 w 14842808"/>
              <a:gd name="connsiteY330" fmla="*/ 1899397 h 2831613"/>
              <a:gd name="connsiteX331" fmla="*/ 12299387 w 14842808"/>
              <a:gd name="connsiteY331" fmla="*/ 1899397 h 2831613"/>
              <a:gd name="connsiteX332" fmla="*/ 11886049 w 14842808"/>
              <a:gd name="connsiteY332" fmla="*/ 2374503 h 2831613"/>
              <a:gd name="connsiteX333" fmla="*/ 12292171 w 14842808"/>
              <a:gd name="connsiteY333" fmla="*/ 2831613 h 2831613"/>
              <a:gd name="connsiteX334" fmla="*/ 12660413 w 14842808"/>
              <a:gd name="connsiteY334" fmla="*/ 2512562 h 2831613"/>
              <a:gd name="connsiteX335" fmla="*/ 12518425 w 14842808"/>
              <a:gd name="connsiteY335" fmla="*/ 2478369 h 2831613"/>
              <a:gd name="connsiteX336" fmla="*/ 12302736 w 14842808"/>
              <a:gd name="connsiteY336" fmla="*/ 2704353 h 2831613"/>
              <a:gd name="connsiteX337" fmla="*/ 12042210 w 14842808"/>
              <a:gd name="connsiteY337" fmla="*/ 2363706 h 2831613"/>
              <a:gd name="connsiteX338" fmla="*/ 12295521 w 14842808"/>
              <a:gd name="connsiteY338" fmla="*/ 2026658 h 2831613"/>
              <a:gd name="connsiteX339" fmla="*/ 12518167 w 14842808"/>
              <a:gd name="connsiteY339" fmla="*/ 2241844 h 2831613"/>
              <a:gd name="connsiteX340" fmla="*/ 12660156 w 14842808"/>
              <a:gd name="connsiteY340" fmla="*/ 2207908 h 2831613"/>
              <a:gd name="connsiteX341" fmla="*/ 12299387 w 14842808"/>
              <a:gd name="connsiteY341" fmla="*/ 1899397 h 2831613"/>
              <a:gd name="connsiteX342" fmla="*/ 13596350 w 14842808"/>
              <a:gd name="connsiteY342" fmla="*/ 1899397 h 2831613"/>
              <a:gd name="connsiteX343" fmla="*/ 13344844 w 14842808"/>
              <a:gd name="connsiteY343" fmla="*/ 2055452 h 2831613"/>
              <a:gd name="connsiteX344" fmla="*/ 13344844 w 14842808"/>
              <a:gd name="connsiteY344" fmla="*/ 1917394 h 2831613"/>
              <a:gd name="connsiteX345" fmla="*/ 13195639 w 14842808"/>
              <a:gd name="connsiteY345" fmla="*/ 1917394 h 2831613"/>
              <a:gd name="connsiteX346" fmla="*/ 13195639 w 14842808"/>
              <a:gd name="connsiteY346" fmla="*/ 2813617 h 2831613"/>
              <a:gd name="connsiteX347" fmla="*/ 13344844 w 14842808"/>
              <a:gd name="connsiteY347" fmla="*/ 2813617 h 2831613"/>
              <a:gd name="connsiteX348" fmla="*/ 13344844 w 14842808"/>
              <a:gd name="connsiteY348" fmla="*/ 2223847 h 2831613"/>
              <a:gd name="connsiteX349" fmla="*/ 13540690 w 14842808"/>
              <a:gd name="connsiteY349" fmla="*/ 2014060 h 2831613"/>
              <a:gd name="connsiteX350" fmla="*/ 13734732 w 14842808"/>
              <a:gd name="connsiteY350" fmla="*/ 2223847 h 2831613"/>
              <a:gd name="connsiteX351" fmla="*/ 13734732 w 14842808"/>
              <a:gd name="connsiteY351" fmla="*/ 2813617 h 2831613"/>
              <a:gd name="connsiteX352" fmla="*/ 13883936 w 14842808"/>
              <a:gd name="connsiteY352" fmla="*/ 2813617 h 2831613"/>
              <a:gd name="connsiteX353" fmla="*/ 13883936 w 14842808"/>
              <a:gd name="connsiteY353" fmla="*/ 2193511 h 2831613"/>
              <a:gd name="connsiteX354" fmla="*/ 13596350 w 14842808"/>
              <a:gd name="connsiteY354" fmla="*/ 1899397 h 2831613"/>
              <a:gd name="connsiteX355" fmla="*/ 14232336 w 14842808"/>
              <a:gd name="connsiteY355" fmla="*/ 2268581 h 2831613"/>
              <a:gd name="connsiteX356" fmla="*/ 14474823 w 14842808"/>
              <a:gd name="connsiteY356" fmla="*/ 2021259 h 2831613"/>
              <a:gd name="connsiteX357" fmla="*/ 14692316 w 14842808"/>
              <a:gd name="connsiteY357" fmla="*/ 2268581 h 2831613"/>
              <a:gd name="connsiteX358" fmla="*/ 14232336 w 14842808"/>
              <a:gd name="connsiteY358" fmla="*/ 2268581 h 2831613"/>
              <a:gd name="connsiteX359" fmla="*/ 14474823 w 14842808"/>
              <a:gd name="connsiteY359" fmla="*/ 1899397 h 2831613"/>
              <a:gd name="connsiteX360" fmla="*/ 14072308 w 14842808"/>
              <a:gd name="connsiteY360" fmla="*/ 2372704 h 2831613"/>
              <a:gd name="connsiteX361" fmla="*/ 14474823 w 14842808"/>
              <a:gd name="connsiteY361" fmla="*/ 2831613 h 2831613"/>
              <a:gd name="connsiteX362" fmla="*/ 14841262 w 14842808"/>
              <a:gd name="connsiteY362" fmla="*/ 2539557 h 2831613"/>
              <a:gd name="connsiteX363" fmla="*/ 14704684 w 14842808"/>
              <a:gd name="connsiteY363" fmla="*/ 2503821 h 2831613"/>
              <a:gd name="connsiteX364" fmla="*/ 14488996 w 14842808"/>
              <a:gd name="connsiteY364" fmla="*/ 2706410 h 2831613"/>
              <a:gd name="connsiteX365" fmla="*/ 14226666 w 14842808"/>
              <a:gd name="connsiteY365" fmla="*/ 2374761 h 2831613"/>
              <a:gd name="connsiteX366" fmla="*/ 14842809 w 14842808"/>
              <a:gd name="connsiteY366" fmla="*/ 2374761 h 2831613"/>
              <a:gd name="connsiteX367" fmla="*/ 14842809 w 14842808"/>
              <a:gd name="connsiteY367" fmla="*/ 2324627 h 2831613"/>
              <a:gd name="connsiteX368" fmla="*/ 14474823 w 14842808"/>
              <a:gd name="connsiteY368" fmla="*/ 1899397 h 2831613"/>
              <a:gd name="connsiteX369" fmla="*/ 5204092 w 14842808"/>
              <a:gd name="connsiteY369" fmla="*/ 1666471 h 2831613"/>
              <a:gd name="connsiteX370" fmla="*/ 5054889 w 14842808"/>
              <a:gd name="connsiteY370" fmla="*/ 1702207 h 2831613"/>
              <a:gd name="connsiteX371" fmla="*/ 5054889 w 14842808"/>
              <a:gd name="connsiteY371" fmla="*/ 1917394 h 2831613"/>
              <a:gd name="connsiteX372" fmla="*/ 4882493 w 14842808"/>
              <a:gd name="connsiteY372" fmla="*/ 1917394 h 2831613"/>
              <a:gd name="connsiteX373" fmla="*/ 4882493 w 14842808"/>
              <a:gd name="connsiteY373" fmla="*/ 2032057 h 2831613"/>
              <a:gd name="connsiteX374" fmla="*/ 5054889 w 14842808"/>
              <a:gd name="connsiteY374" fmla="*/ 2032057 h 2831613"/>
              <a:gd name="connsiteX375" fmla="*/ 5054889 w 14842808"/>
              <a:gd name="connsiteY375" fmla="*/ 2580434 h 2831613"/>
              <a:gd name="connsiteX376" fmla="*/ 5300985 w 14842808"/>
              <a:gd name="connsiteY376" fmla="*/ 2831356 h 2831613"/>
              <a:gd name="connsiteX377" fmla="*/ 5493223 w 14842808"/>
              <a:gd name="connsiteY377" fmla="*/ 2775824 h 2831613"/>
              <a:gd name="connsiteX378" fmla="*/ 5451992 w 14842808"/>
              <a:gd name="connsiteY378" fmla="*/ 2668360 h 2831613"/>
              <a:gd name="connsiteX379" fmla="*/ 5320827 w 14842808"/>
              <a:gd name="connsiteY379" fmla="*/ 2705895 h 2831613"/>
              <a:gd name="connsiteX380" fmla="*/ 5204092 w 14842808"/>
              <a:gd name="connsiteY380" fmla="*/ 2557039 h 2831613"/>
              <a:gd name="connsiteX381" fmla="*/ 5204092 w 14842808"/>
              <a:gd name="connsiteY381" fmla="*/ 2032057 h 2831613"/>
              <a:gd name="connsiteX382" fmla="*/ 5470031 w 14842808"/>
              <a:gd name="connsiteY382" fmla="*/ 2032057 h 2831613"/>
              <a:gd name="connsiteX383" fmla="*/ 5470031 w 14842808"/>
              <a:gd name="connsiteY383" fmla="*/ 1917394 h 2831613"/>
              <a:gd name="connsiteX384" fmla="*/ 5204092 w 14842808"/>
              <a:gd name="connsiteY384" fmla="*/ 1917394 h 2831613"/>
              <a:gd name="connsiteX385" fmla="*/ 5204092 w 14842808"/>
              <a:gd name="connsiteY385" fmla="*/ 1666471 h 2831613"/>
              <a:gd name="connsiteX386" fmla="*/ 219296 w 14842808"/>
              <a:gd name="connsiteY386" fmla="*/ 1558750 h 2831613"/>
              <a:gd name="connsiteX387" fmla="*/ 62877 w 14842808"/>
              <a:gd name="connsiteY387" fmla="*/ 1558750 h 2831613"/>
              <a:gd name="connsiteX388" fmla="*/ 62877 w 14842808"/>
              <a:gd name="connsiteY388" fmla="*/ 2813360 h 2831613"/>
              <a:gd name="connsiteX389" fmla="*/ 219296 w 14842808"/>
              <a:gd name="connsiteY389" fmla="*/ 2813360 h 2831613"/>
              <a:gd name="connsiteX390" fmla="*/ 219296 w 14842808"/>
              <a:gd name="connsiteY390" fmla="*/ 1558750 h 2831613"/>
              <a:gd name="connsiteX391" fmla="*/ 9411173 w 14842808"/>
              <a:gd name="connsiteY391" fmla="*/ 1558750 h 2831613"/>
              <a:gd name="connsiteX392" fmla="*/ 9174096 w 14842808"/>
              <a:gd name="connsiteY392" fmla="*/ 1558750 h 2831613"/>
              <a:gd name="connsiteX393" fmla="*/ 8802247 w 14842808"/>
              <a:gd name="connsiteY393" fmla="*/ 2569636 h 2831613"/>
              <a:gd name="connsiteX394" fmla="*/ 8428593 w 14842808"/>
              <a:gd name="connsiteY394" fmla="*/ 1558750 h 2831613"/>
              <a:gd name="connsiteX395" fmla="*/ 8180694 w 14842808"/>
              <a:gd name="connsiteY395" fmla="*/ 1558750 h 2831613"/>
              <a:gd name="connsiteX396" fmla="*/ 8180694 w 14842808"/>
              <a:gd name="connsiteY396" fmla="*/ 2813360 h 2831613"/>
              <a:gd name="connsiteX397" fmla="*/ 8337113 w 14842808"/>
              <a:gd name="connsiteY397" fmla="*/ 2813360 h 2831613"/>
              <a:gd name="connsiteX398" fmla="*/ 8337113 w 14842808"/>
              <a:gd name="connsiteY398" fmla="*/ 1732801 h 2831613"/>
              <a:gd name="connsiteX399" fmla="*/ 8737824 w 14842808"/>
              <a:gd name="connsiteY399" fmla="*/ 2813617 h 2831613"/>
              <a:gd name="connsiteX400" fmla="*/ 8858166 w 14842808"/>
              <a:gd name="connsiteY400" fmla="*/ 2813617 h 2831613"/>
              <a:gd name="connsiteX401" fmla="*/ 9255270 w 14842808"/>
              <a:gd name="connsiteY401" fmla="*/ 1731002 h 2831613"/>
              <a:gd name="connsiteX402" fmla="*/ 9255270 w 14842808"/>
              <a:gd name="connsiteY402" fmla="*/ 2813617 h 2831613"/>
              <a:gd name="connsiteX403" fmla="*/ 9411431 w 14842808"/>
              <a:gd name="connsiteY403" fmla="*/ 2813617 h 2831613"/>
              <a:gd name="connsiteX404" fmla="*/ 9411431 w 14842808"/>
              <a:gd name="connsiteY404" fmla="*/ 1558750 h 2831613"/>
              <a:gd name="connsiteX405" fmla="*/ 10941349 w 14842808"/>
              <a:gd name="connsiteY405" fmla="*/ 2704353 h 2831613"/>
              <a:gd name="connsiteX406" fmla="*/ 10695254 w 14842808"/>
              <a:gd name="connsiteY406" fmla="*/ 2365505 h 2831613"/>
              <a:gd name="connsiteX407" fmla="*/ 10941349 w 14842808"/>
              <a:gd name="connsiteY407" fmla="*/ 2026658 h 2831613"/>
              <a:gd name="connsiteX408" fmla="*/ 11187445 w 14842808"/>
              <a:gd name="connsiteY408" fmla="*/ 2365505 h 2831613"/>
              <a:gd name="connsiteX409" fmla="*/ 10941349 w 14842808"/>
              <a:gd name="connsiteY409" fmla="*/ 2704353 h 2831613"/>
              <a:gd name="connsiteX410" fmla="*/ 11333042 w 14842808"/>
              <a:gd name="connsiteY410" fmla="*/ 1558750 h 2831613"/>
              <a:gd name="connsiteX411" fmla="*/ 11183838 w 14842808"/>
              <a:gd name="connsiteY411" fmla="*/ 1558750 h 2831613"/>
              <a:gd name="connsiteX412" fmla="*/ 11183838 w 14842808"/>
              <a:gd name="connsiteY412" fmla="*/ 2089388 h 2831613"/>
              <a:gd name="connsiteX413" fmla="*/ 10916095 w 14842808"/>
              <a:gd name="connsiteY413" fmla="*/ 1899397 h 2831613"/>
              <a:gd name="connsiteX414" fmla="*/ 10538834 w 14842808"/>
              <a:gd name="connsiteY414" fmla="*/ 2370904 h 2831613"/>
              <a:gd name="connsiteX415" fmla="*/ 10903469 w 14842808"/>
              <a:gd name="connsiteY415" fmla="*/ 2831613 h 2831613"/>
              <a:gd name="connsiteX416" fmla="*/ 11183838 w 14842808"/>
              <a:gd name="connsiteY416" fmla="*/ 2632624 h 2831613"/>
              <a:gd name="connsiteX417" fmla="*/ 11183838 w 14842808"/>
              <a:gd name="connsiteY417" fmla="*/ 2700753 h 2831613"/>
              <a:gd name="connsiteX418" fmla="*/ 11192857 w 14842808"/>
              <a:gd name="connsiteY418" fmla="*/ 2813617 h 2831613"/>
              <a:gd name="connsiteX419" fmla="*/ 11343864 w 14842808"/>
              <a:gd name="connsiteY419" fmla="*/ 2813617 h 2831613"/>
              <a:gd name="connsiteX420" fmla="*/ 11333042 w 14842808"/>
              <a:gd name="connsiteY420" fmla="*/ 2627225 h 2831613"/>
              <a:gd name="connsiteX421" fmla="*/ 11333042 w 14842808"/>
              <a:gd name="connsiteY421" fmla="*/ 1558750 h 2831613"/>
              <a:gd name="connsiteX422" fmla="*/ 5712261 w 14842808"/>
              <a:gd name="connsiteY422" fmla="*/ 1532012 h 2831613"/>
              <a:gd name="connsiteX423" fmla="*/ 5606350 w 14842808"/>
              <a:gd name="connsiteY423" fmla="*/ 1637677 h 2831613"/>
              <a:gd name="connsiteX424" fmla="*/ 5712261 w 14842808"/>
              <a:gd name="connsiteY424" fmla="*/ 1741542 h 2831613"/>
              <a:gd name="connsiteX425" fmla="*/ 5816369 w 14842808"/>
              <a:gd name="connsiteY425" fmla="*/ 1637677 h 2831613"/>
              <a:gd name="connsiteX426" fmla="*/ 5712261 w 14842808"/>
              <a:gd name="connsiteY426" fmla="*/ 1532012 h 2831613"/>
              <a:gd name="connsiteX427" fmla="*/ 11623976 w 14842808"/>
              <a:gd name="connsiteY427" fmla="*/ 1532012 h 2831613"/>
              <a:gd name="connsiteX428" fmla="*/ 11518064 w 14842808"/>
              <a:gd name="connsiteY428" fmla="*/ 1637677 h 2831613"/>
              <a:gd name="connsiteX429" fmla="*/ 11623976 w 14842808"/>
              <a:gd name="connsiteY429" fmla="*/ 1741542 h 2831613"/>
              <a:gd name="connsiteX430" fmla="*/ 11728083 w 14842808"/>
              <a:gd name="connsiteY430" fmla="*/ 1637677 h 2831613"/>
              <a:gd name="connsiteX431" fmla="*/ 11623976 w 14842808"/>
              <a:gd name="connsiteY431" fmla="*/ 1532012 h 2831613"/>
              <a:gd name="connsiteX432" fmla="*/ 12906510 w 14842808"/>
              <a:gd name="connsiteY432" fmla="*/ 1532012 h 2831613"/>
              <a:gd name="connsiteX433" fmla="*/ 12800598 w 14842808"/>
              <a:gd name="connsiteY433" fmla="*/ 1637677 h 2831613"/>
              <a:gd name="connsiteX434" fmla="*/ 12906510 w 14842808"/>
              <a:gd name="connsiteY434" fmla="*/ 1741542 h 2831613"/>
              <a:gd name="connsiteX435" fmla="*/ 13010617 w 14842808"/>
              <a:gd name="connsiteY435" fmla="*/ 1637677 h 2831613"/>
              <a:gd name="connsiteX436" fmla="*/ 12906510 w 14842808"/>
              <a:gd name="connsiteY436" fmla="*/ 1532012 h 283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Lst>
            <a:rect l="l" t="t" r="r" b="b"/>
            <a:pathLst>
              <a:path w="14842808" h="2831613">
                <a:moveTo>
                  <a:pt x="1397722" y="1202934"/>
                </a:moveTo>
                <a:cubicBezTo>
                  <a:pt x="1259341" y="1202934"/>
                  <a:pt x="1182034" y="1072074"/>
                  <a:pt x="1182034" y="835550"/>
                </a:cubicBezTo>
                <a:cubicBezTo>
                  <a:pt x="1182034" y="595426"/>
                  <a:pt x="1259341" y="468165"/>
                  <a:pt x="1397722" y="468165"/>
                </a:cubicBezTo>
                <a:cubicBezTo>
                  <a:pt x="1536103" y="468165"/>
                  <a:pt x="1613410" y="597225"/>
                  <a:pt x="1613410" y="835550"/>
                </a:cubicBezTo>
                <a:cubicBezTo>
                  <a:pt x="1613153" y="1075674"/>
                  <a:pt x="1535845" y="1202934"/>
                  <a:pt x="1397722" y="1202934"/>
                </a:cubicBezTo>
                <a:moveTo>
                  <a:pt x="1397722" y="369441"/>
                </a:moveTo>
                <a:cubicBezTo>
                  <a:pt x="1115549" y="369441"/>
                  <a:pt x="959388" y="579229"/>
                  <a:pt x="959388" y="835550"/>
                </a:cubicBezTo>
                <a:cubicBezTo>
                  <a:pt x="959388" y="1091871"/>
                  <a:pt x="1115807" y="1301658"/>
                  <a:pt x="1397722" y="1301658"/>
                </a:cubicBezTo>
                <a:cubicBezTo>
                  <a:pt x="1679895" y="1301658"/>
                  <a:pt x="1836056" y="1091871"/>
                  <a:pt x="1836056" y="835550"/>
                </a:cubicBezTo>
                <a:cubicBezTo>
                  <a:pt x="1836056" y="578972"/>
                  <a:pt x="1679637" y="369441"/>
                  <a:pt x="1397722" y="369441"/>
                </a:cubicBezTo>
                <a:moveTo>
                  <a:pt x="3357471" y="369441"/>
                </a:moveTo>
                <a:cubicBezTo>
                  <a:pt x="3224501" y="369441"/>
                  <a:pt x="3150802" y="426773"/>
                  <a:pt x="3109571" y="500301"/>
                </a:cubicBezTo>
                <a:lnTo>
                  <a:pt x="3098748" y="500301"/>
                </a:lnTo>
                <a:lnTo>
                  <a:pt x="3098748" y="387438"/>
                </a:lnTo>
                <a:lnTo>
                  <a:pt x="2886667" y="387438"/>
                </a:lnTo>
                <a:lnTo>
                  <a:pt x="2886667" y="1283661"/>
                </a:lnTo>
                <a:lnTo>
                  <a:pt x="3098748" y="1283661"/>
                </a:lnTo>
                <a:lnTo>
                  <a:pt x="3098748" y="704433"/>
                </a:lnTo>
                <a:cubicBezTo>
                  <a:pt x="3098748" y="571773"/>
                  <a:pt x="3167036" y="494645"/>
                  <a:pt x="3276555" y="494645"/>
                </a:cubicBezTo>
                <a:cubicBezTo>
                  <a:pt x="3382467" y="494645"/>
                  <a:pt x="3429367" y="564574"/>
                  <a:pt x="3429367" y="670239"/>
                </a:cubicBezTo>
                <a:lnTo>
                  <a:pt x="3429367" y="1283147"/>
                </a:lnTo>
                <a:lnTo>
                  <a:pt x="3641447" y="1283147"/>
                </a:lnTo>
                <a:lnTo>
                  <a:pt x="3641447" y="668697"/>
                </a:lnTo>
                <a:cubicBezTo>
                  <a:pt x="3641189" y="484105"/>
                  <a:pt x="3544297" y="369441"/>
                  <a:pt x="3357471" y="369441"/>
                </a:cubicBezTo>
                <a:moveTo>
                  <a:pt x="4122559" y="369441"/>
                </a:moveTo>
                <a:cubicBezTo>
                  <a:pt x="3926712" y="369441"/>
                  <a:pt x="3779312" y="451968"/>
                  <a:pt x="3779312" y="627562"/>
                </a:cubicBezTo>
                <a:cubicBezTo>
                  <a:pt x="3779312" y="776418"/>
                  <a:pt x="3881616" y="856888"/>
                  <a:pt x="3996805" y="885683"/>
                </a:cubicBezTo>
                <a:lnTo>
                  <a:pt x="4176416" y="930417"/>
                </a:lnTo>
                <a:cubicBezTo>
                  <a:pt x="4271762" y="953812"/>
                  <a:pt x="4314797" y="987748"/>
                  <a:pt x="4314797" y="1063076"/>
                </a:cubicBezTo>
                <a:cubicBezTo>
                  <a:pt x="4314797" y="1154601"/>
                  <a:pt x="4250116" y="1206534"/>
                  <a:pt x="4136989" y="1206534"/>
                </a:cubicBezTo>
                <a:cubicBezTo>
                  <a:pt x="4014843" y="1206534"/>
                  <a:pt x="3951966" y="1147402"/>
                  <a:pt x="3932124" y="998546"/>
                </a:cubicBezTo>
                <a:lnTo>
                  <a:pt x="3741690" y="1052278"/>
                </a:lnTo>
                <a:cubicBezTo>
                  <a:pt x="3752513" y="1206534"/>
                  <a:pt x="3896305" y="1301401"/>
                  <a:pt x="4113539" y="1301401"/>
                </a:cubicBezTo>
                <a:cubicBezTo>
                  <a:pt x="4356028" y="1301401"/>
                  <a:pt x="4487193" y="1188537"/>
                  <a:pt x="4487193" y="1009344"/>
                </a:cubicBezTo>
                <a:cubicBezTo>
                  <a:pt x="4487193" y="840949"/>
                  <a:pt x="4370458" y="771019"/>
                  <a:pt x="4248313" y="740425"/>
                </a:cubicBezTo>
                <a:lnTo>
                  <a:pt x="4075916" y="697491"/>
                </a:lnTo>
                <a:cubicBezTo>
                  <a:pt x="3989589" y="675895"/>
                  <a:pt x="3951966" y="636560"/>
                  <a:pt x="3951966" y="579229"/>
                </a:cubicBezTo>
                <a:cubicBezTo>
                  <a:pt x="3951966" y="507500"/>
                  <a:pt x="4013039" y="464566"/>
                  <a:pt x="4104778" y="464566"/>
                </a:cubicBezTo>
                <a:cubicBezTo>
                  <a:pt x="4212493" y="464566"/>
                  <a:pt x="4278978" y="523697"/>
                  <a:pt x="4287997" y="636560"/>
                </a:cubicBezTo>
                <a:lnTo>
                  <a:pt x="4467608" y="582828"/>
                </a:lnTo>
                <a:cubicBezTo>
                  <a:pt x="4445962" y="457110"/>
                  <a:pt x="4322013" y="369441"/>
                  <a:pt x="4122559" y="369441"/>
                </a:cubicBezTo>
                <a:moveTo>
                  <a:pt x="5013658" y="1202934"/>
                </a:moveTo>
                <a:cubicBezTo>
                  <a:pt x="4875277" y="1202934"/>
                  <a:pt x="4797969" y="1072074"/>
                  <a:pt x="4797969" y="835550"/>
                </a:cubicBezTo>
                <a:cubicBezTo>
                  <a:pt x="4797969" y="595426"/>
                  <a:pt x="4875277" y="468165"/>
                  <a:pt x="5013658" y="468165"/>
                </a:cubicBezTo>
                <a:cubicBezTo>
                  <a:pt x="5152039" y="468165"/>
                  <a:pt x="5229346" y="597225"/>
                  <a:pt x="5229346" y="835550"/>
                </a:cubicBezTo>
                <a:cubicBezTo>
                  <a:pt x="5229089" y="1075674"/>
                  <a:pt x="5152039" y="1202934"/>
                  <a:pt x="5013658" y="1202934"/>
                </a:cubicBezTo>
                <a:moveTo>
                  <a:pt x="5013658" y="369441"/>
                </a:moveTo>
                <a:cubicBezTo>
                  <a:pt x="4731485" y="369441"/>
                  <a:pt x="4575324" y="579229"/>
                  <a:pt x="4575324" y="835550"/>
                </a:cubicBezTo>
                <a:cubicBezTo>
                  <a:pt x="4575324" y="1091871"/>
                  <a:pt x="4731743" y="1301658"/>
                  <a:pt x="5013658" y="1301658"/>
                </a:cubicBezTo>
                <a:cubicBezTo>
                  <a:pt x="5295831" y="1301658"/>
                  <a:pt x="5451992" y="1091871"/>
                  <a:pt x="5451992" y="835550"/>
                </a:cubicBezTo>
                <a:cubicBezTo>
                  <a:pt x="5451992" y="578972"/>
                  <a:pt x="5295573" y="369441"/>
                  <a:pt x="5013658" y="369441"/>
                </a:cubicBezTo>
                <a:moveTo>
                  <a:pt x="6048292" y="369441"/>
                </a:moveTo>
                <a:cubicBezTo>
                  <a:pt x="5915322" y="369441"/>
                  <a:pt x="5841623" y="426773"/>
                  <a:pt x="5800392" y="500301"/>
                </a:cubicBezTo>
                <a:lnTo>
                  <a:pt x="5789569" y="500301"/>
                </a:lnTo>
                <a:lnTo>
                  <a:pt x="5789569" y="387438"/>
                </a:lnTo>
                <a:lnTo>
                  <a:pt x="5577488" y="387438"/>
                </a:lnTo>
                <a:lnTo>
                  <a:pt x="5577488" y="1283661"/>
                </a:lnTo>
                <a:lnTo>
                  <a:pt x="5789569" y="1283661"/>
                </a:lnTo>
                <a:lnTo>
                  <a:pt x="5789569" y="704433"/>
                </a:lnTo>
                <a:cubicBezTo>
                  <a:pt x="5789569" y="571773"/>
                  <a:pt x="5857857" y="494645"/>
                  <a:pt x="5967376" y="494645"/>
                </a:cubicBezTo>
                <a:cubicBezTo>
                  <a:pt x="6073288" y="494645"/>
                  <a:pt x="6120188" y="564574"/>
                  <a:pt x="6120188" y="670239"/>
                </a:cubicBezTo>
                <a:lnTo>
                  <a:pt x="6120188" y="1283147"/>
                </a:lnTo>
                <a:lnTo>
                  <a:pt x="6332269" y="1283147"/>
                </a:lnTo>
                <a:lnTo>
                  <a:pt x="6332269" y="668697"/>
                </a:lnTo>
                <a:cubicBezTo>
                  <a:pt x="6332269" y="484105"/>
                  <a:pt x="6235118" y="369441"/>
                  <a:pt x="6048292" y="369441"/>
                </a:cubicBezTo>
                <a:moveTo>
                  <a:pt x="9197289" y="1202934"/>
                </a:moveTo>
                <a:cubicBezTo>
                  <a:pt x="9058909" y="1202934"/>
                  <a:pt x="8981601" y="1072074"/>
                  <a:pt x="8981601" y="835550"/>
                </a:cubicBezTo>
                <a:cubicBezTo>
                  <a:pt x="8981601" y="595426"/>
                  <a:pt x="9058909" y="468165"/>
                  <a:pt x="9197289" y="468165"/>
                </a:cubicBezTo>
                <a:cubicBezTo>
                  <a:pt x="9335670" y="468165"/>
                  <a:pt x="9412978" y="597225"/>
                  <a:pt x="9412978" y="835550"/>
                </a:cubicBezTo>
                <a:cubicBezTo>
                  <a:pt x="9412978" y="1075674"/>
                  <a:pt x="9335670" y="1202934"/>
                  <a:pt x="9197289" y="1202934"/>
                </a:cubicBezTo>
                <a:moveTo>
                  <a:pt x="9197289" y="369441"/>
                </a:moveTo>
                <a:cubicBezTo>
                  <a:pt x="8915116" y="369441"/>
                  <a:pt x="8758955" y="579229"/>
                  <a:pt x="8758955" y="835550"/>
                </a:cubicBezTo>
                <a:cubicBezTo>
                  <a:pt x="8758955" y="1091871"/>
                  <a:pt x="8915374" y="1301658"/>
                  <a:pt x="9197289" y="1301658"/>
                </a:cubicBezTo>
                <a:cubicBezTo>
                  <a:pt x="9479462" y="1301658"/>
                  <a:pt x="9635623" y="1091871"/>
                  <a:pt x="9635623" y="835550"/>
                </a:cubicBezTo>
                <a:cubicBezTo>
                  <a:pt x="9635623" y="578972"/>
                  <a:pt x="9479462" y="369441"/>
                  <a:pt x="9197289" y="369441"/>
                </a:cubicBezTo>
                <a:moveTo>
                  <a:pt x="11157038" y="369441"/>
                </a:moveTo>
                <a:cubicBezTo>
                  <a:pt x="11024068" y="369441"/>
                  <a:pt x="10950369" y="426773"/>
                  <a:pt x="10909138" y="500301"/>
                </a:cubicBezTo>
                <a:lnTo>
                  <a:pt x="10898314" y="500301"/>
                </a:lnTo>
                <a:lnTo>
                  <a:pt x="10898314" y="387438"/>
                </a:lnTo>
                <a:lnTo>
                  <a:pt x="10686234" y="387438"/>
                </a:lnTo>
                <a:lnTo>
                  <a:pt x="10686234" y="1283661"/>
                </a:lnTo>
                <a:lnTo>
                  <a:pt x="10898314" y="1283661"/>
                </a:lnTo>
                <a:lnTo>
                  <a:pt x="10898314" y="704433"/>
                </a:lnTo>
                <a:cubicBezTo>
                  <a:pt x="10898314" y="571773"/>
                  <a:pt x="10966603" y="494645"/>
                  <a:pt x="11076123" y="494645"/>
                </a:cubicBezTo>
                <a:cubicBezTo>
                  <a:pt x="11182034" y="494645"/>
                  <a:pt x="11228934" y="564574"/>
                  <a:pt x="11228934" y="670239"/>
                </a:cubicBezTo>
                <a:lnTo>
                  <a:pt x="11228934" y="1283147"/>
                </a:lnTo>
                <a:lnTo>
                  <a:pt x="11441014" y="1283147"/>
                </a:lnTo>
                <a:lnTo>
                  <a:pt x="11441014" y="668697"/>
                </a:lnTo>
                <a:cubicBezTo>
                  <a:pt x="11441014" y="484105"/>
                  <a:pt x="11343864" y="369441"/>
                  <a:pt x="11157038" y="369441"/>
                </a:cubicBezTo>
                <a:moveTo>
                  <a:pt x="11922383" y="369441"/>
                </a:moveTo>
                <a:cubicBezTo>
                  <a:pt x="11726537" y="369441"/>
                  <a:pt x="11579137" y="451968"/>
                  <a:pt x="11579137" y="627562"/>
                </a:cubicBezTo>
                <a:cubicBezTo>
                  <a:pt x="11579137" y="776418"/>
                  <a:pt x="11681441" y="856888"/>
                  <a:pt x="11796630" y="885683"/>
                </a:cubicBezTo>
                <a:lnTo>
                  <a:pt x="11976241" y="930417"/>
                </a:lnTo>
                <a:cubicBezTo>
                  <a:pt x="12071329" y="953812"/>
                  <a:pt x="12114621" y="987748"/>
                  <a:pt x="12114621" y="1063076"/>
                </a:cubicBezTo>
                <a:cubicBezTo>
                  <a:pt x="12114621" y="1154601"/>
                  <a:pt x="12049941" y="1206534"/>
                  <a:pt x="11936814" y="1206534"/>
                </a:cubicBezTo>
                <a:cubicBezTo>
                  <a:pt x="11814668" y="1206534"/>
                  <a:pt x="11751791" y="1147402"/>
                  <a:pt x="11731949" y="998546"/>
                </a:cubicBezTo>
                <a:lnTo>
                  <a:pt x="11541514" y="1052278"/>
                </a:lnTo>
                <a:cubicBezTo>
                  <a:pt x="11552337" y="1206534"/>
                  <a:pt x="11696130" y="1301401"/>
                  <a:pt x="11913364" y="1301401"/>
                </a:cubicBezTo>
                <a:cubicBezTo>
                  <a:pt x="12155852" y="1301401"/>
                  <a:pt x="12287018" y="1188537"/>
                  <a:pt x="12287018" y="1009344"/>
                </a:cubicBezTo>
                <a:cubicBezTo>
                  <a:pt x="12287018" y="840949"/>
                  <a:pt x="12170283" y="771019"/>
                  <a:pt x="12048137" y="740425"/>
                </a:cubicBezTo>
                <a:lnTo>
                  <a:pt x="11875741" y="697491"/>
                </a:lnTo>
                <a:cubicBezTo>
                  <a:pt x="11789414" y="675895"/>
                  <a:pt x="11751791" y="636560"/>
                  <a:pt x="11751791" y="579229"/>
                </a:cubicBezTo>
                <a:cubicBezTo>
                  <a:pt x="11751791" y="507500"/>
                  <a:pt x="11812864" y="464566"/>
                  <a:pt x="11904603" y="464566"/>
                </a:cubicBezTo>
                <a:cubicBezTo>
                  <a:pt x="12012318" y="464566"/>
                  <a:pt x="12078802" y="523697"/>
                  <a:pt x="12087821" y="636560"/>
                </a:cubicBezTo>
                <a:lnTo>
                  <a:pt x="12267433" y="582828"/>
                </a:lnTo>
                <a:cubicBezTo>
                  <a:pt x="12245787" y="457110"/>
                  <a:pt x="12121837" y="369441"/>
                  <a:pt x="11922383" y="369441"/>
                </a:cubicBezTo>
                <a:moveTo>
                  <a:pt x="12813224" y="1202934"/>
                </a:moveTo>
                <a:cubicBezTo>
                  <a:pt x="12674844" y="1202934"/>
                  <a:pt x="12597536" y="1072074"/>
                  <a:pt x="12597536" y="835550"/>
                </a:cubicBezTo>
                <a:cubicBezTo>
                  <a:pt x="12597536" y="595426"/>
                  <a:pt x="12674844" y="468165"/>
                  <a:pt x="12813224" y="468165"/>
                </a:cubicBezTo>
                <a:cubicBezTo>
                  <a:pt x="12951606" y="468165"/>
                  <a:pt x="13028913" y="597225"/>
                  <a:pt x="13028913" y="835550"/>
                </a:cubicBezTo>
                <a:cubicBezTo>
                  <a:pt x="13028913" y="1075674"/>
                  <a:pt x="12951606" y="1202934"/>
                  <a:pt x="12813224" y="1202934"/>
                </a:cubicBezTo>
                <a:moveTo>
                  <a:pt x="12813224" y="369441"/>
                </a:moveTo>
                <a:cubicBezTo>
                  <a:pt x="12531052" y="369441"/>
                  <a:pt x="12374891" y="579229"/>
                  <a:pt x="12374891" y="835550"/>
                </a:cubicBezTo>
                <a:cubicBezTo>
                  <a:pt x="12374891" y="1091871"/>
                  <a:pt x="12531310" y="1301658"/>
                  <a:pt x="12813224" y="1301658"/>
                </a:cubicBezTo>
                <a:cubicBezTo>
                  <a:pt x="13095398" y="1301658"/>
                  <a:pt x="13251560" y="1091871"/>
                  <a:pt x="13251560" y="835550"/>
                </a:cubicBezTo>
                <a:cubicBezTo>
                  <a:pt x="13251560" y="578972"/>
                  <a:pt x="13095398" y="369441"/>
                  <a:pt x="12813224" y="369441"/>
                </a:cubicBezTo>
                <a:moveTo>
                  <a:pt x="13847858" y="369441"/>
                </a:moveTo>
                <a:cubicBezTo>
                  <a:pt x="13714890" y="369441"/>
                  <a:pt x="13641190" y="426773"/>
                  <a:pt x="13599958" y="500301"/>
                </a:cubicBezTo>
                <a:lnTo>
                  <a:pt x="13589136" y="500301"/>
                </a:lnTo>
                <a:lnTo>
                  <a:pt x="13589136" y="387438"/>
                </a:lnTo>
                <a:lnTo>
                  <a:pt x="13377056" y="387438"/>
                </a:lnTo>
                <a:lnTo>
                  <a:pt x="13377056" y="1283661"/>
                </a:lnTo>
                <a:lnTo>
                  <a:pt x="13589136" y="1283661"/>
                </a:lnTo>
                <a:lnTo>
                  <a:pt x="13589136" y="704433"/>
                </a:lnTo>
                <a:cubicBezTo>
                  <a:pt x="13589136" y="571773"/>
                  <a:pt x="13657425" y="494645"/>
                  <a:pt x="13766944" y="494645"/>
                </a:cubicBezTo>
                <a:cubicBezTo>
                  <a:pt x="13872855" y="494645"/>
                  <a:pt x="13919755" y="564574"/>
                  <a:pt x="13919755" y="670239"/>
                </a:cubicBezTo>
                <a:lnTo>
                  <a:pt x="13919755" y="1283147"/>
                </a:lnTo>
                <a:lnTo>
                  <a:pt x="14131835" y="1283147"/>
                </a:lnTo>
                <a:lnTo>
                  <a:pt x="14131835" y="668697"/>
                </a:lnTo>
                <a:cubicBezTo>
                  <a:pt x="14131835" y="484105"/>
                  <a:pt x="14034943" y="369441"/>
                  <a:pt x="13847858" y="369441"/>
                </a:cubicBezTo>
                <a:moveTo>
                  <a:pt x="833634" y="28794"/>
                </a:moveTo>
                <a:lnTo>
                  <a:pt x="610730" y="28794"/>
                </a:lnTo>
                <a:lnTo>
                  <a:pt x="610730" y="955355"/>
                </a:lnTo>
                <a:cubicBezTo>
                  <a:pt x="610730" y="1106011"/>
                  <a:pt x="553265" y="1195479"/>
                  <a:pt x="416688" y="1195479"/>
                </a:cubicBezTo>
                <a:cubicBezTo>
                  <a:pt x="281915" y="1195479"/>
                  <a:pt x="222646" y="1100612"/>
                  <a:pt x="222646" y="937358"/>
                </a:cubicBezTo>
                <a:lnTo>
                  <a:pt x="222646" y="765363"/>
                </a:lnTo>
                <a:lnTo>
                  <a:pt x="0" y="821152"/>
                </a:lnTo>
                <a:lnTo>
                  <a:pt x="0" y="898280"/>
                </a:lnTo>
                <a:cubicBezTo>
                  <a:pt x="0" y="1133005"/>
                  <a:pt x="116735" y="1312456"/>
                  <a:pt x="416946" y="1312456"/>
                </a:cubicBezTo>
                <a:cubicBezTo>
                  <a:pt x="716899" y="1312456"/>
                  <a:pt x="833634" y="1133262"/>
                  <a:pt x="833634" y="898280"/>
                </a:cubicBezTo>
                <a:lnTo>
                  <a:pt x="833634" y="28794"/>
                </a:lnTo>
                <a:moveTo>
                  <a:pt x="2173633" y="28794"/>
                </a:moveTo>
                <a:lnTo>
                  <a:pt x="1961552" y="28794"/>
                </a:lnTo>
                <a:lnTo>
                  <a:pt x="1961552" y="1283404"/>
                </a:lnTo>
                <a:lnTo>
                  <a:pt x="2173633" y="1283404"/>
                </a:lnTo>
                <a:lnTo>
                  <a:pt x="2173633" y="704433"/>
                </a:lnTo>
                <a:cubicBezTo>
                  <a:pt x="2173633" y="571773"/>
                  <a:pt x="2241921" y="494645"/>
                  <a:pt x="2351441" y="494645"/>
                </a:cubicBezTo>
                <a:cubicBezTo>
                  <a:pt x="2457352" y="494645"/>
                  <a:pt x="2504252" y="564574"/>
                  <a:pt x="2504252" y="670239"/>
                </a:cubicBezTo>
                <a:lnTo>
                  <a:pt x="2504252" y="1283147"/>
                </a:lnTo>
                <a:lnTo>
                  <a:pt x="2716075" y="1283147"/>
                </a:lnTo>
                <a:lnTo>
                  <a:pt x="2716075" y="668697"/>
                </a:lnTo>
                <a:cubicBezTo>
                  <a:pt x="2716075" y="484105"/>
                  <a:pt x="2618925" y="369441"/>
                  <a:pt x="2432098" y="369441"/>
                </a:cubicBezTo>
                <a:cubicBezTo>
                  <a:pt x="2299129" y="369441"/>
                  <a:pt x="2225429" y="426773"/>
                  <a:pt x="2184198" y="500301"/>
                </a:cubicBezTo>
                <a:lnTo>
                  <a:pt x="2173375" y="500301"/>
                </a:lnTo>
                <a:lnTo>
                  <a:pt x="2173375" y="28794"/>
                </a:lnTo>
                <a:moveTo>
                  <a:pt x="8633201" y="28794"/>
                </a:moveTo>
                <a:lnTo>
                  <a:pt x="8410555" y="28794"/>
                </a:lnTo>
                <a:lnTo>
                  <a:pt x="8410555" y="955355"/>
                </a:lnTo>
                <a:cubicBezTo>
                  <a:pt x="8410555" y="1106011"/>
                  <a:pt x="8353090" y="1195479"/>
                  <a:pt x="8216513" y="1195479"/>
                </a:cubicBezTo>
                <a:cubicBezTo>
                  <a:pt x="8081740" y="1195479"/>
                  <a:pt x="8022471" y="1100612"/>
                  <a:pt x="8022471" y="937358"/>
                </a:cubicBezTo>
                <a:lnTo>
                  <a:pt x="8022471" y="765363"/>
                </a:lnTo>
                <a:lnTo>
                  <a:pt x="7799825" y="820895"/>
                </a:lnTo>
                <a:lnTo>
                  <a:pt x="7799825" y="898023"/>
                </a:lnTo>
                <a:cubicBezTo>
                  <a:pt x="7799825" y="1132748"/>
                  <a:pt x="7916559" y="1312199"/>
                  <a:pt x="8216771" y="1312199"/>
                </a:cubicBezTo>
                <a:cubicBezTo>
                  <a:pt x="8516724" y="1312199"/>
                  <a:pt x="8633459" y="1133005"/>
                  <a:pt x="8633459" y="898023"/>
                </a:cubicBezTo>
                <a:lnTo>
                  <a:pt x="8633459" y="28794"/>
                </a:lnTo>
                <a:moveTo>
                  <a:pt x="9973200" y="28794"/>
                </a:moveTo>
                <a:lnTo>
                  <a:pt x="9761120" y="28794"/>
                </a:lnTo>
                <a:lnTo>
                  <a:pt x="9761120" y="1283404"/>
                </a:lnTo>
                <a:lnTo>
                  <a:pt x="9973200" y="1283404"/>
                </a:lnTo>
                <a:lnTo>
                  <a:pt x="9973200" y="704433"/>
                </a:lnTo>
                <a:cubicBezTo>
                  <a:pt x="9973200" y="571773"/>
                  <a:pt x="10041488" y="494645"/>
                  <a:pt x="10151007" y="494645"/>
                </a:cubicBezTo>
                <a:cubicBezTo>
                  <a:pt x="10256919" y="494645"/>
                  <a:pt x="10303819" y="564574"/>
                  <a:pt x="10303819" y="670239"/>
                </a:cubicBezTo>
                <a:lnTo>
                  <a:pt x="10303819" y="1283147"/>
                </a:lnTo>
                <a:lnTo>
                  <a:pt x="10515899" y="1283147"/>
                </a:lnTo>
                <a:lnTo>
                  <a:pt x="10515899" y="668697"/>
                </a:lnTo>
                <a:cubicBezTo>
                  <a:pt x="10515899" y="484105"/>
                  <a:pt x="10419008" y="369441"/>
                  <a:pt x="10231923" y="369441"/>
                </a:cubicBezTo>
                <a:cubicBezTo>
                  <a:pt x="10098954" y="369441"/>
                  <a:pt x="10025254" y="426773"/>
                  <a:pt x="9984023" y="500301"/>
                </a:cubicBezTo>
                <a:lnTo>
                  <a:pt x="9973200" y="500301"/>
                </a:lnTo>
                <a:lnTo>
                  <a:pt x="9973200" y="28794"/>
                </a:lnTo>
                <a:moveTo>
                  <a:pt x="7030872" y="1181339"/>
                </a:moveTo>
                <a:cubicBezTo>
                  <a:pt x="6858476" y="1181339"/>
                  <a:pt x="6752307" y="1041480"/>
                  <a:pt x="6752307" y="892624"/>
                </a:cubicBezTo>
                <a:cubicBezTo>
                  <a:pt x="6752307" y="799300"/>
                  <a:pt x="6793538" y="713431"/>
                  <a:pt x="6861826" y="665097"/>
                </a:cubicBezTo>
                <a:lnTo>
                  <a:pt x="7267949" y="1107810"/>
                </a:lnTo>
                <a:cubicBezTo>
                  <a:pt x="7192702" y="1152544"/>
                  <a:pt x="7108179" y="1181339"/>
                  <a:pt x="7030872" y="1181339"/>
                </a:cubicBezTo>
                <a:moveTo>
                  <a:pt x="7426171" y="960754"/>
                </a:moveTo>
                <a:lnTo>
                  <a:pt x="7074164" y="573573"/>
                </a:lnTo>
                <a:cubicBezTo>
                  <a:pt x="7137041" y="548378"/>
                  <a:pt x="7198114" y="539637"/>
                  <a:pt x="7248364" y="539637"/>
                </a:cubicBezTo>
                <a:cubicBezTo>
                  <a:pt x="7393960" y="539637"/>
                  <a:pt x="7483637" y="623963"/>
                  <a:pt x="7483637" y="768963"/>
                </a:cubicBezTo>
                <a:cubicBezTo>
                  <a:pt x="7483637" y="833493"/>
                  <a:pt x="7465598" y="899823"/>
                  <a:pt x="7426171" y="960754"/>
                </a:cubicBezTo>
                <a:moveTo>
                  <a:pt x="7025461" y="521640"/>
                </a:moveTo>
                <a:lnTo>
                  <a:pt x="6948153" y="435514"/>
                </a:lnTo>
                <a:cubicBezTo>
                  <a:pt x="6879864" y="360186"/>
                  <a:pt x="6860022" y="313652"/>
                  <a:pt x="6860022" y="258121"/>
                </a:cubicBezTo>
                <a:cubicBezTo>
                  <a:pt x="6860022" y="154255"/>
                  <a:pt x="6926507" y="95124"/>
                  <a:pt x="7030614" y="95124"/>
                </a:cubicBezTo>
                <a:cubicBezTo>
                  <a:pt x="7136526" y="95124"/>
                  <a:pt x="7199403" y="156055"/>
                  <a:pt x="7199403" y="267119"/>
                </a:cubicBezTo>
                <a:cubicBezTo>
                  <a:pt x="7199918" y="369441"/>
                  <a:pt x="7149410" y="466108"/>
                  <a:pt x="7025461" y="521640"/>
                </a:cubicBezTo>
                <a:moveTo>
                  <a:pt x="7036283" y="0"/>
                </a:moveTo>
                <a:cubicBezTo>
                  <a:pt x="6788383" y="0"/>
                  <a:pt x="6666238" y="138059"/>
                  <a:pt x="6666238" y="310053"/>
                </a:cubicBezTo>
                <a:cubicBezTo>
                  <a:pt x="6666238" y="403121"/>
                  <a:pt x="6705665" y="496445"/>
                  <a:pt x="6810030" y="609308"/>
                </a:cubicBezTo>
                <a:lnTo>
                  <a:pt x="6811834" y="612908"/>
                </a:lnTo>
                <a:cubicBezTo>
                  <a:pt x="6635829" y="697234"/>
                  <a:pt x="6554914" y="833493"/>
                  <a:pt x="6554914" y="973094"/>
                </a:cubicBezTo>
                <a:cubicBezTo>
                  <a:pt x="6554914" y="1157686"/>
                  <a:pt x="6696903" y="1311941"/>
                  <a:pt x="6915941" y="1311941"/>
                </a:cubicBezTo>
                <a:cubicBezTo>
                  <a:pt x="7041694" y="1311941"/>
                  <a:pt x="7189094" y="1260009"/>
                  <a:pt x="7322064" y="1166684"/>
                </a:cubicBezTo>
                <a:lnTo>
                  <a:pt x="7429780" y="1283147"/>
                </a:lnTo>
                <a:lnTo>
                  <a:pt x="7711952" y="1283147"/>
                </a:lnTo>
                <a:lnTo>
                  <a:pt x="7711952" y="1274406"/>
                </a:lnTo>
                <a:lnTo>
                  <a:pt x="7482091" y="1021684"/>
                </a:lnTo>
                <a:cubicBezTo>
                  <a:pt x="7579241" y="907021"/>
                  <a:pt x="7634902" y="781560"/>
                  <a:pt x="7634902" y="672039"/>
                </a:cubicBezTo>
                <a:cubicBezTo>
                  <a:pt x="7634902" y="535780"/>
                  <a:pt x="7543164" y="444512"/>
                  <a:pt x="7399629" y="444512"/>
                </a:cubicBezTo>
                <a:cubicBezTo>
                  <a:pt x="7324126" y="444512"/>
                  <a:pt x="7239603" y="466108"/>
                  <a:pt x="7183941" y="487447"/>
                </a:cubicBezTo>
                <a:lnTo>
                  <a:pt x="7180333" y="480248"/>
                </a:lnTo>
                <a:cubicBezTo>
                  <a:pt x="7316910" y="406720"/>
                  <a:pt x="7374375" y="338590"/>
                  <a:pt x="7374375" y="243723"/>
                </a:cubicBezTo>
                <a:cubicBezTo>
                  <a:pt x="7374118" y="107722"/>
                  <a:pt x="7251971" y="0"/>
                  <a:pt x="7036283" y="0"/>
                </a:cubicBezTo>
                <a:moveTo>
                  <a:pt x="3908932" y="1917394"/>
                </a:moveTo>
                <a:lnTo>
                  <a:pt x="3756120" y="1917394"/>
                </a:lnTo>
                <a:lnTo>
                  <a:pt x="3526259" y="2641622"/>
                </a:lnTo>
                <a:lnTo>
                  <a:pt x="3294594" y="1917394"/>
                </a:lnTo>
                <a:lnTo>
                  <a:pt x="3136371" y="1917394"/>
                </a:lnTo>
                <a:lnTo>
                  <a:pt x="3429109" y="2813617"/>
                </a:lnTo>
                <a:lnTo>
                  <a:pt x="3615936" y="2813617"/>
                </a:lnTo>
                <a:lnTo>
                  <a:pt x="3908932" y="1917394"/>
                </a:lnTo>
                <a:moveTo>
                  <a:pt x="5785961" y="1917394"/>
                </a:moveTo>
                <a:lnTo>
                  <a:pt x="5636757" y="1917394"/>
                </a:lnTo>
                <a:lnTo>
                  <a:pt x="5636757" y="2813617"/>
                </a:lnTo>
                <a:lnTo>
                  <a:pt x="5785961" y="2813617"/>
                </a:lnTo>
                <a:lnTo>
                  <a:pt x="5785961" y="1917394"/>
                </a:lnTo>
                <a:close/>
                <a:moveTo>
                  <a:pt x="6702056" y="1917394"/>
                </a:moveTo>
                <a:lnTo>
                  <a:pt x="6549245" y="1917394"/>
                </a:lnTo>
                <a:lnTo>
                  <a:pt x="6319384" y="2641622"/>
                </a:lnTo>
                <a:lnTo>
                  <a:pt x="6087719" y="1917394"/>
                </a:lnTo>
                <a:lnTo>
                  <a:pt x="5929754" y="1917394"/>
                </a:lnTo>
                <a:lnTo>
                  <a:pt x="6222492" y="2813617"/>
                </a:lnTo>
                <a:lnTo>
                  <a:pt x="6409319" y="2813617"/>
                </a:lnTo>
                <a:lnTo>
                  <a:pt x="6702056" y="1917394"/>
                </a:lnTo>
                <a:moveTo>
                  <a:pt x="11697676" y="1917394"/>
                </a:moveTo>
                <a:lnTo>
                  <a:pt x="11548472" y="1917394"/>
                </a:lnTo>
                <a:lnTo>
                  <a:pt x="11548472" y="2813617"/>
                </a:lnTo>
                <a:lnTo>
                  <a:pt x="11697676" y="2813617"/>
                </a:lnTo>
                <a:lnTo>
                  <a:pt x="11697676" y="1917394"/>
                </a:lnTo>
                <a:close/>
                <a:moveTo>
                  <a:pt x="12980209" y="1917394"/>
                </a:moveTo>
                <a:lnTo>
                  <a:pt x="12831005" y="1917394"/>
                </a:lnTo>
                <a:lnTo>
                  <a:pt x="12831005" y="2813617"/>
                </a:lnTo>
                <a:lnTo>
                  <a:pt x="12980209" y="2813617"/>
                </a:lnTo>
                <a:lnTo>
                  <a:pt x="12980209" y="1917394"/>
                </a:lnTo>
                <a:close/>
                <a:moveTo>
                  <a:pt x="853219" y="1899397"/>
                </a:moveTo>
                <a:cubicBezTo>
                  <a:pt x="725661" y="1899397"/>
                  <a:pt x="637530" y="1960328"/>
                  <a:pt x="601711" y="2055452"/>
                </a:cubicBezTo>
                <a:lnTo>
                  <a:pt x="601711" y="1917394"/>
                </a:lnTo>
                <a:lnTo>
                  <a:pt x="452507" y="1917394"/>
                </a:lnTo>
                <a:lnTo>
                  <a:pt x="452507" y="2813617"/>
                </a:lnTo>
                <a:lnTo>
                  <a:pt x="601711" y="2813617"/>
                </a:lnTo>
                <a:lnTo>
                  <a:pt x="601711" y="2223847"/>
                </a:lnTo>
                <a:cubicBezTo>
                  <a:pt x="601711" y="2098386"/>
                  <a:pt x="664588" y="2014060"/>
                  <a:pt x="797557" y="2014060"/>
                </a:cubicBezTo>
                <a:cubicBezTo>
                  <a:pt x="928722" y="2014060"/>
                  <a:pt x="991599" y="2098386"/>
                  <a:pt x="991599" y="2223847"/>
                </a:cubicBezTo>
                <a:lnTo>
                  <a:pt x="991599" y="2813617"/>
                </a:lnTo>
                <a:lnTo>
                  <a:pt x="1140803" y="2813617"/>
                </a:lnTo>
                <a:lnTo>
                  <a:pt x="1140803" y="2193511"/>
                </a:lnTo>
                <a:cubicBezTo>
                  <a:pt x="1140803" y="2024858"/>
                  <a:pt x="1034892" y="1899397"/>
                  <a:pt x="853219" y="1899397"/>
                </a:cubicBezTo>
                <a:moveTo>
                  <a:pt x="1756945" y="1899397"/>
                </a:moveTo>
                <a:cubicBezTo>
                  <a:pt x="1629387" y="1899397"/>
                  <a:pt x="1541257" y="1960328"/>
                  <a:pt x="1505437" y="2055452"/>
                </a:cubicBezTo>
                <a:lnTo>
                  <a:pt x="1505437" y="1917394"/>
                </a:lnTo>
                <a:lnTo>
                  <a:pt x="1356234" y="1917394"/>
                </a:lnTo>
                <a:lnTo>
                  <a:pt x="1356234" y="2813617"/>
                </a:lnTo>
                <a:lnTo>
                  <a:pt x="1505437" y="2813617"/>
                </a:lnTo>
                <a:lnTo>
                  <a:pt x="1505437" y="2223847"/>
                </a:lnTo>
                <a:cubicBezTo>
                  <a:pt x="1505437" y="2098386"/>
                  <a:pt x="1568314" y="2014060"/>
                  <a:pt x="1701283" y="2014060"/>
                </a:cubicBezTo>
                <a:cubicBezTo>
                  <a:pt x="1832449" y="2014060"/>
                  <a:pt x="1895326" y="2098386"/>
                  <a:pt x="1895326" y="2223847"/>
                </a:cubicBezTo>
                <a:lnTo>
                  <a:pt x="1895326" y="2813617"/>
                </a:lnTo>
                <a:lnTo>
                  <a:pt x="2044529" y="2813617"/>
                </a:lnTo>
                <a:lnTo>
                  <a:pt x="2044529" y="2193511"/>
                </a:lnTo>
                <a:cubicBezTo>
                  <a:pt x="2044272" y="2024858"/>
                  <a:pt x="1938360" y="1899397"/>
                  <a:pt x="1756945" y="1899397"/>
                </a:cubicBezTo>
                <a:moveTo>
                  <a:pt x="2644179" y="2704353"/>
                </a:moveTo>
                <a:cubicBezTo>
                  <a:pt x="2493171" y="2704353"/>
                  <a:pt x="2389064" y="2596888"/>
                  <a:pt x="2389064" y="2365505"/>
                </a:cubicBezTo>
                <a:cubicBezTo>
                  <a:pt x="2389064" y="2132580"/>
                  <a:pt x="2491367" y="2026658"/>
                  <a:pt x="2644179" y="2026658"/>
                </a:cubicBezTo>
                <a:cubicBezTo>
                  <a:pt x="2795186" y="2026658"/>
                  <a:pt x="2899294" y="2132323"/>
                  <a:pt x="2899294" y="2365505"/>
                </a:cubicBezTo>
                <a:cubicBezTo>
                  <a:pt x="2899294" y="2596631"/>
                  <a:pt x="2798794" y="2704353"/>
                  <a:pt x="2644179" y="2704353"/>
                </a:cubicBezTo>
                <a:moveTo>
                  <a:pt x="2651394" y="1899397"/>
                </a:moveTo>
                <a:cubicBezTo>
                  <a:pt x="2381848" y="1899397"/>
                  <a:pt x="2232902" y="2096587"/>
                  <a:pt x="2232902" y="2376303"/>
                </a:cubicBezTo>
                <a:cubicBezTo>
                  <a:pt x="2232902" y="2659362"/>
                  <a:pt x="2385714" y="2831613"/>
                  <a:pt x="2637221" y="2831613"/>
                </a:cubicBezTo>
                <a:cubicBezTo>
                  <a:pt x="2908571" y="2831613"/>
                  <a:pt x="3055971" y="2634424"/>
                  <a:pt x="3055971" y="2354707"/>
                </a:cubicBezTo>
                <a:cubicBezTo>
                  <a:pt x="3055713" y="2071392"/>
                  <a:pt x="2904706" y="1899397"/>
                  <a:pt x="2651394" y="1899397"/>
                </a:cubicBezTo>
                <a:moveTo>
                  <a:pt x="4365047" y="2723892"/>
                </a:moveTo>
                <a:cubicBezTo>
                  <a:pt x="4262743" y="2723892"/>
                  <a:pt x="4192651" y="2666560"/>
                  <a:pt x="4192651" y="2566294"/>
                </a:cubicBezTo>
                <a:cubicBezTo>
                  <a:pt x="4192651" y="2481968"/>
                  <a:pt x="4241097" y="2440833"/>
                  <a:pt x="4343659" y="2415638"/>
                </a:cubicBezTo>
                <a:lnTo>
                  <a:pt x="4453178" y="2388644"/>
                </a:lnTo>
                <a:cubicBezTo>
                  <a:pt x="4521466" y="2372447"/>
                  <a:pt x="4559089" y="2361649"/>
                  <a:pt x="4573520" y="2349309"/>
                </a:cubicBezTo>
                <a:lnTo>
                  <a:pt x="4573520" y="2523103"/>
                </a:lnTo>
                <a:cubicBezTo>
                  <a:pt x="4573520" y="2655762"/>
                  <a:pt x="4481782" y="2723892"/>
                  <a:pt x="4365047" y="2723892"/>
                </a:cubicBezTo>
                <a:moveTo>
                  <a:pt x="4411947" y="1899397"/>
                </a:moveTo>
                <a:cubicBezTo>
                  <a:pt x="4194455" y="1899397"/>
                  <a:pt x="4059682" y="2030257"/>
                  <a:pt x="4049116" y="2186312"/>
                </a:cubicBezTo>
                <a:lnTo>
                  <a:pt x="4187497" y="2215106"/>
                </a:lnTo>
                <a:cubicBezTo>
                  <a:pt x="4194713" y="2100443"/>
                  <a:pt x="4264805" y="2014317"/>
                  <a:pt x="4401381" y="2014317"/>
                </a:cubicBezTo>
                <a:cubicBezTo>
                  <a:pt x="4516312" y="2014317"/>
                  <a:pt x="4573777" y="2077048"/>
                  <a:pt x="4573777" y="2180913"/>
                </a:cubicBezTo>
                <a:lnTo>
                  <a:pt x="4573777" y="2186312"/>
                </a:lnTo>
                <a:cubicBezTo>
                  <a:pt x="4573777" y="2229246"/>
                  <a:pt x="4561151" y="2247243"/>
                  <a:pt x="4521724" y="2258041"/>
                </a:cubicBezTo>
                <a:lnTo>
                  <a:pt x="4263001" y="2322571"/>
                </a:lnTo>
                <a:cubicBezTo>
                  <a:pt x="4124620" y="2358564"/>
                  <a:pt x="4043705" y="2449831"/>
                  <a:pt x="4043705" y="2577092"/>
                </a:cubicBezTo>
                <a:cubicBezTo>
                  <a:pt x="4043705" y="2738546"/>
                  <a:pt x="4164047" y="2831613"/>
                  <a:pt x="4324074" y="2831613"/>
                </a:cubicBezTo>
                <a:cubicBezTo>
                  <a:pt x="4458847" y="2831613"/>
                  <a:pt x="4548781" y="2767083"/>
                  <a:pt x="4573777" y="2677358"/>
                </a:cubicBezTo>
                <a:cubicBezTo>
                  <a:pt x="4577385" y="2761684"/>
                  <a:pt x="4584600" y="2797420"/>
                  <a:pt x="4591816" y="2813617"/>
                </a:cubicBezTo>
                <a:lnTo>
                  <a:pt x="4744627" y="2813617"/>
                </a:lnTo>
                <a:cubicBezTo>
                  <a:pt x="4728393" y="2767083"/>
                  <a:pt x="4721177" y="2702553"/>
                  <a:pt x="4721177" y="2627225"/>
                </a:cubicBezTo>
                <a:lnTo>
                  <a:pt x="4721177" y="2171915"/>
                </a:lnTo>
                <a:cubicBezTo>
                  <a:pt x="4720920" y="2003519"/>
                  <a:pt x="4603927" y="1899397"/>
                  <a:pt x="4411947" y="1899397"/>
                </a:cubicBezTo>
                <a:moveTo>
                  <a:pt x="6942741" y="2268581"/>
                </a:moveTo>
                <a:cubicBezTo>
                  <a:pt x="6962584" y="2110984"/>
                  <a:pt x="7043241" y="2021259"/>
                  <a:pt x="7185229" y="2021259"/>
                </a:cubicBezTo>
                <a:cubicBezTo>
                  <a:pt x="7320002" y="2021259"/>
                  <a:pt x="7399114" y="2101986"/>
                  <a:pt x="7402721" y="2268581"/>
                </a:cubicBezTo>
                <a:lnTo>
                  <a:pt x="6942741" y="2268581"/>
                </a:lnTo>
                <a:moveTo>
                  <a:pt x="7185229" y="1899397"/>
                </a:moveTo>
                <a:cubicBezTo>
                  <a:pt x="6948153" y="1899397"/>
                  <a:pt x="6782714" y="2065993"/>
                  <a:pt x="6782714" y="2372704"/>
                </a:cubicBezTo>
                <a:cubicBezTo>
                  <a:pt x="6782714" y="2666560"/>
                  <a:pt x="6935525" y="2831613"/>
                  <a:pt x="7185229" y="2831613"/>
                </a:cubicBezTo>
                <a:cubicBezTo>
                  <a:pt x="7390095" y="2831613"/>
                  <a:pt x="7519456" y="2715151"/>
                  <a:pt x="7551667" y="2539557"/>
                </a:cubicBezTo>
                <a:lnTo>
                  <a:pt x="7415091" y="2503821"/>
                </a:lnTo>
                <a:cubicBezTo>
                  <a:pt x="7391641" y="2654477"/>
                  <a:pt x="7310983" y="2706410"/>
                  <a:pt x="7199403" y="2706410"/>
                </a:cubicBezTo>
                <a:cubicBezTo>
                  <a:pt x="7021595" y="2706410"/>
                  <a:pt x="6942484" y="2575550"/>
                  <a:pt x="6937072" y="2374761"/>
                </a:cubicBezTo>
                <a:lnTo>
                  <a:pt x="7553213" y="2374761"/>
                </a:lnTo>
                <a:lnTo>
                  <a:pt x="7553213" y="2324627"/>
                </a:lnTo>
                <a:cubicBezTo>
                  <a:pt x="7553729" y="2010461"/>
                  <a:pt x="7382879" y="1899397"/>
                  <a:pt x="7185229" y="1899397"/>
                </a:cubicBezTo>
                <a:moveTo>
                  <a:pt x="9777354" y="2268581"/>
                </a:moveTo>
                <a:cubicBezTo>
                  <a:pt x="9797197" y="2110984"/>
                  <a:pt x="9877854" y="2021259"/>
                  <a:pt x="10019842" y="2021259"/>
                </a:cubicBezTo>
                <a:cubicBezTo>
                  <a:pt x="10154615" y="2021259"/>
                  <a:pt x="10233727" y="2101986"/>
                  <a:pt x="10237334" y="2268581"/>
                </a:cubicBezTo>
                <a:lnTo>
                  <a:pt x="9777354" y="2268581"/>
                </a:lnTo>
                <a:moveTo>
                  <a:pt x="10019842" y="1899397"/>
                </a:moveTo>
                <a:cubicBezTo>
                  <a:pt x="9782766" y="1899397"/>
                  <a:pt x="9617327" y="2065993"/>
                  <a:pt x="9617327" y="2372704"/>
                </a:cubicBezTo>
                <a:cubicBezTo>
                  <a:pt x="9617327" y="2666560"/>
                  <a:pt x="9770138" y="2831613"/>
                  <a:pt x="10019842" y="2831613"/>
                </a:cubicBezTo>
                <a:cubicBezTo>
                  <a:pt x="10224708" y="2831613"/>
                  <a:pt x="10354069" y="2715151"/>
                  <a:pt x="10386280" y="2539557"/>
                </a:cubicBezTo>
                <a:lnTo>
                  <a:pt x="10249704" y="2503821"/>
                </a:lnTo>
                <a:cubicBezTo>
                  <a:pt x="10226254" y="2654477"/>
                  <a:pt x="10145596" y="2706410"/>
                  <a:pt x="10034016" y="2706410"/>
                </a:cubicBezTo>
                <a:cubicBezTo>
                  <a:pt x="9856207" y="2706410"/>
                  <a:pt x="9777097" y="2575550"/>
                  <a:pt x="9771684" y="2374761"/>
                </a:cubicBezTo>
                <a:lnTo>
                  <a:pt x="10387826" y="2374761"/>
                </a:lnTo>
                <a:lnTo>
                  <a:pt x="10387826" y="2324627"/>
                </a:lnTo>
                <a:cubicBezTo>
                  <a:pt x="10388342" y="2010461"/>
                  <a:pt x="10217492" y="1899397"/>
                  <a:pt x="10019842" y="1899397"/>
                </a:cubicBezTo>
                <a:moveTo>
                  <a:pt x="12299387" y="1899397"/>
                </a:moveTo>
                <a:cubicBezTo>
                  <a:pt x="12053291" y="1899397"/>
                  <a:pt x="11886049" y="2071392"/>
                  <a:pt x="11886049" y="2374503"/>
                </a:cubicBezTo>
                <a:cubicBezTo>
                  <a:pt x="11886049" y="2671959"/>
                  <a:pt x="12049425" y="2831613"/>
                  <a:pt x="12292171" y="2831613"/>
                </a:cubicBezTo>
                <a:cubicBezTo>
                  <a:pt x="12511467" y="2831613"/>
                  <a:pt x="12635417" y="2697154"/>
                  <a:pt x="12660413" y="2512562"/>
                </a:cubicBezTo>
                <a:lnTo>
                  <a:pt x="12518425" y="2478369"/>
                </a:lnTo>
                <a:cubicBezTo>
                  <a:pt x="12493171" y="2646764"/>
                  <a:pt x="12421533" y="2704353"/>
                  <a:pt x="12302736" y="2704353"/>
                </a:cubicBezTo>
                <a:cubicBezTo>
                  <a:pt x="12130340" y="2704353"/>
                  <a:pt x="12042210" y="2578892"/>
                  <a:pt x="12042210" y="2363706"/>
                </a:cubicBezTo>
                <a:cubicBezTo>
                  <a:pt x="12042210" y="2139778"/>
                  <a:pt x="12135494" y="2026658"/>
                  <a:pt x="12295521" y="2026658"/>
                </a:cubicBezTo>
                <a:cubicBezTo>
                  <a:pt x="12408648" y="2026658"/>
                  <a:pt x="12491367" y="2082189"/>
                  <a:pt x="12518167" y="2241844"/>
                </a:cubicBezTo>
                <a:lnTo>
                  <a:pt x="12660156" y="2207908"/>
                </a:lnTo>
                <a:cubicBezTo>
                  <a:pt x="12635417" y="2024858"/>
                  <a:pt x="12511467" y="1899397"/>
                  <a:pt x="12299387" y="1899397"/>
                </a:cubicBezTo>
                <a:moveTo>
                  <a:pt x="13596350" y="1899397"/>
                </a:moveTo>
                <a:cubicBezTo>
                  <a:pt x="13468794" y="1899397"/>
                  <a:pt x="13380662" y="1960328"/>
                  <a:pt x="13344844" y="2055452"/>
                </a:cubicBezTo>
                <a:lnTo>
                  <a:pt x="13344844" y="1917394"/>
                </a:lnTo>
                <a:lnTo>
                  <a:pt x="13195639" y="1917394"/>
                </a:lnTo>
                <a:lnTo>
                  <a:pt x="13195639" y="2813617"/>
                </a:lnTo>
                <a:lnTo>
                  <a:pt x="13344844" y="2813617"/>
                </a:lnTo>
                <a:lnTo>
                  <a:pt x="13344844" y="2223847"/>
                </a:lnTo>
                <a:cubicBezTo>
                  <a:pt x="13344844" y="2098386"/>
                  <a:pt x="13407721" y="2014060"/>
                  <a:pt x="13540690" y="2014060"/>
                </a:cubicBezTo>
                <a:cubicBezTo>
                  <a:pt x="13671856" y="2014060"/>
                  <a:pt x="13734732" y="2098386"/>
                  <a:pt x="13734732" y="2223847"/>
                </a:cubicBezTo>
                <a:lnTo>
                  <a:pt x="13734732" y="2813617"/>
                </a:lnTo>
                <a:lnTo>
                  <a:pt x="13883936" y="2813617"/>
                </a:lnTo>
                <a:lnTo>
                  <a:pt x="13883936" y="2193511"/>
                </a:lnTo>
                <a:cubicBezTo>
                  <a:pt x="13883936" y="2024858"/>
                  <a:pt x="13777767" y="1899397"/>
                  <a:pt x="13596350" y="1899397"/>
                </a:cubicBezTo>
                <a:moveTo>
                  <a:pt x="14232336" y="2268581"/>
                </a:moveTo>
                <a:cubicBezTo>
                  <a:pt x="14252177" y="2110984"/>
                  <a:pt x="14332835" y="2021259"/>
                  <a:pt x="14474823" y="2021259"/>
                </a:cubicBezTo>
                <a:cubicBezTo>
                  <a:pt x="14609596" y="2021259"/>
                  <a:pt x="14688708" y="2101986"/>
                  <a:pt x="14692316" y="2268581"/>
                </a:cubicBezTo>
                <a:lnTo>
                  <a:pt x="14232336" y="2268581"/>
                </a:lnTo>
                <a:moveTo>
                  <a:pt x="14474823" y="1899397"/>
                </a:moveTo>
                <a:cubicBezTo>
                  <a:pt x="14237746" y="1899397"/>
                  <a:pt x="14072308" y="2065993"/>
                  <a:pt x="14072308" y="2372704"/>
                </a:cubicBezTo>
                <a:cubicBezTo>
                  <a:pt x="14072308" y="2666560"/>
                  <a:pt x="14225120" y="2831613"/>
                  <a:pt x="14474823" y="2831613"/>
                </a:cubicBezTo>
                <a:cubicBezTo>
                  <a:pt x="14679689" y="2831613"/>
                  <a:pt x="14809051" y="2715151"/>
                  <a:pt x="14841262" y="2539557"/>
                </a:cubicBezTo>
                <a:lnTo>
                  <a:pt x="14704684" y="2503821"/>
                </a:lnTo>
                <a:cubicBezTo>
                  <a:pt x="14681235" y="2654477"/>
                  <a:pt x="14600577" y="2706410"/>
                  <a:pt x="14488996" y="2706410"/>
                </a:cubicBezTo>
                <a:cubicBezTo>
                  <a:pt x="14311190" y="2706410"/>
                  <a:pt x="14232078" y="2575550"/>
                  <a:pt x="14226666" y="2374761"/>
                </a:cubicBezTo>
                <a:lnTo>
                  <a:pt x="14842809" y="2374761"/>
                </a:lnTo>
                <a:lnTo>
                  <a:pt x="14842809" y="2324627"/>
                </a:lnTo>
                <a:cubicBezTo>
                  <a:pt x="14843065" y="2010461"/>
                  <a:pt x="14672473" y="1899397"/>
                  <a:pt x="14474823" y="1899397"/>
                </a:cubicBezTo>
                <a:moveTo>
                  <a:pt x="5204092" y="1666471"/>
                </a:moveTo>
                <a:lnTo>
                  <a:pt x="5054889" y="1702207"/>
                </a:lnTo>
                <a:lnTo>
                  <a:pt x="5054889" y="1917394"/>
                </a:lnTo>
                <a:lnTo>
                  <a:pt x="4882493" y="1917394"/>
                </a:lnTo>
                <a:lnTo>
                  <a:pt x="4882493" y="2032057"/>
                </a:lnTo>
                <a:lnTo>
                  <a:pt x="5054889" y="2032057"/>
                </a:lnTo>
                <a:lnTo>
                  <a:pt x="5054889" y="2580434"/>
                </a:lnTo>
                <a:cubicBezTo>
                  <a:pt x="5054889" y="2727491"/>
                  <a:pt x="5124981" y="2831356"/>
                  <a:pt x="5300985" y="2831356"/>
                </a:cubicBezTo>
                <a:cubicBezTo>
                  <a:pt x="5389115" y="2831356"/>
                  <a:pt x="5464361" y="2802562"/>
                  <a:pt x="5493223" y="2775824"/>
                </a:cubicBezTo>
                <a:lnTo>
                  <a:pt x="5451992" y="2668360"/>
                </a:lnTo>
                <a:cubicBezTo>
                  <a:pt x="5451992" y="2668360"/>
                  <a:pt x="5398135" y="2705895"/>
                  <a:pt x="5320827" y="2705895"/>
                </a:cubicBezTo>
                <a:cubicBezTo>
                  <a:pt x="5239912" y="2705895"/>
                  <a:pt x="5204092" y="2657562"/>
                  <a:pt x="5204092" y="2557039"/>
                </a:cubicBezTo>
                <a:lnTo>
                  <a:pt x="5204092" y="2032057"/>
                </a:lnTo>
                <a:lnTo>
                  <a:pt x="5470031" y="2032057"/>
                </a:lnTo>
                <a:lnTo>
                  <a:pt x="5470031" y="1917394"/>
                </a:lnTo>
                <a:lnTo>
                  <a:pt x="5204092" y="1917394"/>
                </a:lnTo>
                <a:lnTo>
                  <a:pt x="5204092" y="1666471"/>
                </a:lnTo>
                <a:moveTo>
                  <a:pt x="219296" y="1558750"/>
                </a:moveTo>
                <a:lnTo>
                  <a:pt x="62877" y="1558750"/>
                </a:lnTo>
                <a:lnTo>
                  <a:pt x="62877" y="2813360"/>
                </a:lnTo>
                <a:lnTo>
                  <a:pt x="219296" y="2813360"/>
                </a:lnTo>
                <a:lnTo>
                  <a:pt x="219296" y="1558750"/>
                </a:lnTo>
                <a:close/>
                <a:moveTo>
                  <a:pt x="9411173" y="1558750"/>
                </a:moveTo>
                <a:lnTo>
                  <a:pt x="9174096" y="1558750"/>
                </a:lnTo>
                <a:lnTo>
                  <a:pt x="8802247" y="2569636"/>
                </a:lnTo>
                <a:lnTo>
                  <a:pt x="8428593" y="1558750"/>
                </a:lnTo>
                <a:lnTo>
                  <a:pt x="8180694" y="1558750"/>
                </a:lnTo>
                <a:lnTo>
                  <a:pt x="8180694" y="2813360"/>
                </a:lnTo>
                <a:lnTo>
                  <a:pt x="8337113" y="2813360"/>
                </a:lnTo>
                <a:lnTo>
                  <a:pt x="8337113" y="1732801"/>
                </a:lnTo>
                <a:lnTo>
                  <a:pt x="8737824" y="2813617"/>
                </a:lnTo>
                <a:lnTo>
                  <a:pt x="8858166" y="2813617"/>
                </a:lnTo>
                <a:lnTo>
                  <a:pt x="9255270" y="1731002"/>
                </a:lnTo>
                <a:lnTo>
                  <a:pt x="9255270" y="2813617"/>
                </a:lnTo>
                <a:lnTo>
                  <a:pt x="9411431" y="2813617"/>
                </a:lnTo>
                <a:lnTo>
                  <a:pt x="9411431" y="1558750"/>
                </a:lnTo>
                <a:moveTo>
                  <a:pt x="10941349" y="2704353"/>
                </a:moveTo>
                <a:cubicBezTo>
                  <a:pt x="10793949" y="2704353"/>
                  <a:pt x="10695254" y="2598688"/>
                  <a:pt x="10695254" y="2365505"/>
                </a:cubicBezTo>
                <a:cubicBezTo>
                  <a:pt x="10695254" y="2130780"/>
                  <a:pt x="10794207" y="2026658"/>
                  <a:pt x="10941349" y="2026658"/>
                </a:cubicBezTo>
                <a:cubicBezTo>
                  <a:pt x="11088749" y="2026658"/>
                  <a:pt x="11187445" y="2130523"/>
                  <a:pt x="11187445" y="2365505"/>
                </a:cubicBezTo>
                <a:cubicBezTo>
                  <a:pt x="11187445" y="2598431"/>
                  <a:pt x="11088749" y="2704353"/>
                  <a:pt x="10941349" y="2704353"/>
                </a:cubicBezTo>
                <a:moveTo>
                  <a:pt x="11333042" y="1558750"/>
                </a:moveTo>
                <a:lnTo>
                  <a:pt x="11183838" y="1558750"/>
                </a:lnTo>
                <a:lnTo>
                  <a:pt x="11183838" y="2089388"/>
                </a:lnTo>
                <a:cubicBezTo>
                  <a:pt x="11151368" y="1990665"/>
                  <a:pt x="11072515" y="1899397"/>
                  <a:pt x="10916095" y="1899397"/>
                </a:cubicBezTo>
                <a:cubicBezTo>
                  <a:pt x="10714838" y="1899397"/>
                  <a:pt x="10538834" y="2057252"/>
                  <a:pt x="10538834" y="2370904"/>
                </a:cubicBezTo>
                <a:cubicBezTo>
                  <a:pt x="10538834" y="2688156"/>
                  <a:pt x="10714838" y="2831613"/>
                  <a:pt x="10903469" y="2831613"/>
                </a:cubicBezTo>
                <a:cubicBezTo>
                  <a:pt x="11045457" y="2831613"/>
                  <a:pt x="11149564" y="2749087"/>
                  <a:pt x="11183838" y="2632624"/>
                </a:cubicBezTo>
                <a:lnTo>
                  <a:pt x="11183838" y="2700753"/>
                </a:lnTo>
                <a:cubicBezTo>
                  <a:pt x="11183838" y="2741888"/>
                  <a:pt x="11187445" y="2786879"/>
                  <a:pt x="11192857" y="2813617"/>
                </a:cubicBezTo>
                <a:lnTo>
                  <a:pt x="11343864" y="2813617"/>
                </a:lnTo>
                <a:cubicBezTo>
                  <a:pt x="11336649" y="2770683"/>
                  <a:pt x="11333042" y="2707952"/>
                  <a:pt x="11333042" y="2627225"/>
                </a:cubicBezTo>
                <a:lnTo>
                  <a:pt x="11333042" y="1558750"/>
                </a:lnTo>
                <a:moveTo>
                  <a:pt x="5712261" y="1532012"/>
                </a:moveTo>
                <a:cubicBezTo>
                  <a:pt x="5652992" y="1532012"/>
                  <a:pt x="5606350" y="1578546"/>
                  <a:pt x="5606350" y="1637677"/>
                </a:cubicBezTo>
                <a:cubicBezTo>
                  <a:pt x="5606350" y="1696808"/>
                  <a:pt x="5652992" y="1741542"/>
                  <a:pt x="5712261" y="1741542"/>
                </a:cubicBezTo>
                <a:cubicBezTo>
                  <a:pt x="5771531" y="1741542"/>
                  <a:pt x="5816369" y="1696808"/>
                  <a:pt x="5816369" y="1637677"/>
                </a:cubicBezTo>
                <a:cubicBezTo>
                  <a:pt x="5816627" y="1578546"/>
                  <a:pt x="5771531" y="1532012"/>
                  <a:pt x="5712261" y="1532012"/>
                </a:cubicBezTo>
                <a:moveTo>
                  <a:pt x="11623976" y="1532012"/>
                </a:moveTo>
                <a:cubicBezTo>
                  <a:pt x="11564707" y="1532012"/>
                  <a:pt x="11518064" y="1578546"/>
                  <a:pt x="11518064" y="1637677"/>
                </a:cubicBezTo>
                <a:cubicBezTo>
                  <a:pt x="11518064" y="1696808"/>
                  <a:pt x="11564707" y="1741542"/>
                  <a:pt x="11623976" y="1741542"/>
                </a:cubicBezTo>
                <a:cubicBezTo>
                  <a:pt x="11683245" y="1741542"/>
                  <a:pt x="11728083" y="1696808"/>
                  <a:pt x="11728083" y="1637677"/>
                </a:cubicBezTo>
                <a:cubicBezTo>
                  <a:pt x="11728341" y="1578546"/>
                  <a:pt x="11683245" y="1532012"/>
                  <a:pt x="11623976" y="1532012"/>
                </a:cubicBezTo>
                <a:moveTo>
                  <a:pt x="12906510" y="1532012"/>
                </a:moveTo>
                <a:cubicBezTo>
                  <a:pt x="12847240" y="1532012"/>
                  <a:pt x="12800598" y="1578546"/>
                  <a:pt x="12800598" y="1637677"/>
                </a:cubicBezTo>
                <a:cubicBezTo>
                  <a:pt x="12800598" y="1696808"/>
                  <a:pt x="12847240" y="1741542"/>
                  <a:pt x="12906510" y="1741542"/>
                </a:cubicBezTo>
                <a:cubicBezTo>
                  <a:pt x="12965779" y="1741542"/>
                  <a:pt x="13010617" y="1696808"/>
                  <a:pt x="13010617" y="1637677"/>
                </a:cubicBezTo>
                <a:cubicBezTo>
                  <a:pt x="13010875" y="1578546"/>
                  <a:pt x="12965779" y="1532012"/>
                  <a:pt x="12906510" y="1532012"/>
                </a:cubicBezTo>
              </a:path>
            </a:pathLst>
          </a:custGeom>
          <a:solidFill>
            <a:schemeClr val="tx2"/>
          </a:solidFill>
          <a:ln w="25765" cap="flat">
            <a:noFill/>
            <a:prstDash val="solid"/>
            <a:miter/>
          </a:ln>
        </p:spPr>
        <p:txBody>
          <a:bodyPr rtlCol="0" anchor="ctr"/>
          <a:lstStyle/>
          <a:p>
            <a:endParaRPr lang="en-GB" sz="1350">
              <a:solidFill>
                <a:srgbClr val="FF0000"/>
              </a:solidFill>
            </a:endParaRPr>
          </a:p>
        </p:txBody>
      </p:sp>
    </p:spTree>
    <p:extLst>
      <p:ext uri="{BB962C8B-B14F-4D97-AF65-F5344CB8AC3E}">
        <p14:creationId xmlns:p14="http://schemas.microsoft.com/office/powerpoint/2010/main" val="124133513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835162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720"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20"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3" name="5. Source" hidden="1">
            <a:extLst>
              <a:ext uri="{FF2B5EF4-FFF2-40B4-BE49-F238E27FC236}">
                <a16:creationId xmlns:a16="http://schemas.microsoft.com/office/drawing/2014/main" id="{60FC582F-2A70-7697-B894-D7696F3DA16A}"/>
              </a:ext>
            </a:extLst>
          </p:cNvPr>
          <p:cNvSpPr txBox="1"/>
          <p:nvPr userDrawn="1">
            <p:custDataLst>
              <p:tags r:id="rId4"/>
            </p:custDataLst>
          </p:nvPr>
        </p:nvSpPr>
        <p:spPr>
          <a:xfrm>
            <a:off x="3111124"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4" name="Graphic 6">
            <a:extLst>
              <a:ext uri="{FF2B5EF4-FFF2-40B4-BE49-F238E27FC236}">
                <a16:creationId xmlns:a16="http://schemas.microsoft.com/office/drawing/2014/main" id="{1CDA47C9-2F03-6752-1A87-E2DD260776D0}"/>
              </a:ext>
            </a:extLst>
          </p:cNvPr>
          <p:cNvSpPr>
            <a:spLocks noChangeAspect="1"/>
          </p:cNvSpPr>
          <p:nvPr userDrawn="1"/>
        </p:nvSpPr>
        <p:spPr>
          <a:xfrm>
            <a:off x="554736" y="6457516"/>
            <a:ext cx="2102687" cy="147600"/>
          </a:xfrm>
          <a:custGeom>
            <a:avLst/>
            <a:gdLst>
              <a:gd name="connsiteX0" fmla="*/ 4672481 w 11413077"/>
              <a:gd name="connsiteY0" fmla="*/ 236351 h 801151"/>
              <a:gd name="connsiteX1" fmla="*/ 4578324 w 11413077"/>
              <a:gd name="connsiteY1" fmla="*/ 236351 h 801151"/>
              <a:gd name="connsiteX2" fmla="*/ 4436614 w 11413077"/>
              <a:gd name="connsiteY2" fmla="*/ 678512 h 801151"/>
              <a:gd name="connsiteX3" fmla="*/ 4293794 w 11413077"/>
              <a:gd name="connsiteY3" fmla="*/ 236351 h 801151"/>
              <a:gd name="connsiteX4" fmla="*/ 4196308 w 11413077"/>
              <a:gd name="connsiteY4" fmla="*/ 236351 h 801151"/>
              <a:gd name="connsiteX5" fmla="*/ 4376855 w 11413077"/>
              <a:gd name="connsiteY5" fmla="*/ 783609 h 801151"/>
              <a:gd name="connsiteX6" fmla="*/ 4492093 w 11413077"/>
              <a:gd name="connsiteY6" fmla="*/ 783609 h 801151"/>
              <a:gd name="connsiteX7" fmla="*/ 4672481 w 11413077"/>
              <a:gd name="connsiteY7" fmla="*/ 236351 h 801151"/>
              <a:gd name="connsiteX8" fmla="*/ 5829624 w 11413077"/>
              <a:gd name="connsiteY8" fmla="*/ 236351 h 801151"/>
              <a:gd name="connsiteX9" fmla="*/ 5737687 w 11413077"/>
              <a:gd name="connsiteY9" fmla="*/ 236351 h 801151"/>
              <a:gd name="connsiteX10" fmla="*/ 5737687 w 11413077"/>
              <a:gd name="connsiteY10" fmla="*/ 783609 h 801151"/>
              <a:gd name="connsiteX11" fmla="*/ 5829624 w 11413077"/>
              <a:gd name="connsiteY11" fmla="*/ 783609 h 801151"/>
              <a:gd name="connsiteX12" fmla="*/ 5829624 w 11413077"/>
              <a:gd name="connsiteY12" fmla="*/ 236351 h 801151"/>
              <a:gd name="connsiteX13" fmla="*/ 6394405 w 11413077"/>
              <a:gd name="connsiteY13" fmla="*/ 236351 h 801151"/>
              <a:gd name="connsiteX14" fmla="*/ 6300249 w 11413077"/>
              <a:gd name="connsiteY14" fmla="*/ 236351 h 801151"/>
              <a:gd name="connsiteX15" fmla="*/ 6158538 w 11413077"/>
              <a:gd name="connsiteY15" fmla="*/ 678512 h 801151"/>
              <a:gd name="connsiteX16" fmla="*/ 6015718 w 11413077"/>
              <a:gd name="connsiteY16" fmla="*/ 236351 h 801151"/>
              <a:gd name="connsiteX17" fmla="*/ 5918233 w 11413077"/>
              <a:gd name="connsiteY17" fmla="*/ 236351 h 801151"/>
              <a:gd name="connsiteX18" fmla="*/ 6098779 w 11413077"/>
              <a:gd name="connsiteY18" fmla="*/ 783609 h 801151"/>
              <a:gd name="connsiteX19" fmla="*/ 6214018 w 11413077"/>
              <a:gd name="connsiteY19" fmla="*/ 783609 h 801151"/>
              <a:gd name="connsiteX20" fmla="*/ 6394405 w 11413077"/>
              <a:gd name="connsiteY20" fmla="*/ 236351 h 801151"/>
              <a:gd name="connsiteX21" fmla="*/ 9473991 w 11413077"/>
              <a:gd name="connsiteY21" fmla="*/ 236351 h 801151"/>
              <a:gd name="connsiteX22" fmla="*/ 9382053 w 11413077"/>
              <a:gd name="connsiteY22" fmla="*/ 236351 h 801151"/>
              <a:gd name="connsiteX23" fmla="*/ 9382053 w 11413077"/>
              <a:gd name="connsiteY23" fmla="*/ 783609 h 801151"/>
              <a:gd name="connsiteX24" fmla="*/ 9473991 w 11413077"/>
              <a:gd name="connsiteY24" fmla="*/ 783609 h 801151"/>
              <a:gd name="connsiteX25" fmla="*/ 9473991 w 11413077"/>
              <a:gd name="connsiteY25" fmla="*/ 236351 h 801151"/>
              <a:gd name="connsiteX26" fmla="*/ 10264494 w 11413077"/>
              <a:gd name="connsiteY26" fmla="*/ 236351 h 801151"/>
              <a:gd name="connsiteX27" fmla="*/ 10172556 w 11413077"/>
              <a:gd name="connsiteY27" fmla="*/ 236351 h 801151"/>
              <a:gd name="connsiteX28" fmla="*/ 10172556 w 11413077"/>
              <a:gd name="connsiteY28" fmla="*/ 783609 h 801151"/>
              <a:gd name="connsiteX29" fmla="*/ 10264494 w 11413077"/>
              <a:gd name="connsiteY29" fmla="*/ 783609 h 801151"/>
              <a:gd name="connsiteX30" fmla="*/ 10264494 w 11413077"/>
              <a:gd name="connsiteY30" fmla="*/ 236351 h 801151"/>
              <a:gd name="connsiteX31" fmla="*/ 2788874 w 11413077"/>
              <a:gd name="connsiteY31" fmla="*/ 225387 h 801151"/>
              <a:gd name="connsiteX32" fmla="*/ 2633848 w 11413077"/>
              <a:gd name="connsiteY32" fmla="*/ 320617 h 801151"/>
              <a:gd name="connsiteX33" fmla="*/ 2633848 w 11413077"/>
              <a:gd name="connsiteY33" fmla="*/ 236351 h 801151"/>
              <a:gd name="connsiteX34" fmla="*/ 2541911 w 11413077"/>
              <a:gd name="connsiteY34" fmla="*/ 236351 h 801151"/>
              <a:gd name="connsiteX35" fmla="*/ 2541911 w 11413077"/>
              <a:gd name="connsiteY35" fmla="*/ 783609 h 801151"/>
              <a:gd name="connsiteX36" fmla="*/ 2633848 w 11413077"/>
              <a:gd name="connsiteY36" fmla="*/ 783609 h 801151"/>
              <a:gd name="connsiteX37" fmla="*/ 2633848 w 11413077"/>
              <a:gd name="connsiteY37" fmla="*/ 423522 h 801151"/>
              <a:gd name="connsiteX38" fmla="*/ 2754635 w 11413077"/>
              <a:gd name="connsiteY38" fmla="*/ 295557 h 801151"/>
              <a:gd name="connsiteX39" fmla="*/ 2874312 w 11413077"/>
              <a:gd name="connsiteY39" fmla="*/ 423522 h 801151"/>
              <a:gd name="connsiteX40" fmla="*/ 2874312 w 11413077"/>
              <a:gd name="connsiteY40" fmla="*/ 783609 h 801151"/>
              <a:gd name="connsiteX41" fmla="*/ 2966249 w 11413077"/>
              <a:gd name="connsiteY41" fmla="*/ 783609 h 801151"/>
              <a:gd name="connsiteX42" fmla="*/ 2966249 w 11413077"/>
              <a:gd name="connsiteY42" fmla="*/ 404883 h 801151"/>
              <a:gd name="connsiteX43" fmla="*/ 2788874 w 11413077"/>
              <a:gd name="connsiteY43" fmla="*/ 225387 h 801151"/>
              <a:gd name="connsiteX44" fmla="*/ 3345887 w 11413077"/>
              <a:gd name="connsiteY44" fmla="*/ 225387 h 801151"/>
              <a:gd name="connsiteX45" fmla="*/ 3190862 w 11413077"/>
              <a:gd name="connsiteY45" fmla="*/ 320617 h 801151"/>
              <a:gd name="connsiteX46" fmla="*/ 3190862 w 11413077"/>
              <a:gd name="connsiteY46" fmla="*/ 236351 h 801151"/>
              <a:gd name="connsiteX47" fmla="*/ 3098925 w 11413077"/>
              <a:gd name="connsiteY47" fmla="*/ 236351 h 801151"/>
              <a:gd name="connsiteX48" fmla="*/ 3098925 w 11413077"/>
              <a:gd name="connsiteY48" fmla="*/ 783609 h 801151"/>
              <a:gd name="connsiteX49" fmla="*/ 3190862 w 11413077"/>
              <a:gd name="connsiteY49" fmla="*/ 783609 h 801151"/>
              <a:gd name="connsiteX50" fmla="*/ 3190862 w 11413077"/>
              <a:gd name="connsiteY50" fmla="*/ 423522 h 801151"/>
              <a:gd name="connsiteX51" fmla="*/ 3311649 w 11413077"/>
              <a:gd name="connsiteY51" fmla="*/ 295557 h 801151"/>
              <a:gd name="connsiteX52" fmla="*/ 3431326 w 11413077"/>
              <a:gd name="connsiteY52" fmla="*/ 423522 h 801151"/>
              <a:gd name="connsiteX53" fmla="*/ 3431326 w 11413077"/>
              <a:gd name="connsiteY53" fmla="*/ 783609 h 801151"/>
              <a:gd name="connsiteX54" fmla="*/ 3523263 w 11413077"/>
              <a:gd name="connsiteY54" fmla="*/ 783609 h 801151"/>
              <a:gd name="connsiteX55" fmla="*/ 3523263 w 11413077"/>
              <a:gd name="connsiteY55" fmla="*/ 404883 h 801151"/>
              <a:gd name="connsiteX56" fmla="*/ 3345887 w 11413077"/>
              <a:gd name="connsiteY56" fmla="*/ 225387 h 801151"/>
              <a:gd name="connsiteX57" fmla="*/ 3892915 w 11413077"/>
              <a:gd name="connsiteY57" fmla="*/ 716729 h 801151"/>
              <a:gd name="connsiteX58" fmla="*/ 3735671 w 11413077"/>
              <a:gd name="connsiteY58" fmla="*/ 509823 h 801151"/>
              <a:gd name="connsiteX59" fmla="*/ 3892915 w 11413077"/>
              <a:gd name="connsiteY59" fmla="*/ 302918 h 801151"/>
              <a:gd name="connsiteX60" fmla="*/ 4050160 w 11413077"/>
              <a:gd name="connsiteY60" fmla="*/ 509823 h 801151"/>
              <a:gd name="connsiteX61" fmla="*/ 3892915 w 11413077"/>
              <a:gd name="connsiteY61" fmla="*/ 716729 h 801151"/>
              <a:gd name="connsiteX62" fmla="*/ 3897195 w 11413077"/>
              <a:gd name="connsiteY62" fmla="*/ 225387 h 801151"/>
              <a:gd name="connsiteX63" fmla="*/ 3639136 w 11413077"/>
              <a:gd name="connsiteY63" fmla="*/ 516558 h 801151"/>
              <a:gd name="connsiteX64" fmla="*/ 3888318 w 11413077"/>
              <a:gd name="connsiteY64" fmla="*/ 794573 h 801151"/>
              <a:gd name="connsiteX65" fmla="*/ 4146377 w 11413077"/>
              <a:gd name="connsiteY65" fmla="*/ 503402 h 801151"/>
              <a:gd name="connsiteX66" fmla="*/ 3897195 w 11413077"/>
              <a:gd name="connsiteY66" fmla="*/ 225387 h 801151"/>
              <a:gd name="connsiteX67" fmla="*/ 4953682 w 11413077"/>
              <a:gd name="connsiteY67" fmla="*/ 728789 h 801151"/>
              <a:gd name="connsiteX68" fmla="*/ 4847321 w 11413077"/>
              <a:gd name="connsiteY68" fmla="*/ 632463 h 801151"/>
              <a:gd name="connsiteX69" fmla="*/ 4940367 w 11413077"/>
              <a:gd name="connsiteY69" fmla="*/ 540522 h 801151"/>
              <a:gd name="connsiteX70" fmla="*/ 5007894 w 11413077"/>
              <a:gd name="connsiteY70" fmla="*/ 524077 h 801151"/>
              <a:gd name="connsiteX71" fmla="*/ 5082078 w 11413077"/>
              <a:gd name="connsiteY71" fmla="*/ 499956 h 801151"/>
              <a:gd name="connsiteX72" fmla="*/ 5082078 w 11413077"/>
              <a:gd name="connsiteY72" fmla="*/ 606150 h 801151"/>
              <a:gd name="connsiteX73" fmla="*/ 4953682 w 11413077"/>
              <a:gd name="connsiteY73" fmla="*/ 728789 h 801151"/>
              <a:gd name="connsiteX74" fmla="*/ 4982532 w 11413077"/>
              <a:gd name="connsiteY74" fmla="*/ 225387 h 801151"/>
              <a:gd name="connsiteX75" fmla="*/ 4758871 w 11413077"/>
              <a:gd name="connsiteY75" fmla="*/ 400497 h 801151"/>
              <a:gd name="connsiteX76" fmla="*/ 4844151 w 11413077"/>
              <a:gd name="connsiteY76" fmla="*/ 418040 h 801151"/>
              <a:gd name="connsiteX77" fmla="*/ 4975875 w 11413077"/>
              <a:gd name="connsiteY77" fmla="*/ 295400 h 801151"/>
              <a:gd name="connsiteX78" fmla="*/ 5082237 w 11413077"/>
              <a:gd name="connsiteY78" fmla="*/ 397208 h 801151"/>
              <a:gd name="connsiteX79" fmla="*/ 5082237 w 11413077"/>
              <a:gd name="connsiteY79" fmla="*/ 400497 h 801151"/>
              <a:gd name="connsiteX80" fmla="*/ 5050058 w 11413077"/>
              <a:gd name="connsiteY80" fmla="*/ 444196 h 801151"/>
              <a:gd name="connsiteX81" fmla="*/ 4890595 w 11413077"/>
              <a:gd name="connsiteY81" fmla="*/ 483667 h 801151"/>
              <a:gd name="connsiteX82" fmla="*/ 4755541 w 11413077"/>
              <a:gd name="connsiteY82" fmla="*/ 639041 h 801151"/>
              <a:gd name="connsiteX83" fmla="*/ 4928321 w 11413077"/>
              <a:gd name="connsiteY83" fmla="*/ 794416 h 801151"/>
              <a:gd name="connsiteX84" fmla="*/ 5082237 w 11413077"/>
              <a:gd name="connsiteY84" fmla="*/ 700283 h 801151"/>
              <a:gd name="connsiteX85" fmla="*/ 5093333 w 11413077"/>
              <a:gd name="connsiteY85" fmla="*/ 783452 h 801151"/>
              <a:gd name="connsiteX86" fmla="*/ 5187489 w 11413077"/>
              <a:gd name="connsiteY86" fmla="*/ 783452 h 801151"/>
              <a:gd name="connsiteX87" fmla="*/ 5173065 w 11413077"/>
              <a:gd name="connsiteY87" fmla="*/ 669584 h 801151"/>
              <a:gd name="connsiteX88" fmla="*/ 5173065 w 11413077"/>
              <a:gd name="connsiteY88" fmla="*/ 391726 h 801151"/>
              <a:gd name="connsiteX89" fmla="*/ 4982532 w 11413077"/>
              <a:gd name="connsiteY89" fmla="*/ 225387 h 801151"/>
              <a:gd name="connsiteX90" fmla="*/ 6542773 w 11413077"/>
              <a:gd name="connsiteY90" fmla="*/ 450775 h 801151"/>
              <a:gd name="connsiteX91" fmla="*/ 6692251 w 11413077"/>
              <a:gd name="connsiteY91" fmla="*/ 299786 h 801151"/>
              <a:gd name="connsiteX92" fmla="*/ 6826194 w 11413077"/>
              <a:gd name="connsiteY92" fmla="*/ 450775 h 801151"/>
              <a:gd name="connsiteX93" fmla="*/ 6542773 w 11413077"/>
              <a:gd name="connsiteY93" fmla="*/ 450775 h 801151"/>
              <a:gd name="connsiteX94" fmla="*/ 6692251 w 11413077"/>
              <a:gd name="connsiteY94" fmla="*/ 225387 h 801151"/>
              <a:gd name="connsiteX95" fmla="*/ 6444178 w 11413077"/>
              <a:gd name="connsiteY95" fmla="*/ 514366 h 801151"/>
              <a:gd name="connsiteX96" fmla="*/ 6692251 w 11413077"/>
              <a:gd name="connsiteY96" fmla="*/ 794573 h 801151"/>
              <a:gd name="connsiteX97" fmla="*/ 6918131 w 11413077"/>
              <a:gd name="connsiteY97" fmla="*/ 616174 h 801151"/>
              <a:gd name="connsiteX98" fmla="*/ 6833961 w 11413077"/>
              <a:gd name="connsiteY98" fmla="*/ 594246 h 801151"/>
              <a:gd name="connsiteX99" fmla="*/ 6701127 w 11413077"/>
              <a:gd name="connsiteY99" fmla="*/ 717825 h 801151"/>
              <a:gd name="connsiteX100" fmla="*/ 6539444 w 11413077"/>
              <a:gd name="connsiteY100" fmla="*/ 515305 h 801151"/>
              <a:gd name="connsiteX101" fmla="*/ 6919399 w 11413077"/>
              <a:gd name="connsiteY101" fmla="*/ 515305 h 801151"/>
              <a:gd name="connsiteX102" fmla="*/ 6919399 w 11413077"/>
              <a:gd name="connsiteY102" fmla="*/ 484606 h 801151"/>
              <a:gd name="connsiteX103" fmla="*/ 6692251 w 11413077"/>
              <a:gd name="connsiteY103" fmla="*/ 225387 h 801151"/>
              <a:gd name="connsiteX104" fmla="*/ 8290217 w 11413077"/>
              <a:gd name="connsiteY104" fmla="*/ 450775 h 801151"/>
              <a:gd name="connsiteX105" fmla="*/ 8439696 w 11413077"/>
              <a:gd name="connsiteY105" fmla="*/ 299786 h 801151"/>
              <a:gd name="connsiteX106" fmla="*/ 8573638 w 11413077"/>
              <a:gd name="connsiteY106" fmla="*/ 450775 h 801151"/>
              <a:gd name="connsiteX107" fmla="*/ 8290217 w 11413077"/>
              <a:gd name="connsiteY107" fmla="*/ 450775 h 801151"/>
              <a:gd name="connsiteX108" fmla="*/ 8439696 w 11413077"/>
              <a:gd name="connsiteY108" fmla="*/ 225387 h 801151"/>
              <a:gd name="connsiteX109" fmla="*/ 8191623 w 11413077"/>
              <a:gd name="connsiteY109" fmla="*/ 514366 h 801151"/>
              <a:gd name="connsiteX110" fmla="*/ 8439696 w 11413077"/>
              <a:gd name="connsiteY110" fmla="*/ 794573 h 801151"/>
              <a:gd name="connsiteX111" fmla="*/ 8665576 w 11413077"/>
              <a:gd name="connsiteY111" fmla="*/ 616174 h 801151"/>
              <a:gd name="connsiteX112" fmla="*/ 8581405 w 11413077"/>
              <a:gd name="connsiteY112" fmla="*/ 594246 h 801151"/>
              <a:gd name="connsiteX113" fmla="*/ 8448572 w 11413077"/>
              <a:gd name="connsiteY113" fmla="*/ 717825 h 801151"/>
              <a:gd name="connsiteX114" fmla="*/ 8286889 w 11413077"/>
              <a:gd name="connsiteY114" fmla="*/ 515305 h 801151"/>
              <a:gd name="connsiteX115" fmla="*/ 8666844 w 11413077"/>
              <a:gd name="connsiteY115" fmla="*/ 515305 h 801151"/>
              <a:gd name="connsiteX116" fmla="*/ 8666844 w 11413077"/>
              <a:gd name="connsiteY116" fmla="*/ 484606 h 801151"/>
              <a:gd name="connsiteX117" fmla="*/ 8439696 w 11413077"/>
              <a:gd name="connsiteY117" fmla="*/ 225387 h 801151"/>
              <a:gd name="connsiteX118" fmla="*/ 9844911 w 11413077"/>
              <a:gd name="connsiteY118" fmla="*/ 225387 h 801151"/>
              <a:gd name="connsiteX119" fmla="*/ 9590181 w 11413077"/>
              <a:gd name="connsiteY119" fmla="*/ 515462 h 801151"/>
              <a:gd name="connsiteX120" fmla="*/ 9840473 w 11413077"/>
              <a:gd name="connsiteY120" fmla="*/ 794573 h 801151"/>
              <a:gd name="connsiteX121" fmla="*/ 10067462 w 11413077"/>
              <a:gd name="connsiteY121" fmla="*/ 599728 h 801151"/>
              <a:gd name="connsiteX122" fmla="*/ 9979964 w 11413077"/>
              <a:gd name="connsiteY122" fmla="*/ 578896 h 801151"/>
              <a:gd name="connsiteX123" fmla="*/ 9847130 w 11413077"/>
              <a:gd name="connsiteY123" fmla="*/ 716729 h 801151"/>
              <a:gd name="connsiteX124" fmla="*/ 9686557 w 11413077"/>
              <a:gd name="connsiteY124" fmla="*/ 508727 h 801151"/>
              <a:gd name="connsiteX125" fmla="*/ 9842691 w 11413077"/>
              <a:gd name="connsiteY125" fmla="*/ 302918 h 801151"/>
              <a:gd name="connsiteX126" fmla="*/ 9979964 w 11413077"/>
              <a:gd name="connsiteY126" fmla="*/ 434172 h 801151"/>
              <a:gd name="connsiteX127" fmla="*/ 10067462 w 11413077"/>
              <a:gd name="connsiteY127" fmla="*/ 413341 h 801151"/>
              <a:gd name="connsiteX128" fmla="*/ 9844911 w 11413077"/>
              <a:gd name="connsiteY128" fmla="*/ 225387 h 801151"/>
              <a:gd name="connsiteX129" fmla="*/ 10644449 w 11413077"/>
              <a:gd name="connsiteY129" fmla="*/ 225387 h 801151"/>
              <a:gd name="connsiteX130" fmla="*/ 10489424 w 11413077"/>
              <a:gd name="connsiteY130" fmla="*/ 320617 h 801151"/>
              <a:gd name="connsiteX131" fmla="*/ 10489424 w 11413077"/>
              <a:gd name="connsiteY131" fmla="*/ 236351 h 801151"/>
              <a:gd name="connsiteX132" fmla="*/ 10397486 w 11413077"/>
              <a:gd name="connsiteY132" fmla="*/ 236351 h 801151"/>
              <a:gd name="connsiteX133" fmla="*/ 10397486 w 11413077"/>
              <a:gd name="connsiteY133" fmla="*/ 783609 h 801151"/>
              <a:gd name="connsiteX134" fmla="*/ 10489424 w 11413077"/>
              <a:gd name="connsiteY134" fmla="*/ 783609 h 801151"/>
              <a:gd name="connsiteX135" fmla="*/ 10489424 w 11413077"/>
              <a:gd name="connsiteY135" fmla="*/ 423522 h 801151"/>
              <a:gd name="connsiteX136" fmla="*/ 10610211 w 11413077"/>
              <a:gd name="connsiteY136" fmla="*/ 295557 h 801151"/>
              <a:gd name="connsiteX137" fmla="*/ 10729888 w 11413077"/>
              <a:gd name="connsiteY137" fmla="*/ 423522 h 801151"/>
              <a:gd name="connsiteX138" fmla="*/ 10729888 w 11413077"/>
              <a:gd name="connsiteY138" fmla="*/ 783609 h 801151"/>
              <a:gd name="connsiteX139" fmla="*/ 10821825 w 11413077"/>
              <a:gd name="connsiteY139" fmla="*/ 783609 h 801151"/>
              <a:gd name="connsiteX140" fmla="*/ 10821825 w 11413077"/>
              <a:gd name="connsiteY140" fmla="*/ 404883 h 801151"/>
              <a:gd name="connsiteX141" fmla="*/ 10644449 w 11413077"/>
              <a:gd name="connsiteY141" fmla="*/ 225387 h 801151"/>
              <a:gd name="connsiteX142" fmla="*/ 11036293 w 11413077"/>
              <a:gd name="connsiteY142" fmla="*/ 450775 h 801151"/>
              <a:gd name="connsiteX143" fmla="*/ 11185771 w 11413077"/>
              <a:gd name="connsiteY143" fmla="*/ 299786 h 801151"/>
              <a:gd name="connsiteX144" fmla="*/ 11319713 w 11413077"/>
              <a:gd name="connsiteY144" fmla="*/ 450775 h 801151"/>
              <a:gd name="connsiteX145" fmla="*/ 11036293 w 11413077"/>
              <a:gd name="connsiteY145" fmla="*/ 450775 h 801151"/>
              <a:gd name="connsiteX146" fmla="*/ 11185929 w 11413077"/>
              <a:gd name="connsiteY146" fmla="*/ 225387 h 801151"/>
              <a:gd name="connsiteX147" fmla="*/ 10937856 w 11413077"/>
              <a:gd name="connsiteY147" fmla="*/ 514366 h 801151"/>
              <a:gd name="connsiteX148" fmla="*/ 11185929 w 11413077"/>
              <a:gd name="connsiteY148" fmla="*/ 794573 h 801151"/>
              <a:gd name="connsiteX149" fmla="*/ 11411810 w 11413077"/>
              <a:gd name="connsiteY149" fmla="*/ 616174 h 801151"/>
              <a:gd name="connsiteX150" fmla="*/ 11327639 w 11413077"/>
              <a:gd name="connsiteY150" fmla="*/ 594246 h 801151"/>
              <a:gd name="connsiteX151" fmla="*/ 11194806 w 11413077"/>
              <a:gd name="connsiteY151" fmla="*/ 717825 h 801151"/>
              <a:gd name="connsiteX152" fmla="*/ 11033123 w 11413077"/>
              <a:gd name="connsiteY152" fmla="*/ 515305 h 801151"/>
              <a:gd name="connsiteX153" fmla="*/ 11413077 w 11413077"/>
              <a:gd name="connsiteY153" fmla="*/ 515305 h 801151"/>
              <a:gd name="connsiteX154" fmla="*/ 11413077 w 11413077"/>
              <a:gd name="connsiteY154" fmla="*/ 484606 h 801151"/>
              <a:gd name="connsiteX155" fmla="*/ 11185929 w 11413077"/>
              <a:gd name="connsiteY155" fmla="*/ 225387 h 801151"/>
              <a:gd name="connsiteX156" fmla="*/ 5470751 w 11413077"/>
              <a:gd name="connsiteY156" fmla="*/ 83169 h 801151"/>
              <a:gd name="connsiteX157" fmla="*/ 5378814 w 11413077"/>
              <a:gd name="connsiteY157" fmla="*/ 105097 h 801151"/>
              <a:gd name="connsiteX158" fmla="*/ 5378814 w 11413077"/>
              <a:gd name="connsiteY158" fmla="*/ 236351 h 801151"/>
              <a:gd name="connsiteX159" fmla="*/ 5272452 w 11413077"/>
              <a:gd name="connsiteY159" fmla="*/ 236351 h 801151"/>
              <a:gd name="connsiteX160" fmla="*/ 5272452 w 11413077"/>
              <a:gd name="connsiteY160" fmla="*/ 306364 h 801151"/>
              <a:gd name="connsiteX161" fmla="*/ 5378814 w 11413077"/>
              <a:gd name="connsiteY161" fmla="*/ 306364 h 801151"/>
              <a:gd name="connsiteX162" fmla="*/ 5378814 w 11413077"/>
              <a:gd name="connsiteY162" fmla="*/ 641234 h 801151"/>
              <a:gd name="connsiteX163" fmla="*/ 5530511 w 11413077"/>
              <a:gd name="connsiteY163" fmla="*/ 794416 h 801151"/>
              <a:gd name="connsiteX164" fmla="*/ 5649078 w 11413077"/>
              <a:gd name="connsiteY164" fmla="*/ 760428 h 801151"/>
              <a:gd name="connsiteX165" fmla="*/ 5623558 w 11413077"/>
              <a:gd name="connsiteY165" fmla="*/ 694801 h 801151"/>
              <a:gd name="connsiteX166" fmla="*/ 5542716 w 11413077"/>
              <a:gd name="connsiteY166" fmla="*/ 717825 h 801151"/>
              <a:gd name="connsiteX167" fmla="*/ 5470751 w 11413077"/>
              <a:gd name="connsiteY167" fmla="*/ 626981 h 801151"/>
              <a:gd name="connsiteX168" fmla="*/ 5470751 w 11413077"/>
              <a:gd name="connsiteY168" fmla="*/ 306364 h 801151"/>
              <a:gd name="connsiteX169" fmla="*/ 5634654 w 11413077"/>
              <a:gd name="connsiteY169" fmla="*/ 306364 h 801151"/>
              <a:gd name="connsiteX170" fmla="*/ 5634654 w 11413077"/>
              <a:gd name="connsiteY170" fmla="*/ 236351 h 801151"/>
              <a:gd name="connsiteX171" fmla="*/ 5470751 w 11413077"/>
              <a:gd name="connsiteY171" fmla="*/ 236351 h 801151"/>
              <a:gd name="connsiteX172" fmla="*/ 5470751 w 11413077"/>
              <a:gd name="connsiteY172" fmla="*/ 83169 h 801151"/>
              <a:gd name="connsiteX173" fmla="*/ 2397823 w 11413077"/>
              <a:gd name="connsiteY173" fmla="*/ 17386 h 801151"/>
              <a:gd name="connsiteX174" fmla="*/ 2301447 w 11413077"/>
              <a:gd name="connsiteY174" fmla="*/ 17386 h 801151"/>
              <a:gd name="connsiteX175" fmla="*/ 2301447 w 11413077"/>
              <a:gd name="connsiteY175" fmla="*/ 783452 h 801151"/>
              <a:gd name="connsiteX176" fmla="*/ 2397823 w 11413077"/>
              <a:gd name="connsiteY176" fmla="*/ 783452 h 801151"/>
              <a:gd name="connsiteX177" fmla="*/ 2397823 w 11413077"/>
              <a:gd name="connsiteY177" fmla="*/ 17386 h 801151"/>
              <a:gd name="connsiteX178" fmla="*/ 8064337 w 11413077"/>
              <a:gd name="connsiteY178" fmla="*/ 17386 h 801151"/>
              <a:gd name="connsiteX179" fmla="*/ 7918188 w 11413077"/>
              <a:gd name="connsiteY179" fmla="*/ 17386 h 801151"/>
              <a:gd name="connsiteX180" fmla="*/ 7688979 w 11413077"/>
              <a:gd name="connsiteY180" fmla="*/ 634656 h 801151"/>
              <a:gd name="connsiteX181" fmla="*/ 7458501 w 11413077"/>
              <a:gd name="connsiteY181" fmla="*/ 17386 h 801151"/>
              <a:gd name="connsiteX182" fmla="*/ 7305695 w 11413077"/>
              <a:gd name="connsiteY182" fmla="*/ 17386 h 801151"/>
              <a:gd name="connsiteX183" fmla="*/ 7305695 w 11413077"/>
              <a:gd name="connsiteY183" fmla="*/ 783452 h 801151"/>
              <a:gd name="connsiteX184" fmla="*/ 7402071 w 11413077"/>
              <a:gd name="connsiteY184" fmla="*/ 783452 h 801151"/>
              <a:gd name="connsiteX185" fmla="*/ 7402071 w 11413077"/>
              <a:gd name="connsiteY185" fmla="*/ 123579 h 801151"/>
              <a:gd name="connsiteX186" fmla="*/ 7649034 w 11413077"/>
              <a:gd name="connsiteY186" fmla="*/ 783452 h 801151"/>
              <a:gd name="connsiteX187" fmla="*/ 7723217 w 11413077"/>
              <a:gd name="connsiteY187" fmla="*/ 783452 h 801151"/>
              <a:gd name="connsiteX188" fmla="*/ 7967961 w 11413077"/>
              <a:gd name="connsiteY188" fmla="*/ 122483 h 801151"/>
              <a:gd name="connsiteX189" fmla="*/ 7967961 w 11413077"/>
              <a:gd name="connsiteY189" fmla="*/ 783452 h 801151"/>
              <a:gd name="connsiteX190" fmla="*/ 8064337 w 11413077"/>
              <a:gd name="connsiteY190" fmla="*/ 783452 h 801151"/>
              <a:gd name="connsiteX191" fmla="*/ 8064337 w 11413077"/>
              <a:gd name="connsiteY191" fmla="*/ 17386 h 801151"/>
              <a:gd name="connsiteX192" fmla="*/ 9007646 w 11413077"/>
              <a:gd name="connsiteY192" fmla="*/ 716729 h 801151"/>
              <a:gd name="connsiteX193" fmla="*/ 8855949 w 11413077"/>
              <a:gd name="connsiteY193" fmla="*/ 509823 h 801151"/>
              <a:gd name="connsiteX194" fmla="*/ 9007646 w 11413077"/>
              <a:gd name="connsiteY194" fmla="*/ 302918 h 801151"/>
              <a:gd name="connsiteX195" fmla="*/ 9159343 w 11413077"/>
              <a:gd name="connsiteY195" fmla="*/ 509823 h 801151"/>
              <a:gd name="connsiteX196" fmla="*/ 9007646 w 11413077"/>
              <a:gd name="connsiteY196" fmla="*/ 716729 h 801151"/>
              <a:gd name="connsiteX197" fmla="*/ 9249219 w 11413077"/>
              <a:gd name="connsiteY197" fmla="*/ 17386 h 801151"/>
              <a:gd name="connsiteX198" fmla="*/ 9157282 w 11413077"/>
              <a:gd name="connsiteY198" fmla="*/ 17386 h 801151"/>
              <a:gd name="connsiteX199" fmla="*/ 9157282 w 11413077"/>
              <a:gd name="connsiteY199" fmla="*/ 341292 h 801151"/>
              <a:gd name="connsiteX200" fmla="*/ 8992271 w 11413077"/>
              <a:gd name="connsiteY200" fmla="*/ 225231 h 801151"/>
              <a:gd name="connsiteX201" fmla="*/ 8759732 w 11413077"/>
              <a:gd name="connsiteY201" fmla="*/ 513113 h 801151"/>
              <a:gd name="connsiteX202" fmla="*/ 8984504 w 11413077"/>
              <a:gd name="connsiteY202" fmla="*/ 794416 h 801151"/>
              <a:gd name="connsiteX203" fmla="*/ 9157282 w 11413077"/>
              <a:gd name="connsiteY203" fmla="*/ 672873 h 801151"/>
              <a:gd name="connsiteX204" fmla="*/ 9157282 w 11413077"/>
              <a:gd name="connsiteY204" fmla="*/ 714536 h 801151"/>
              <a:gd name="connsiteX205" fmla="*/ 9162831 w 11413077"/>
              <a:gd name="connsiteY205" fmla="*/ 783452 h 801151"/>
              <a:gd name="connsiteX206" fmla="*/ 9255878 w 11413077"/>
              <a:gd name="connsiteY206" fmla="*/ 783452 h 801151"/>
              <a:gd name="connsiteX207" fmla="*/ 9249219 w 11413077"/>
              <a:gd name="connsiteY207" fmla="*/ 669584 h 801151"/>
              <a:gd name="connsiteX208" fmla="*/ 9249219 w 11413077"/>
              <a:gd name="connsiteY208" fmla="*/ 17386 h 801151"/>
              <a:gd name="connsiteX209" fmla="*/ 5784131 w 11413077"/>
              <a:gd name="connsiteY209" fmla="*/ 1096 h 801151"/>
              <a:gd name="connsiteX210" fmla="*/ 5718824 w 11413077"/>
              <a:gd name="connsiteY210" fmla="*/ 65627 h 801151"/>
              <a:gd name="connsiteX211" fmla="*/ 5784131 w 11413077"/>
              <a:gd name="connsiteY211" fmla="*/ 129061 h 801151"/>
              <a:gd name="connsiteX212" fmla="*/ 5848329 w 11413077"/>
              <a:gd name="connsiteY212" fmla="*/ 65627 h 801151"/>
              <a:gd name="connsiteX213" fmla="*/ 5784131 w 11413077"/>
              <a:gd name="connsiteY213" fmla="*/ 1096 h 801151"/>
              <a:gd name="connsiteX214" fmla="*/ 9428497 w 11413077"/>
              <a:gd name="connsiteY214" fmla="*/ 1096 h 801151"/>
              <a:gd name="connsiteX215" fmla="*/ 9363190 w 11413077"/>
              <a:gd name="connsiteY215" fmla="*/ 65627 h 801151"/>
              <a:gd name="connsiteX216" fmla="*/ 9428497 w 11413077"/>
              <a:gd name="connsiteY216" fmla="*/ 129061 h 801151"/>
              <a:gd name="connsiteX217" fmla="*/ 9492696 w 11413077"/>
              <a:gd name="connsiteY217" fmla="*/ 65627 h 801151"/>
              <a:gd name="connsiteX218" fmla="*/ 9428497 w 11413077"/>
              <a:gd name="connsiteY218" fmla="*/ 1096 h 801151"/>
              <a:gd name="connsiteX219" fmla="*/ 10219159 w 11413077"/>
              <a:gd name="connsiteY219" fmla="*/ 1096 h 801151"/>
              <a:gd name="connsiteX220" fmla="*/ 10153852 w 11413077"/>
              <a:gd name="connsiteY220" fmla="*/ 65627 h 801151"/>
              <a:gd name="connsiteX221" fmla="*/ 10219159 w 11413077"/>
              <a:gd name="connsiteY221" fmla="*/ 129061 h 801151"/>
              <a:gd name="connsiteX222" fmla="*/ 10283358 w 11413077"/>
              <a:gd name="connsiteY222" fmla="*/ 65627 h 801151"/>
              <a:gd name="connsiteX223" fmla="*/ 10219159 w 11413077"/>
              <a:gd name="connsiteY223" fmla="*/ 1096 h 801151"/>
              <a:gd name="connsiteX224" fmla="*/ 1651545 w 11413077"/>
              <a:gd name="connsiteY224" fmla="*/ 800994 h 801151"/>
              <a:gd name="connsiteX225" fmla="*/ 1908494 w 11413077"/>
              <a:gd name="connsiteY225" fmla="*/ 548197 h 801151"/>
              <a:gd name="connsiteX226" fmla="*/ 1908494 w 11413077"/>
              <a:gd name="connsiteY226" fmla="*/ 17542 h 801151"/>
              <a:gd name="connsiteX227" fmla="*/ 1771222 w 11413077"/>
              <a:gd name="connsiteY227" fmla="*/ 17542 h 801151"/>
              <a:gd name="connsiteX228" fmla="*/ 1771222 w 11413077"/>
              <a:gd name="connsiteY228" fmla="*/ 583282 h 801151"/>
              <a:gd name="connsiteX229" fmla="*/ 1651545 w 11413077"/>
              <a:gd name="connsiteY229" fmla="*/ 729885 h 801151"/>
              <a:gd name="connsiteX230" fmla="*/ 1531867 w 11413077"/>
              <a:gd name="connsiteY230" fmla="*/ 572318 h 801151"/>
              <a:gd name="connsiteX231" fmla="*/ 1531867 w 11413077"/>
              <a:gd name="connsiteY231" fmla="*/ 467221 h 801151"/>
              <a:gd name="connsiteX232" fmla="*/ 1394595 w 11413077"/>
              <a:gd name="connsiteY232" fmla="*/ 501209 h 801151"/>
              <a:gd name="connsiteX233" fmla="*/ 1394595 w 11413077"/>
              <a:gd name="connsiteY233" fmla="*/ 548197 h 801151"/>
              <a:gd name="connsiteX234" fmla="*/ 1651545 w 11413077"/>
              <a:gd name="connsiteY234" fmla="*/ 800994 h 801151"/>
              <a:gd name="connsiteX235" fmla="*/ 920642 w 11413077"/>
              <a:gd name="connsiteY235" fmla="*/ 721114 h 801151"/>
              <a:gd name="connsiteX236" fmla="*/ 748973 w 11413077"/>
              <a:gd name="connsiteY236" fmla="*/ 544908 h 801151"/>
              <a:gd name="connsiteX237" fmla="*/ 816499 w 11413077"/>
              <a:gd name="connsiteY237" fmla="*/ 405979 h 801151"/>
              <a:gd name="connsiteX238" fmla="*/ 1066791 w 11413077"/>
              <a:gd name="connsiteY238" fmla="*/ 676319 h 801151"/>
              <a:gd name="connsiteX239" fmla="*/ 920642 w 11413077"/>
              <a:gd name="connsiteY239" fmla="*/ 721114 h 801151"/>
              <a:gd name="connsiteX240" fmla="*/ 1054585 w 11413077"/>
              <a:gd name="connsiteY240" fmla="*/ 329388 h 801151"/>
              <a:gd name="connsiteX241" fmla="*/ 1199625 w 11413077"/>
              <a:gd name="connsiteY241" fmla="*/ 469413 h 801151"/>
              <a:gd name="connsiteX242" fmla="*/ 1164118 w 11413077"/>
              <a:gd name="connsiteY242" fmla="*/ 586571 h 801151"/>
              <a:gd name="connsiteX243" fmla="*/ 947114 w 11413077"/>
              <a:gd name="connsiteY243" fmla="*/ 350220 h 801151"/>
              <a:gd name="connsiteX244" fmla="*/ 1054585 w 11413077"/>
              <a:gd name="connsiteY244" fmla="*/ 329388 h 801151"/>
              <a:gd name="connsiteX245" fmla="*/ 920642 w 11413077"/>
              <a:gd name="connsiteY245" fmla="*/ 57952 h 801151"/>
              <a:gd name="connsiteX246" fmla="*/ 1024785 w 11413077"/>
              <a:gd name="connsiteY246" fmla="*/ 163050 h 801151"/>
              <a:gd name="connsiteX247" fmla="*/ 917313 w 11413077"/>
              <a:gd name="connsiteY247" fmla="*/ 318424 h 801151"/>
              <a:gd name="connsiteX248" fmla="*/ 869760 w 11413077"/>
              <a:gd name="connsiteY248" fmla="*/ 265954 h 801151"/>
              <a:gd name="connsiteX249" fmla="*/ 815548 w 11413077"/>
              <a:gd name="connsiteY249" fmla="*/ 157568 h 801151"/>
              <a:gd name="connsiteX250" fmla="*/ 920642 w 11413077"/>
              <a:gd name="connsiteY250" fmla="*/ 57952 h 801151"/>
              <a:gd name="connsiteX251" fmla="*/ 1198515 w 11413077"/>
              <a:gd name="connsiteY251" fmla="*/ 623692 h 801151"/>
              <a:gd name="connsiteX252" fmla="*/ 1292672 w 11413077"/>
              <a:gd name="connsiteY252" fmla="*/ 410208 h 801151"/>
              <a:gd name="connsiteX253" fmla="*/ 1147632 w 11413077"/>
              <a:gd name="connsiteY253" fmla="*/ 271279 h 801151"/>
              <a:gd name="connsiteX254" fmla="*/ 1014799 w 11413077"/>
              <a:gd name="connsiteY254" fmla="*/ 297593 h 801151"/>
              <a:gd name="connsiteX255" fmla="*/ 1012580 w 11413077"/>
              <a:gd name="connsiteY255" fmla="*/ 293207 h 801151"/>
              <a:gd name="connsiteX256" fmla="*/ 1132257 w 11413077"/>
              <a:gd name="connsiteY256" fmla="*/ 148796 h 801151"/>
              <a:gd name="connsiteX257" fmla="*/ 923971 w 11413077"/>
              <a:gd name="connsiteY257" fmla="*/ 0 h 801151"/>
              <a:gd name="connsiteX258" fmla="*/ 695871 w 11413077"/>
              <a:gd name="connsiteY258" fmla="*/ 189363 h 801151"/>
              <a:gd name="connsiteX259" fmla="*/ 784480 w 11413077"/>
              <a:gd name="connsiteY259" fmla="*/ 372148 h 801151"/>
              <a:gd name="connsiteX260" fmla="*/ 785589 w 11413077"/>
              <a:gd name="connsiteY260" fmla="*/ 374340 h 801151"/>
              <a:gd name="connsiteX261" fmla="*/ 627235 w 11413077"/>
              <a:gd name="connsiteY261" fmla="*/ 594246 h 801151"/>
              <a:gd name="connsiteX262" fmla="*/ 849787 w 11413077"/>
              <a:gd name="connsiteY262" fmla="*/ 801151 h 801151"/>
              <a:gd name="connsiteX263" fmla="*/ 1100079 w 11413077"/>
              <a:gd name="connsiteY263" fmla="*/ 712500 h 801151"/>
              <a:gd name="connsiteX264" fmla="*/ 1166496 w 11413077"/>
              <a:gd name="connsiteY264" fmla="*/ 783609 h 801151"/>
              <a:gd name="connsiteX265" fmla="*/ 1340384 w 11413077"/>
              <a:gd name="connsiteY265" fmla="*/ 783609 h 801151"/>
              <a:gd name="connsiteX266" fmla="*/ 1340384 w 11413077"/>
              <a:gd name="connsiteY266" fmla="*/ 778127 h 801151"/>
              <a:gd name="connsiteX267" fmla="*/ 1198515 w 11413077"/>
              <a:gd name="connsiteY267" fmla="*/ 623692 h 801151"/>
              <a:gd name="connsiteX268" fmla="*/ 256949 w 11413077"/>
              <a:gd name="connsiteY268" fmla="*/ 800994 h 801151"/>
              <a:gd name="connsiteX269" fmla="*/ 513898 w 11413077"/>
              <a:gd name="connsiteY269" fmla="*/ 548197 h 801151"/>
              <a:gd name="connsiteX270" fmla="*/ 513898 w 11413077"/>
              <a:gd name="connsiteY270" fmla="*/ 17542 h 801151"/>
              <a:gd name="connsiteX271" fmla="*/ 376626 w 11413077"/>
              <a:gd name="connsiteY271" fmla="*/ 17542 h 801151"/>
              <a:gd name="connsiteX272" fmla="*/ 376626 w 11413077"/>
              <a:gd name="connsiteY272" fmla="*/ 583282 h 801151"/>
              <a:gd name="connsiteX273" fmla="*/ 256949 w 11413077"/>
              <a:gd name="connsiteY273" fmla="*/ 729885 h 801151"/>
              <a:gd name="connsiteX274" fmla="*/ 137272 w 11413077"/>
              <a:gd name="connsiteY274" fmla="*/ 572318 h 801151"/>
              <a:gd name="connsiteX275" fmla="*/ 137272 w 11413077"/>
              <a:gd name="connsiteY275" fmla="*/ 467221 h 801151"/>
              <a:gd name="connsiteX276" fmla="*/ 0 w 11413077"/>
              <a:gd name="connsiteY276" fmla="*/ 501209 h 801151"/>
              <a:gd name="connsiteX277" fmla="*/ 0 w 11413077"/>
              <a:gd name="connsiteY277" fmla="*/ 548197 h 801151"/>
              <a:gd name="connsiteX278" fmla="*/ 256949 w 11413077"/>
              <a:gd name="connsiteY278" fmla="*/ 800994 h 80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1413077" h="801151">
                <a:moveTo>
                  <a:pt x="4672481" y="236351"/>
                </a:moveTo>
                <a:lnTo>
                  <a:pt x="4578324" y="236351"/>
                </a:lnTo>
                <a:lnTo>
                  <a:pt x="4436614" y="678512"/>
                </a:lnTo>
                <a:lnTo>
                  <a:pt x="4293794" y="236351"/>
                </a:lnTo>
                <a:lnTo>
                  <a:pt x="4196308" y="236351"/>
                </a:lnTo>
                <a:lnTo>
                  <a:pt x="4376855" y="783609"/>
                </a:lnTo>
                <a:lnTo>
                  <a:pt x="4492093" y="783609"/>
                </a:lnTo>
                <a:lnTo>
                  <a:pt x="4672481" y="236351"/>
                </a:lnTo>
                <a:moveTo>
                  <a:pt x="5829624" y="236351"/>
                </a:moveTo>
                <a:lnTo>
                  <a:pt x="5737687" y="236351"/>
                </a:lnTo>
                <a:lnTo>
                  <a:pt x="5737687" y="783609"/>
                </a:lnTo>
                <a:lnTo>
                  <a:pt x="5829624" y="783609"/>
                </a:lnTo>
                <a:lnTo>
                  <a:pt x="5829624" y="236351"/>
                </a:lnTo>
                <a:close/>
                <a:moveTo>
                  <a:pt x="6394405" y="236351"/>
                </a:moveTo>
                <a:lnTo>
                  <a:pt x="6300249" y="236351"/>
                </a:lnTo>
                <a:lnTo>
                  <a:pt x="6158538" y="678512"/>
                </a:lnTo>
                <a:lnTo>
                  <a:pt x="6015718" y="236351"/>
                </a:lnTo>
                <a:lnTo>
                  <a:pt x="5918233" y="236351"/>
                </a:lnTo>
                <a:lnTo>
                  <a:pt x="6098779" y="783609"/>
                </a:lnTo>
                <a:lnTo>
                  <a:pt x="6214018" y="783609"/>
                </a:lnTo>
                <a:lnTo>
                  <a:pt x="6394405" y="236351"/>
                </a:lnTo>
                <a:moveTo>
                  <a:pt x="9473991" y="236351"/>
                </a:moveTo>
                <a:lnTo>
                  <a:pt x="9382053" y="236351"/>
                </a:lnTo>
                <a:lnTo>
                  <a:pt x="9382053" y="783609"/>
                </a:lnTo>
                <a:lnTo>
                  <a:pt x="9473991" y="783609"/>
                </a:lnTo>
                <a:lnTo>
                  <a:pt x="9473991" y="236351"/>
                </a:lnTo>
                <a:close/>
                <a:moveTo>
                  <a:pt x="10264494" y="236351"/>
                </a:moveTo>
                <a:lnTo>
                  <a:pt x="10172556" y="236351"/>
                </a:lnTo>
                <a:lnTo>
                  <a:pt x="10172556" y="783609"/>
                </a:lnTo>
                <a:lnTo>
                  <a:pt x="10264494" y="783609"/>
                </a:lnTo>
                <a:lnTo>
                  <a:pt x="10264494" y="236351"/>
                </a:lnTo>
                <a:close/>
                <a:moveTo>
                  <a:pt x="2788874" y="225387"/>
                </a:moveTo>
                <a:cubicBezTo>
                  <a:pt x="2710251" y="225387"/>
                  <a:pt x="2656040" y="262665"/>
                  <a:pt x="2633848" y="320617"/>
                </a:cubicBezTo>
                <a:lnTo>
                  <a:pt x="2633848" y="236351"/>
                </a:lnTo>
                <a:lnTo>
                  <a:pt x="2541911" y="236351"/>
                </a:lnTo>
                <a:lnTo>
                  <a:pt x="2541911" y="783609"/>
                </a:lnTo>
                <a:lnTo>
                  <a:pt x="2633848" y="783609"/>
                </a:lnTo>
                <a:lnTo>
                  <a:pt x="2633848" y="423522"/>
                </a:lnTo>
                <a:cubicBezTo>
                  <a:pt x="2633848" y="346931"/>
                  <a:pt x="2672684" y="295557"/>
                  <a:pt x="2754635" y="295557"/>
                </a:cubicBezTo>
                <a:cubicBezTo>
                  <a:pt x="2835476" y="295557"/>
                  <a:pt x="2874312" y="346931"/>
                  <a:pt x="2874312" y="423522"/>
                </a:cubicBezTo>
                <a:lnTo>
                  <a:pt x="2874312" y="783609"/>
                </a:lnTo>
                <a:lnTo>
                  <a:pt x="2966249" y="783609"/>
                </a:lnTo>
                <a:lnTo>
                  <a:pt x="2966249" y="404883"/>
                </a:lnTo>
                <a:cubicBezTo>
                  <a:pt x="2966091" y="301978"/>
                  <a:pt x="2900625" y="225387"/>
                  <a:pt x="2788874" y="225387"/>
                </a:cubicBezTo>
                <a:moveTo>
                  <a:pt x="3345887" y="225387"/>
                </a:moveTo>
                <a:cubicBezTo>
                  <a:pt x="3267265" y="225387"/>
                  <a:pt x="3213054" y="262665"/>
                  <a:pt x="3190862" y="320617"/>
                </a:cubicBezTo>
                <a:lnTo>
                  <a:pt x="3190862" y="236351"/>
                </a:lnTo>
                <a:lnTo>
                  <a:pt x="3098925" y="236351"/>
                </a:lnTo>
                <a:lnTo>
                  <a:pt x="3098925" y="783609"/>
                </a:lnTo>
                <a:lnTo>
                  <a:pt x="3190862" y="783609"/>
                </a:lnTo>
                <a:lnTo>
                  <a:pt x="3190862" y="423522"/>
                </a:lnTo>
                <a:cubicBezTo>
                  <a:pt x="3190862" y="346931"/>
                  <a:pt x="3229698" y="295557"/>
                  <a:pt x="3311649" y="295557"/>
                </a:cubicBezTo>
                <a:cubicBezTo>
                  <a:pt x="3392490" y="295557"/>
                  <a:pt x="3431326" y="346931"/>
                  <a:pt x="3431326" y="423522"/>
                </a:cubicBezTo>
                <a:lnTo>
                  <a:pt x="3431326" y="783609"/>
                </a:lnTo>
                <a:lnTo>
                  <a:pt x="3523263" y="783609"/>
                </a:lnTo>
                <a:lnTo>
                  <a:pt x="3523263" y="404883"/>
                </a:lnTo>
                <a:cubicBezTo>
                  <a:pt x="3523105" y="301978"/>
                  <a:pt x="3457639" y="225387"/>
                  <a:pt x="3345887" y="225387"/>
                </a:cubicBezTo>
                <a:moveTo>
                  <a:pt x="3892915" y="716729"/>
                </a:moveTo>
                <a:cubicBezTo>
                  <a:pt x="3799868" y="716729"/>
                  <a:pt x="3735671" y="651102"/>
                  <a:pt x="3735671" y="509823"/>
                </a:cubicBezTo>
                <a:cubicBezTo>
                  <a:pt x="3735671" y="367605"/>
                  <a:pt x="3798759" y="302918"/>
                  <a:pt x="3892915" y="302918"/>
                </a:cubicBezTo>
                <a:cubicBezTo>
                  <a:pt x="3985962" y="302918"/>
                  <a:pt x="4050160" y="367449"/>
                  <a:pt x="4050160" y="509823"/>
                </a:cubicBezTo>
                <a:cubicBezTo>
                  <a:pt x="4050160" y="651102"/>
                  <a:pt x="3988023" y="716729"/>
                  <a:pt x="3892915" y="716729"/>
                </a:cubicBezTo>
                <a:moveTo>
                  <a:pt x="3897195" y="225387"/>
                </a:moveTo>
                <a:cubicBezTo>
                  <a:pt x="3731074" y="225387"/>
                  <a:pt x="3639136" y="345834"/>
                  <a:pt x="3639136" y="516558"/>
                </a:cubicBezTo>
                <a:cubicBezTo>
                  <a:pt x="3639136" y="689476"/>
                  <a:pt x="3733293" y="794573"/>
                  <a:pt x="3888318" y="794573"/>
                </a:cubicBezTo>
                <a:cubicBezTo>
                  <a:pt x="4055549" y="794573"/>
                  <a:pt x="4146377" y="674126"/>
                  <a:pt x="4146377" y="503402"/>
                </a:cubicBezTo>
                <a:cubicBezTo>
                  <a:pt x="4146536" y="330485"/>
                  <a:pt x="4053489" y="225387"/>
                  <a:pt x="3897195" y="225387"/>
                </a:cubicBezTo>
                <a:moveTo>
                  <a:pt x="4953682" y="728789"/>
                </a:moveTo>
                <a:cubicBezTo>
                  <a:pt x="4890595" y="728789"/>
                  <a:pt x="4847321" y="693704"/>
                  <a:pt x="4847321" y="632463"/>
                </a:cubicBezTo>
                <a:cubicBezTo>
                  <a:pt x="4847321" y="581089"/>
                  <a:pt x="4877280" y="555872"/>
                  <a:pt x="4940367" y="540522"/>
                </a:cubicBezTo>
                <a:lnTo>
                  <a:pt x="5007894" y="524077"/>
                </a:lnTo>
                <a:cubicBezTo>
                  <a:pt x="5050058" y="514209"/>
                  <a:pt x="5073201" y="507631"/>
                  <a:pt x="5082078" y="499956"/>
                </a:cubicBezTo>
                <a:lnTo>
                  <a:pt x="5082078" y="606150"/>
                </a:lnTo>
                <a:cubicBezTo>
                  <a:pt x="5082237" y="687283"/>
                  <a:pt x="5025647" y="728789"/>
                  <a:pt x="4953682" y="728789"/>
                </a:cubicBezTo>
                <a:moveTo>
                  <a:pt x="4982532" y="225387"/>
                </a:moveTo>
                <a:cubicBezTo>
                  <a:pt x="4848589" y="225387"/>
                  <a:pt x="4765528" y="305268"/>
                  <a:pt x="4758871" y="400497"/>
                </a:cubicBezTo>
                <a:lnTo>
                  <a:pt x="4844151" y="418040"/>
                </a:lnTo>
                <a:cubicBezTo>
                  <a:pt x="4848589" y="348027"/>
                  <a:pt x="4891704" y="295400"/>
                  <a:pt x="4975875" y="295400"/>
                </a:cubicBezTo>
                <a:cubicBezTo>
                  <a:pt x="5046730" y="295400"/>
                  <a:pt x="5082237" y="333774"/>
                  <a:pt x="5082237" y="397208"/>
                </a:cubicBezTo>
                <a:lnTo>
                  <a:pt x="5082237" y="400497"/>
                </a:lnTo>
                <a:cubicBezTo>
                  <a:pt x="5082237" y="426811"/>
                  <a:pt x="5074470" y="437775"/>
                  <a:pt x="5050058" y="444196"/>
                </a:cubicBezTo>
                <a:lnTo>
                  <a:pt x="4890595" y="483667"/>
                </a:lnTo>
                <a:cubicBezTo>
                  <a:pt x="4805315" y="505594"/>
                  <a:pt x="4755541" y="561354"/>
                  <a:pt x="4755541" y="639041"/>
                </a:cubicBezTo>
                <a:cubicBezTo>
                  <a:pt x="4755541" y="737560"/>
                  <a:pt x="4829726" y="794416"/>
                  <a:pt x="4928321" y="794416"/>
                </a:cubicBezTo>
                <a:cubicBezTo>
                  <a:pt x="5011381" y="794416"/>
                  <a:pt x="5066702" y="754946"/>
                  <a:pt x="5082237" y="700283"/>
                </a:cubicBezTo>
                <a:cubicBezTo>
                  <a:pt x="5084455" y="751657"/>
                  <a:pt x="5088894" y="773585"/>
                  <a:pt x="5093333" y="783452"/>
                </a:cubicBezTo>
                <a:lnTo>
                  <a:pt x="5187489" y="783452"/>
                </a:lnTo>
                <a:cubicBezTo>
                  <a:pt x="5177503" y="754946"/>
                  <a:pt x="5173065" y="715632"/>
                  <a:pt x="5173065" y="669584"/>
                </a:cubicBezTo>
                <a:lnTo>
                  <a:pt x="5173065" y="391726"/>
                </a:lnTo>
                <a:cubicBezTo>
                  <a:pt x="5173065" y="288822"/>
                  <a:pt x="5100941" y="225387"/>
                  <a:pt x="4982532" y="225387"/>
                </a:cubicBezTo>
                <a:moveTo>
                  <a:pt x="6542773" y="450775"/>
                </a:moveTo>
                <a:cubicBezTo>
                  <a:pt x="6554979" y="354449"/>
                  <a:pt x="6604751" y="299786"/>
                  <a:pt x="6692251" y="299786"/>
                </a:cubicBezTo>
                <a:cubicBezTo>
                  <a:pt x="6775311" y="299786"/>
                  <a:pt x="6823975" y="349123"/>
                  <a:pt x="6826194" y="450775"/>
                </a:cubicBezTo>
                <a:lnTo>
                  <a:pt x="6542773" y="450775"/>
                </a:lnTo>
                <a:moveTo>
                  <a:pt x="6692251" y="225387"/>
                </a:moveTo>
                <a:cubicBezTo>
                  <a:pt x="6546102" y="225387"/>
                  <a:pt x="6444178" y="327195"/>
                  <a:pt x="6444178" y="514366"/>
                </a:cubicBezTo>
                <a:cubicBezTo>
                  <a:pt x="6444178" y="693861"/>
                  <a:pt x="6538335" y="794573"/>
                  <a:pt x="6692251" y="794573"/>
                </a:cubicBezTo>
                <a:cubicBezTo>
                  <a:pt x="6818585" y="794573"/>
                  <a:pt x="6898317" y="723464"/>
                  <a:pt x="6918131" y="616174"/>
                </a:cubicBezTo>
                <a:lnTo>
                  <a:pt x="6833961" y="594246"/>
                </a:lnTo>
                <a:cubicBezTo>
                  <a:pt x="6819537" y="686186"/>
                  <a:pt x="6769763" y="717825"/>
                  <a:pt x="6701127" y="717825"/>
                </a:cubicBezTo>
                <a:cubicBezTo>
                  <a:pt x="6591436" y="717825"/>
                  <a:pt x="6542773" y="637945"/>
                  <a:pt x="6539444" y="515305"/>
                </a:cubicBezTo>
                <a:lnTo>
                  <a:pt x="6919399" y="515305"/>
                </a:lnTo>
                <a:lnTo>
                  <a:pt x="6919399" y="484606"/>
                </a:lnTo>
                <a:cubicBezTo>
                  <a:pt x="6919241" y="293207"/>
                  <a:pt x="6814147" y="225387"/>
                  <a:pt x="6692251" y="225387"/>
                </a:cubicBezTo>
                <a:moveTo>
                  <a:pt x="8290217" y="450775"/>
                </a:moveTo>
                <a:cubicBezTo>
                  <a:pt x="8302423" y="354449"/>
                  <a:pt x="8352196" y="299786"/>
                  <a:pt x="8439696" y="299786"/>
                </a:cubicBezTo>
                <a:cubicBezTo>
                  <a:pt x="8522756" y="299786"/>
                  <a:pt x="8571420" y="349123"/>
                  <a:pt x="8573638" y="450775"/>
                </a:cubicBezTo>
                <a:lnTo>
                  <a:pt x="8290217" y="450775"/>
                </a:lnTo>
                <a:moveTo>
                  <a:pt x="8439696" y="225387"/>
                </a:moveTo>
                <a:cubicBezTo>
                  <a:pt x="8293547" y="225387"/>
                  <a:pt x="8191623" y="327195"/>
                  <a:pt x="8191623" y="514366"/>
                </a:cubicBezTo>
                <a:cubicBezTo>
                  <a:pt x="8191623" y="693861"/>
                  <a:pt x="8285780" y="794573"/>
                  <a:pt x="8439696" y="794573"/>
                </a:cubicBezTo>
                <a:cubicBezTo>
                  <a:pt x="8566030" y="794573"/>
                  <a:pt x="8645762" y="723464"/>
                  <a:pt x="8665576" y="616174"/>
                </a:cubicBezTo>
                <a:lnTo>
                  <a:pt x="8581405" y="594246"/>
                </a:lnTo>
                <a:cubicBezTo>
                  <a:pt x="8566981" y="686186"/>
                  <a:pt x="8517208" y="717825"/>
                  <a:pt x="8448572" y="717825"/>
                </a:cubicBezTo>
                <a:cubicBezTo>
                  <a:pt x="8338881" y="717825"/>
                  <a:pt x="8290217" y="637945"/>
                  <a:pt x="8286889" y="515305"/>
                </a:cubicBezTo>
                <a:lnTo>
                  <a:pt x="8666844" y="515305"/>
                </a:lnTo>
                <a:lnTo>
                  <a:pt x="8666844" y="484606"/>
                </a:lnTo>
                <a:cubicBezTo>
                  <a:pt x="8666685" y="293207"/>
                  <a:pt x="8561433" y="225387"/>
                  <a:pt x="8439696" y="225387"/>
                </a:cubicBezTo>
                <a:moveTo>
                  <a:pt x="9844911" y="225387"/>
                </a:moveTo>
                <a:cubicBezTo>
                  <a:pt x="9693214" y="225387"/>
                  <a:pt x="9590181" y="330485"/>
                  <a:pt x="9590181" y="515462"/>
                </a:cubicBezTo>
                <a:cubicBezTo>
                  <a:pt x="9590181" y="697150"/>
                  <a:pt x="9690994" y="794573"/>
                  <a:pt x="9840473" y="794573"/>
                </a:cubicBezTo>
                <a:cubicBezTo>
                  <a:pt x="9975525" y="794573"/>
                  <a:pt x="10052087" y="712500"/>
                  <a:pt x="10067462" y="599728"/>
                </a:cubicBezTo>
                <a:lnTo>
                  <a:pt x="9979964" y="578896"/>
                </a:lnTo>
                <a:cubicBezTo>
                  <a:pt x="9964429" y="681801"/>
                  <a:pt x="9920204" y="716729"/>
                  <a:pt x="9847130" y="716729"/>
                </a:cubicBezTo>
                <a:cubicBezTo>
                  <a:pt x="9740768" y="716729"/>
                  <a:pt x="9686557" y="640138"/>
                  <a:pt x="9686557" y="508727"/>
                </a:cubicBezTo>
                <a:cubicBezTo>
                  <a:pt x="9686557" y="371991"/>
                  <a:pt x="9744097" y="302918"/>
                  <a:pt x="9842691" y="302918"/>
                </a:cubicBezTo>
                <a:cubicBezTo>
                  <a:pt x="9912437" y="302918"/>
                  <a:pt x="9963478" y="336906"/>
                  <a:pt x="9979964" y="434172"/>
                </a:cubicBezTo>
                <a:lnTo>
                  <a:pt x="10067462" y="413341"/>
                </a:lnTo>
                <a:cubicBezTo>
                  <a:pt x="10051928" y="301978"/>
                  <a:pt x="9975525" y="225387"/>
                  <a:pt x="9844911" y="225387"/>
                </a:cubicBezTo>
                <a:moveTo>
                  <a:pt x="10644449" y="225387"/>
                </a:moveTo>
                <a:cubicBezTo>
                  <a:pt x="10565826" y="225387"/>
                  <a:pt x="10511615" y="262665"/>
                  <a:pt x="10489424" y="320617"/>
                </a:cubicBezTo>
                <a:lnTo>
                  <a:pt x="10489424" y="236351"/>
                </a:lnTo>
                <a:lnTo>
                  <a:pt x="10397486" y="236351"/>
                </a:lnTo>
                <a:lnTo>
                  <a:pt x="10397486" y="783609"/>
                </a:lnTo>
                <a:lnTo>
                  <a:pt x="10489424" y="783609"/>
                </a:lnTo>
                <a:lnTo>
                  <a:pt x="10489424" y="423522"/>
                </a:lnTo>
                <a:cubicBezTo>
                  <a:pt x="10489424" y="346931"/>
                  <a:pt x="10528259" y="295557"/>
                  <a:pt x="10610211" y="295557"/>
                </a:cubicBezTo>
                <a:cubicBezTo>
                  <a:pt x="10691052" y="295557"/>
                  <a:pt x="10729888" y="346931"/>
                  <a:pt x="10729888" y="423522"/>
                </a:cubicBezTo>
                <a:lnTo>
                  <a:pt x="10729888" y="783609"/>
                </a:lnTo>
                <a:lnTo>
                  <a:pt x="10821825" y="783609"/>
                </a:lnTo>
                <a:lnTo>
                  <a:pt x="10821825" y="404883"/>
                </a:lnTo>
                <a:cubicBezTo>
                  <a:pt x="10821666" y="301978"/>
                  <a:pt x="10756200" y="225387"/>
                  <a:pt x="10644449" y="225387"/>
                </a:cubicBezTo>
                <a:moveTo>
                  <a:pt x="11036293" y="450775"/>
                </a:moveTo>
                <a:cubicBezTo>
                  <a:pt x="11048498" y="354449"/>
                  <a:pt x="11098271" y="299786"/>
                  <a:pt x="11185771" y="299786"/>
                </a:cubicBezTo>
                <a:cubicBezTo>
                  <a:pt x="11268831" y="299786"/>
                  <a:pt x="11317495" y="349123"/>
                  <a:pt x="11319713" y="450775"/>
                </a:cubicBezTo>
                <a:lnTo>
                  <a:pt x="11036293" y="450775"/>
                </a:lnTo>
                <a:moveTo>
                  <a:pt x="11185929" y="225387"/>
                </a:moveTo>
                <a:cubicBezTo>
                  <a:pt x="11039780" y="225387"/>
                  <a:pt x="10937856" y="327195"/>
                  <a:pt x="10937856" y="514366"/>
                </a:cubicBezTo>
                <a:cubicBezTo>
                  <a:pt x="10937856" y="693861"/>
                  <a:pt x="11032013" y="794573"/>
                  <a:pt x="11185929" y="794573"/>
                </a:cubicBezTo>
                <a:cubicBezTo>
                  <a:pt x="11312263" y="794573"/>
                  <a:pt x="11391996" y="723464"/>
                  <a:pt x="11411810" y="616174"/>
                </a:cubicBezTo>
                <a:lnTo>
                  <a:pt x="11327639" y="594246"/>
                </a:lnTo>
                <a:cubicBezTo>
                  <a:pt x="11313214" y="686186"/>
                  <a:pt x="11263441" y="717825"/>
                  <a:pt x="11194806" y="717825"/>
                </a:cubicBezTo>
                <a:cubicBezTo>
                  <a:pt x="11085114" y="717825"/>
                  <a:pt x="11036451" y="637945"/>
                  <a:pt x="11033123" y="515305"/>
                </a:cubicBezTo>
                <a:lnTo>
                  <a:pt x="11413077" y="515305"/>
                </a:lnTo>
                <a:lnTo>
                  <a:pt x="11413077" y="484606"/>
                </a:lnTo>
                <a:cubicBezTo>
                  <a:pt x="11412919" y="293207"/>
                  <a:pt x="11307667" y="225387"/>
                  <a:pt x="11185929" y="225387"/>
                </a:cubicBezTo>
                <a:moveTo>
                  <a:pt x="5470751" y="83169"/>
                </a:moveTo>
                <a:lnTo>
                  <a:pt x="5378814" y="105097"/>
                </a:lnTo>
                <a:lnTo>
                  <a:pt x="5378814" y="236351"/>
                </a:lnTo>
                <a:lnTo>
                  <a:pt x="5272452" y="236351"/>
                </a:lnTo>
                <a:lnTo>
                  <a:pt x="5272452" y="306364"/>
                </a:lnTo>
                <a:lnTo>
                  <a:pt x="5378814" y="306364"/>
                </a:lnTo>
                <a:lnTo>
                  <a:pt x="5378814" y="641234"/>
                </a:lnTo>
                <a:cubicBezTo>
                  <a:pt x="5378814" y="730982"/>
                  <a:pt x="5421929" y="794416"/>
                  <a:pt x="5530511" y="794416"/>
                </a:cubicBezTo>
                <a:cubicBezTo>
                  <a:pt x="5584722" y="794416"/>
                  <a:pt x="5631325" y="776874"/>
                  <a:pt x="5649078" y="760428"/>
                </a:cubicBezTo>
                <a:lnTo>
                  <a:pt x="5623558" y="694801"/>
                </a:lnTo>
                <a:cubicBezTo>
                  <a:pt x="5623558" y="694801"/>
                  <a:pt x="5590270" y="717825"/>
                  <a:pt x="5542716" y="717825"/>
                </a:cubicBezTo>
                <a:cubicBezTo>
                  <a:pt x="5492784" y="717825"/>
                  <a:pt x="5470751" y="688222"/>
                  <a:pt x="5470751" y="626981"/>
                </a:cubicBezTo>
                <a:lnTo>
                  <a:pt x="5470751" y="306364"/>
                </a:lnTo>
                <a:lnTo>
                  <a:pt x="5634654" y="306364"/>
                </a:lnTo>
                <a:lnTo>
                  <a:pt x="5634654" y="236351"/>
                </a:lnTo>
                <a:lnTo>
                  <a:pt x="5470751" y="236351"/>
                </a:lnTo>
                <a:lnTo>
                  <a:pt x="5470751" y="83169"/>
                </a:lnTo>
                <a:moveTo>
                  <a:pt x="2397823" y="17386"/>
                </a:moveTo>
                <a:lnTo>
                  <a:pt x="2301447" y="17386"/>
                </a:lnTo>
                <a:lnTo>
                  <a:pt x="2301447" y="783452"/>
                </a:lnTo>
                <a:lnTo>
                  <a:pt x="2397823" y="783452"/>
                </a:lnTo>
                <a:lnTo>
                  <a:pt x="2397823" y="17386"/>
                </a:lnTo>
                <a:close/>
                <a:moveTo>
                  <a:pt x="8064337" y="17386"/>
                </a:moveTo>
                <a:lnTo>
                  <a:pt x="7918188" y="17386"/>
                </a:lnTo>
                <a:lnTo>
                  <a:pt x="7688979" y="634656"/>
                </a:lnTo>
                <a:lnTo>
                  <a:pt x="7458501" y="17386"/>
                </a:lnTo>
                <a:lnTo>
                  <a:pt x="7305695" y="17386"/>
                </a:lnTo>
                <a:lnTo>
                  <a:pt x="7305695" y="783452"/>
                </a:lnTo>
                <a:lnTo>
                  <a:pt x="7402071" y="783452"/>
                </a:lnTo>
                <a:lnTo>
                  <a:pt x="7402071" y="123579"/>
                </a:lnTo>
                <a:lnTo>
                  <a:pt x="7649034" y="783452"/>
                </a:lnTo>
                <a:lnTo>
                  <a:pt x="7723217" y="783452"/>
                </a:lnTo>
                <a:lnTo>
                  <a:pt x="7967961" y="122483"/>
                </a:lnTo>
                <a:lnTo>
                  <a:pt x="7967961" y="783452"/>
                </a:lnTo>
                <a:lnTo>
                  <a:pt x="8064337" y="783452"/>
                </a:lnTo>
                <a:lnTo>
                  <a:pt x="8064337" y="17386"/>
                </a:lnTo>
                <a:moveTo>
                  <a:pt x="9007646" y="716729"/>
                </a:moveTo>
                <a:cubicBezTo>
                  <a:pt x="8916819" y="716729"/>
                  <a:pt x="8855949" y="652198"/>
                  <a:pt x="8855949" y="509823"/>
                </a:cubicBezTo>
                <a:cubicBezTo>
                  <a:pt x="8855949" y="366509"/>
                  <a:pt x="8916819" y="302918"/>
                  <a:pt x="9007646" y="302918"/>
                </a:cubicBezTo>
                <a:cubicBezTo>
                  <a:pt x="9098475" y="302918"/>
                  <a:pt x="9159343" y="366352"/>
                  <a:pt x="9159343" y="509823"/>
                </a:cubicBezTo>
                <a:cubicBezTo>
                  <a:pt x="9159502" y="652198"/>
                  <a:pt x="9098475" y="716729"/>
                  <a:pt x="9007646" y="716729"/>
                </a:cubicBezTo>
                <a:moveTo>
                  <a:pt x="9249219" y="17386"/>
                </a:moveTo>
                <a:lnTo>
                  <a:pt x="9157282" y="17386"/>
                </a:lnTo>
                <a:lnTo>
                  <a:pt x="9157282" y="341292"/>
                </a:lnTo>
                <a:cubicBezTo>
                  <a:pt x="9137309" y="281147"/>
                  <a:pt x="9088646" y="225231"/>
                  <a:pt x="8992271" y="225231"/>
                </a:cubicBezTo>
                <a:cubicBezTo>
                  <a:pt x="8868155" y="225231"/>
                  <a:pt x="8759732" y="321557"/>
                  <a:pt x="8759732" y="513113"/>
                </a:cubicBezTo>
                <a:cubicBezTo>
                  <a:pt x="8759732" y="706861"/>
                  <a:pt x="8868314" y="794416"/>
                  <a:pt x="8984504" y="794416"/>
                </a:cubicBezTo>
                <a:cubicBezTo>
                  <a:pt x="9072002" y="794416"/>
                  <a:pt x="9136200" y="744139"/>
                  <a:pt x="9157282" y="672873"/>
                </a:cubicBezTo>
                <a:lnTo>
                  <a:pt x="9157282" y="714536"/>
                </a:lnTo>
                <a:cubicBezTo>
                  <a:pt x="9157282" y="739753"/>
                  <a:pt x="9159502" y="767006"/>
                  <a:pt x="9162831" y="783452"/>
                </a:cubicBezTo>
                <a:lnTo>
                  <a:pt x="9255878" y="783452"/>
                </a:lnTo>
                <a:cubicBezTo>
                  <a:pt x="9251439" y="757139"/>
                  <a:pt x="9249219" y="718922"/>
                  <a:pt x="9249219" y="669584"/>
                </a:cubicBezTo>
                <a:lnTo>
                  <a:pt x="9249219" y="17386"/>
                </a:lnTo>
                <a:moveTo>
                  <a:pt x="5784131" y="1096"/>
                </a:moveTo>
                <a:cubicBezTo>
                  <a:pt x="5747515" y="1096"/>
                  <a:pt x="5718824" y="29603"/>
                  <a:pt x="5718824" y="65627"/>
                </a:cubicBezTo>
                <a:cubicBezTo>
                  <a:pt x="5718824" y="101808"/>
                  <a:pt x="5747673" y="129061"/>
                  <a:pt x="5784131" y="129061"/>
                </a:cubicBezTo>
                <a:cubicBezTo>
                  <a:pt x="5820747" y="129061"/>
                  <a:pt x="5848329" y="101651"/>
                  <a:pt x="5848329" y="65627"/>
                </a:cubicBezTo>
                <a:cubicBezTo>
                  <a:pt x="5848487" y="29446"/>
                  <a:pt x="5820747" y="1096"/>
                  <a:pt x="5784131" y="1096"/>
                </a:cubicBezTo>
                <a:moveTo>
                  <a:pt x="9428497" y="1096"/>
                </a:moveTo>
                <a:cubicBezTo>
                  <a:pt x="9391881" y="1096"/>
                  <a:pt x="9363190" y="29603"/>
                  <a:pt x="9363190" y="65627"/>
                </a:cubicBezTo>
                <a:cubicBezTo>
                  <a:pt x="9363190" y="101808"/>
                  <a:pt x="9392040" y="129061"/>
                  <a:pt x="9428497" y="129061"/>
                </a:cubicBezTo>
                <a:cubicBezTo>
                  <a:pt x="9465114" y="129061"/>
                  <a:pt x="9492696" y="101651"/>
                  <a:pt x="9492696" y="65627"/>
                </a:cubicBezTo>
                <a:cubicBezTo>
                  <a:pt x="9492696" y="29446"/>
                  <a:pt x="9465114" y="1096"/>
                  <a:pt x="9428497" y="1096"/>
                </a:cubicBezTo>
                <a:moveTo>
                  <a:pt x="10219159" y="1096"/>
                </a:moveTo>
                <a:cubicBezTo>
                  <a:pt x="10182543" y="1096"/>
                  <a:pt x="10153852" y="29603"/>
                  <a:pt x="10153852" y="65627"/>
                </a:cubicBezTo>
                <a:cubicBezTo>
                  <a:pt x="10153852" y="101808"/>
                  <a:pt x="10182701" y="129061"/>
                  <a:pt x="10219159" y="129061"/>
                </a:cubicBezTo>
                <a:cubicBezTo>
                  <a:pt x="10255775" y="129061"/>
                  <a:pt x="10283358" y="101651"/>
                  <a:pt x="10283358" y="65627"/>
                </a:cubicBezTo>
                <a:cubicBezTo>
                  <a:pt x="10283358" y="29446"/>
                  <a:pt x="10255618" y="1096"/>
                  <a:pt x="10219159" y="1096"/>
                </a:cubicBezTo>
                <a:moveTo>
                  <a:pt x="1651545" y="800994"/>
                </a:moveTo>
                <a:cubicBezTo>
                  <a:pt x="1836529" y="800994"/>
                  <a:pt x="1908494" y="691512"/>
                  <a:pt x="1908494" y="548197"/>
                </a:cubicBezTo>
                <a:lnTo>
                  <a:pt x="1908494" y="17542"/>
                </a:lnTo>
                <a:lnTo>
                  <a:pt x="1771222" y="17542"/>
                </a:lnTo>
                <a:lnTo>
                  <a:pt x="1771222" y="583282"/>
                </a:lnTo>
                <a:cubicBezTo>
                  <a:pt x="1771222" y="675222"/>
                  <a:pt x="1735715" y="729885"/>
                  <a:pt x="1651545" y="729885"/>
                </a:cubicBezTo>
                <a:cubicBezTo>
                  <a:pt x="1568484" y="729885"/>
                  <a:pt x="1531867" y="671933"/>
                  <a:pt x="1531867" y="572318"/>
                </a:cubicBezTo>
                <a:lnTo>
                  <a:pt x="1531867" y="467221"/>
                </a:lnTo>
                <a:lnTo>
                  <a:pt x="1394595" y="501209"/>
                </a:lnTo>
                <a:lnTo>
                  <a:pt x="1394595" y="548197"/>
                </a:lnTo>
                <a:cubicBezTo>
                  <a:pt x="1394595" y="691668"/>
                  <a:pt x="1466560" y="800994"/>
                  <a:pt x="1651545" y="800994"/>
                </a:cubicBezTo>
                <a:moveTo>
                  <a:pt x="920642" y="721114"/>
                </a:moveTo>
                <a:cubicBezTo>
                  <a:pt x="814280" y="721114"/>
                  <a:pt x="748973" y="635752"/>
                  <a:pt x="748973" y="544908"/>
                </a:cubicBezTo>
                <a:cubicBezTo>
                  <a:pt x="748973" y="488052"/>
                  <a:pt x="774493" y="435425"/>
                  <a:pt x="816499" y="405979"/>
                </a:cubicBezTo>
                <a:lnTo>
                  <a:pt x="1066791" y="676319"/>
                </a:lnTo>
                <a:cubicBezTo>
                  <a:pt x="1020188" y="703572"/>
                  <a:pt x="968196" y="721114"/>
                  <a:pt x="920642" y="721114"/>
                </a:cubicBezTo>
                <a:moveTo>
                  <a:pt x="1054585" y="329388"/>
                </a:moveTo>
                <a:cubicBezTo>
                  <a:pt x="1144304" y="329388"/>
                  <a:pt x="1199625" y="380762"/>
                  <a:pt x="1199625" y="469413"/>
                </a:cubicBezTo>
                <a:cubicBezTo>
                  <a:pt x="1199625" y="508884"/>
                  <a:pt x="1188529" y="549294"/>
                  <a:pt x="1164118" y="586571"/>
                </a:cubicBezTo>
                <a:lnTo>
                  <a:pt x="947114" y="350220"/>
                </a:lnTo>
                <a:cubicBezTo>
                  <a:pt x="985949" y="334870"/>
                  <a:pt x="1023517" y="329388"/>
                  <a:pt x="1054585" y="329388"/>
                </a:cubicBezTo>
                <a:moveTo>
                  <a:pt x="920642" y="57952"/>
                </a:moveTo>
                <a:cubicBezTo>
                  <a:pt x="985949" y="57952"/>
                  <a:pt x="1024785" y="95230"/>
                  <a:pt x="1024785" y="163050"/>
                </a:cubicBezTo>
                <a:cubicBezTo>
                  <a:pt x="1024785" y="225387"/>
                  <a:pt x="993717" y="284593"/>
                  <a:pt x="917313" y="318424"/>
                </a:cubicBezTo>
                <a:lnTo>
                  <a:pt x="869760" y="265954"/>
                </a:lnTo>
                <a:cubicBezTo>
                  <a:pt x="827595" y="220062"/>
                  <a:pt x="815548" y="191556"/>
                  <a:pt x="815548" y="157568"/>
                </a:cubicBezTo>
                <a:cubicBezTo>
                  <a:pt x="815390" y="94133"/>
                  <a:pt x="856286" y="57952"/>
                  <a:pt x="920642" y="57952"/>
                </a:cubicBezTo>
                <a:moveTo>
                  <a:pt x="1198515" y="623692"/>
                </a:moveTo>
                <a:cubicBezTo>
                  <a:pt x="1258274" y="553679"/>
                  <a:pt x="1292672" y="477088"/>
                  <a:pt x="1292672" y="410208"/>
                </a:cubicBezTo>
                <a:cubicBezTo>
                  <a:pt x="1292672" y="327039"/>
                  <a:pt x="1236241" y="271279"/>
                  <a:pt x="1147632" y="271279"/>
                </a:cubicBezTo>
                <a:cubicBezTo>
                  <a:pt x="1101188" y="271279"/>
                  <a:pt x="1049038" y="284436"/>
                  <a:pt x="1014799" y="297593"/>
                </a:cubicBezTo>
                <a:lnTo>
                  <a:pt x="1012580" y="293207"/>
                </a:lnTo>
                <a:cubicBezTo>
                  <a:pt x="1096750" y="248412"/>
                  <a:pt x="1132257" y="206749"/>
                  <a:pt x="1132257" y="148796"/>
                </a:cubicBezTo>
                <a:cubicBezTo>
                  <a:pt x="1132257" y="65627"/>
                  <a:pt x="1056963" y="0"/>
                  <a:pt x="923971" y="0"/>
                </a:cubicBezTo>
                <a:cubicBezTo>
                  <a:pt x="771165" y="0"/>
                  <a:pt x="695871" y="84266"/>
                  <a:pt x="695871" y="189363"/>
                </a:cubicBezTo>
                <a:cubicBezTo>
                  <a:pt x="695871" y="246219"/>
                  <a:pt x="720282" y="303231"/>
                  <a:pt x="784480" y="372148"/>
                </a:cubicBezTo>
                <a:lnTo>
                  <a:pt x="785589" y="374340"/>
                </a:lnTo>
                <a:cubicBezTo>
                  <a:pt x="677008" y="425714"/>
                  <a:pt x="627235" y="508884"/>
                  <a:pt x="627235" y="594246"/>
                </a:cubicBezTo>
                <a:cubicBezTo>
                  <a:pt x="627235" y="707018"/>
                  <a:pt x="714734" y="801151"/>
                  <a:pt x="849787" y="801151"/>
                </a:cubicBezTo>
                <a:cubicBezTo>
                  <a:pt x="927300" y="801151"/>
                  <a:pt x="1018128" y="769356"/>
                  <a:pt x="1100079" y="712500"/>
                </a:cubicBezTo>
                <a:lnTo>
                  <a:pt x="1166496" y="783609"/>
                </a:lnTo>
                <a:lnTo>
                  <a:pt x="1340384" y="783609"/>
                </a:lnTo>
                <a:lnTo>
                  <a:pt x="1340384" y="778127"/>
                </a:lnTo>
                <a:lnTo>
                  <a:pt x="1198515" y="623692"/>
                </a:lnTo>
                <a:close/>
                <a:moveTo>
                  <a:pt x="256949" y="800994"/>
                </a:moveTo>
                <a:cubicBezTo>
                  <a:pt x="441934" y="800994"/>
                  <a:pt x="513898" y="691512"/>
                  <a:pt x="513898" y="548197"/>
                </a:cubicBezTo>
                <a:lnTo>
                  <a:pt x="513898" y="17542"/>
                </a:lnTo>
                <a:lnTo>
                  <a:pt x="376626" y="17542"/>
                </a:lnTo>
                <a:lnTo>
                  <a:pt x="376626" y="583282"/>
                </a:lnTo>
                <a:cubicBezTo>
                  <a:pt x="376626" y="675222"/>
                  <a:pt x="341120" y="729885"/>
                  <a:pt x="256949" y="729885"/>
                </a:cubicBezTo>
                <a:cubicBezTo>
                  <a:pt x="173889" y="729885"/>
                  <a:pt x="137272" y="671933"/>
                  <a:pt x="137272" y="572318"/>
                </a:cubicBezTo>
                <a:lnTo>
                  <a:pt x="137272" y="467221"/>
                </a:lnTo>
                <a:lnTo>
                  <a:pt x="0" y="501209"/>
                </a:lnTo>
                <a:lnTo>
                  <a:pt x="0" y="548197"/>
                </a:lnTo>
                <a:cubicBezTo>
                  <a:pt x="0" y="691668"/>
                  <a:pt x="71965" y="800994"/>
                  <a:pt x="256949" y="800994"/>
                </a:cubicBezTo>
              </a:path>
            </a:pathLst>
          </a:custGeom>
          <a:solidFill>
            <a:srgbClr val="EB1700"/>
          </a:solidFill>
          <a:ln w="15840" cap="flat">
            <a:noFill/>
            <a:prstDash val="solid"/>
            <a:miter/>
          </a:ln>
        </p:spPr>
        <p:txBody>
          <a:bodyPr rtlCol="0" anchor="ct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mn-lt"/>
            </a:endParaRPr>
          </a:p>
        </p:txBody>
      </p:sp>
      <p:sp>
        <p:nvSpPr>
          <p:cNvPr id="5" name="TextBox 4">
            <a:extLst>
              <a:ext uri="{FF2B5EF4-FFF2-40B4-BE49-F238E27FC236}">
                <a16:creationId xmlns:a16="http://schemas.microsoft.com/office/drawing/2014/main" id="{546109CB-2F77-3147-050E-3E7AE7CD3125}"/>
              </a:ext>
            </a:extLst>
          </p:cNvPr>
          <p:cNvSpPr txBox="1"/>
          <p:nvPr userDrawn="1"/>
        </p:nvSpPr>
        <p:spPr>
          <a:xfrm>
            <a:off x="8443084" y="6367097"/>
            <a:ext cx="2640969" cy="584775"/>
          </a:xfrm>
          <a:prstGeom prst="rect">
            <a:avLst/>
          </a:prstGeom>
          <a:solidFill>
            <a:srgbClr val="FFFFFF"/>
          </a:solidFill>
        </p:spPr>
        <p:txBody>
          <a:bodyPr wrap="square">
            <a:spAutoFit/>
          </a:bodyPr>
          <a:lstStyle/>
          <a:p>
            <a:pPr marL="0" marR="0" lvl="0" indent="0" defTabSz="914363" eaLnBrk="1" fontAlgn="auto" latinLnBrk="0" hangingPunct="1">
              <a:lnSpc>
                <a:spcPct val="100000"/>
              </a:lnSpc>
              <a:spcBef>
                <a:spcPts val="0"/>
              </a:spcBef>
              <a:spcAft>
                <a:spcPts val="0"/>
              </a:spcAft>
              <a:buClrTx/>
              <a:buSzTx/>
              <a:buFontTx/>
              <a:buNone/>
              <a:tabLst/>
              <a:defRPr/>
            </a:pPr>
            <a:r>
              <a:rPr kumimoji="0" lang="en-US" sz="1600" b="1" i="0" u="none" strike="noStrike" kern="0" cap="none" spc="-30" normalizeH="0" baseline="0" noProof="0">
                <a:ln>
                  <a:noFill/>
                </a:ln>
                <a:solidFill>
                  <a:srgbClr val="00A0DF"/>
                </a:solidFill>
                <a:effectLst/>
                <a:uLnTx/>
                <a:uFillTx/>
                <a:ea typeface="Verdana" panose="020B0604030504040204" pitchFamily="34" charset="0"/>
                <a:cs typeface="Times New Roman" panose="02020603050405020304" pitchFamily="18" charset="0"/>
              </a:rPr>
              <a:t>BELIEVE. </a:t>
            </a:r>
            <a:r>
              <a:rPr kumimoji="0" lang="en-US" sz="1600" b="1" i="0" u="none" strike="noStrike" kern="0" cap="none" spc="-30" normalizeH="0" baseline="0" noProof="0">
                <a:ln>
                  <a:noFill/>
                </a:ln>
                <a:solidFill>
                  <a:srgbClr val="7E2E78"/>
                </a:solidFill>
                <a:effectLst/>
                <a:uLnTx/>
                <a:uFillTx/>
                <a:ea typeface="Verdana" panose="020B0604030504040204" pitchFamily="34" charset="0"/>
                <a:cs typeface="Times New Roman" panose="02020603050405020304" pitchFamily="18" charset="0"/>
              </a:rPr>
              <a:t>BUILD. </a:t>
            </a:r>
            <a:r>
              <a:rPr kumimoji="0" lang="en-US" sz="1600" b="1" i="0" u="none" strike="noStrike" kern="0" cap="none" spc="-30" normalizeH="0" baseline="0" noProof="0">
                <a:ln>
                  <a:noFill/>
                </a:ln>
                <a:solidFill>
                  <a:srgbClr val="6EBD44"/>
                </a:solidFill>
                <a:effectLst/>
                <a:uLnTx/>
                <a:uFillTx/>
                <a:ea typeface="Verdana" panose="020B0604030504040204" pitchFamily="34" charset="0"/>
                <a:cs typeface="Times New Roman" panose="02020603050405020304" pitchFamily="18" charset="0"/>
              </a:rPr>
              <a:t>BELONG.</a:t>
            </a:r>
            <a:endParaRPr kumimoji="0" lang="en-US" sz="1600" b="0" i="0" u="none" strike="noStrike" kern="0" cap="none" spc="0" normalizeH="0" baseline="0" noProof="0">
              <a:ln>
                <a:noFill/>
              </a:ln>
              <a:solidFill>
                <a:srgbClr val="212121"/>
              </a:solidFill>
              <a:effectLst/>
              <a:uLnTx/>
              <a:uFillTx/>
            </a:endParaRPr>
          </a:p>
        </p:txBody>
      </p:sp>
    </p:spTree>
    <p:extLst>
      <p:ext uri="{BB962C8B-B14F-4D97-AF65-F5344CB8AC3E}">
        <p14:creationId xmlns:p14="http://schemas.microsoft.com/office/powerpoint/2010/main" val="326103204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97A17AB-0114-CDE0-D80E-3AAA53BE4837}"/>
              </a:ext>
            </a:extLst>
          </p:cNvPr>
          <p:cNvSpPr>
            <a:spLocks noGrp="1"/>
          </p:cNvSpPr>
          <p:nvPr>
            <p:ph type="ctrTitle" hasCustomPrompt="1"/>
          </p:nvPr>
        </p:nvSpPr>
        <p:spPr>
          <a:xfrm>
            <a:off x="284806" y="262670"/>
            <a:ext cx="8676632" cy="3930563"/>
          </a:xfrm>
        </p:spPr>
        <p:txBody>
          <a:bodyPr anchor="t">
            <a:normAutofit/>
          </a:bodyPr>
          <a:lstStyle>
            <a:lvl1pPr algn="l">
              <a:lnSpc>
                <a:spcPct val="80000"/>
              </a:lnSpc>
              <a:defRPr sz="10500" b="0" i="0" spc="0" baseline="0">
                <a:solidFill>
                  <a:schemeClr val="bg1"/>
                </a:solidFill>
                <a:latin typeface="+mj-lt"/>
              </a:defRPr>
            </a:lvl1pPr>
          </a:lstStyle>
          <a:p>
            <a:r>
              <a:rPr lang="en-GB"/>
              <a:t>Longer titles will shrink automatically</a:t>
            </a:r>
          </a:p>
        </p:txBody>
      </p:sp>
      <p:sp>
        <p:nvSpPr>
          <p:cNvPr id="6" name="Subtitle 2">
            <a:extLst>
              <a:ext uri="{FF2B5EF4-FFF2-40B4-BE49-F238E27FC236}">
                <a16:creationId xmlns:a16="http://schemas.microsoft.com/office/drawing/2014/main" id="{342D80B8-9D94-A4FE-A104-C937BDCF8941}"/>
              </a:ext>
            </a:extLst>
          </p:cNvPr>
          <p:cNvSpPr>
            <a:spLocks noGrp="1"/>
          </p:cNvSpPr>
          <p:nvPr>
            <p:ph type="subTitle" idx="1" hasCustomPrompt="1"/>
          </p:nvPr>
        </p:nvSpPr>
        <p:spPr>
          <a:xfrm>
            <a:off x="284806" y="4889500"/>
            <a:ext cx="2795587" cy="865834"/>
          </a:xfrm>
        </p:spPr>
        <p:txBody>
          <a:bodyPr anchor="b"/>
          <a:lstStyle>
            <a:lvl1pPr marL="0" indent="0" algn="l">
              <a:lnSpc>
                <a:spcPct val="100000"/>
              </a:lnSpc>
              <a:spcBef>
                <a:spcPts val="0"/>
              </a:spcBef>
              <a:spcAft>
                <a:spcPts val="0"/>
              </a:spcAft>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pporting details. Delete if not required.</a:t>
            </a:r>
          </a:p>
        </p:txBody>
      </p:sp>
      <p:sp>
        <p:nvSpPr>
          <p:cNvPr id="2" name="Graphic 2">
            <a:extLst>
              <a:ext uri="{FF2B5EF4-FFF2-40B4-BE49-F238E27FC236}">
                <a16:creationId xmlns:a16="http://schemas.microsoft.com/office/drawing/2014/main" id="{FC18C372-E3E1-FE2B-B432-BD1E63E9A760}"/>
              </a:ext>
            </a:extLst>
          </p:cNvPr>
          <p:cNvSpPr>
            <a:spLocks noChangeAspect="1"/>
          </p:cNvSpPr>
          <p:nvPr userDrawn="1"/>
        </p:nvSpPr>
        <p:spPr>
          <a:xfrm>
            <a:off x="290513" y="6377853"/>
            <a:ext cx="2034000" cy="187309"/>
          </a:xfrm>
          <a:custGeom>
            <a:avLst/>
            <a:gdLst>
              <a:gd name="connsiteX0" fmla="*/ 542692 w 5487431"/>
              <a:gd name="connsiteY0" fmla="*/ 463149 h 505330"/>
              <a:gd name="connsiteX1" fmla="*/ 458967 w 5487431"/>
              <a:gd name="connsiteY1" fmla="*/ 321634 h 505330"/>
              <a:gd name="connsiteX2" fmla="*/ 542692 w 5487431"/>
              <a:gd name="connsiteY2" fmla="*/ 180119 h 505330"/>
              <a:gd name="connsiteX3" fmla="*/ 626417 w 5487431"/>
              <a:gd name="connsiteY3" fmla="*/ 321634 h 505330"/>
              <a:gd name="connsiteX4" fmla="*/ 542692 w 5487431"/>
              <a:gd name="connsiteY4" fmla="*/ 463149 h 505330"/>
              <a:gd name="connsiteX5" fmla="*/ 542692 w 5487431"/>
              <a:gd name="connsiteY5" fmla="*/ 142174 h 505330"/>
              <a:gd name="connsiteX6" fmla="*/ 372482 w 5487431"/>
              <a:gd name="connsiteY6" fmla="*/ 321634 h 505330"/>
              <a:gd name="connsiteX7" fmla="*/ 542692 w 5487431"/>
              <a:gd name="connsiteY7" fmla="*/ 501094 h 505330"/>
              <a:gd name="connsiteX8" fmla="*/ 712902 w 5487431"/>
              <a:gd name="connsiteY8" fmla="*/ 321634 h 505330"/>
              <a:gd name="connsiteX9" fmla="*/ 542692 w 5487431"/>
              <a:gd name="connsiteY9" fmla="*/ 142174 h 505330"/>
              <a:gd name="connsiteX10" fmla="*/ 1303641 w 5487431"/>
              <a:gd name="connsiteY10" fmla="*/ 142174 h 505330"/>
              <a:gd name="connsiteX11" fmla="*/ 1207357 w 5487431"/>
              <a:gd name="connsiteY11" fmla="*/ 192547 h 505330"/>
              <a:gd name="connsiteX12" fmla="*/ 1203170 w 5487431"/>
              <a:gd name="connsiteY12" fmla="*/ 192547 h 505330"/>
              <a:gd name="connsiteX13" fmla="*/ 1203170 w 5487431"/>
              <a:gd name="connsiteY13" fmla="*/ 149048 h 505330"/>
              <a:gd name="connsiteX14" fmla="*/ 1120872 w 5487431"/>
              <a:gd name="connsiteY14" fmla="*/ 149048 h 505330"/>
              <a:gd name="connsiteX15" fmla="*/ 1120872 w 5487431"/>
              <a:gd name="connsiteY15" fmla="*/ 494221 h 505330"/>
              <a:gd name="connsiteX16" fmla="*/ 1203170 w 5487431"/>
              <a:gd name="connsiteY16" fmla="*/ 494221 h 505330"/>
              <a:gd name="connsiteX17" fmla="*/ 1203170 w 5487431"/>
              <a:gd name="connsiteY17" fmla="*/ 271261 h 505330"/>
              <a:gd name="connsiteX18" fmla="*/ 1272244 w 5487431"/>
              <a:gd name="connsiteY18" fmla="*/ 190476 h 505330"/>
              <a:gd name="connsiteX19" fmla="*/ 1331518 w 5487431"/>
              <a:gd name="connsiteY19" fmla="*/ 258173 h 505330"/>
              <a:gd name="connsiteX20" fmla="*/ 1331518 w 5487431"/>
              <a:gd name="connsiteY20" fmla="*/ 494221 h 505330"/>
              <a:gd name="connsiteX21" fmla="*/ 1413816 w 5487431"/>
              <a:gd name="connsiteY21" fmla="*/ 494221 h 505330"/>
              <a:gd name="connsiteX22" fmla="*/ 1413816 w 5487431"/>
              <a:gd name="connsiteY22" fmla="*/ 257420 h 505330"/>
              <a:gd name="connsiteX23" fmla="*/ 1303641 w 5487431"/>
              <a:gd name="connsiteY23" fmla="*/ 142174 h 505330"/>
              <a:gd name="connsiteX24" fmla="*/ 1600771 w 5487431"/>
              <a:gd name="connsiteY24" fmla="*/ 142174 h 505330"/>
              <a:gd name="connsiteX25" fmla="*/ 1467571 w 5487431"/>
              <a:gd name="connsiteY25" fmla="*/ 241602 h 505330"/>
              <a:gd name="connsiteX26" fmla="*/ 1551962 w 5487431"/>
              <a:gd name="connsiteY26" fmla="*/ 341030 h 505330"/>
              <a:gd name="connsiteX27" fmla="*/ 1621702 w 5487431"/>
              <a:gd name="connsiteY27" fmla="*/ 358260 h 505330"/>
              <a:gd name="connsiteX28" fmla="*/ 1675457 w 5487431"/>
              <a:gd name="connsiteY28" fmla="*/ 409387 h 505330"/>
              <a:gd name="connsiteX29" fmla="*/ 1606384 w 5487431"/>
              <a:gd name="connsiteY29" fmla="*/ 464656 h 505330"/>
              <a:gd name="connsiteX30" fmla="*/ 1526845 w 5487431"/>
              <a:gd name="connsiteY30" fmla="*/ 384624 h 505330"/>
              <a:gd name="connsiteX31" fmla="*/ 1452919 w 5487431"/>
              <a:gd name="connsiteY31" fmla="*/ 405338 h 505330"/>
              <a:gd name="connsiteX32" fmla="*/ 1597345 w 5487431"/>
              <a:gd name="connsiteY32" fmla="*/ 501282 h 505330"/>
              <a:gd name="connsiteX33" fmla="*/ 1742438 w 5487431"/>
              <a:gd name="connsiteY33" fmla="*/ 388767 h 505330"/>
              <a:gd name="connsiteX34" fmla="*/ 1649674 w 5487431"/>
              <a:gd name="connsiteY34" fmla="*/ 285196 h 505330"/>
              <a:gd name="connsiteX35" fmla="*/ 1582693 w 5487431"/>
              <a:gd name="connsiteY35" fmla="*/ 268625 h 505330"/>
              <a:gd name="connsiteX36" fmla="*/ 1534551 w 5487431"/>
              <a:gd name="connsiteY36" fmla="*/ 223054 h 505330"/>
              <a:gd name="connsiteX37" fmla="*/ 1593825 w 5487431"/>
              <a:gd name="connsiteY37" fmla="*/ 178895 h 505330"/>
              <a:gd name="connsiteX38" fmla="*/ 1664992 w 5487431"/>
              <a:gd name="connsiteY38" fmla="*/ 245180 h 505330"/>
              <a:gd name="connsiteX39" fmla="*/ 1734731 w 5487431"/>
              <a:gd name="connsiteY39" fmla="*/ 224466 h 505330"/>
              <a:gd name="connsiteX40" fmla="*/ 1600771 w 5487431"/>
              <a:gd name="connsiteY40" fmla="*/ 142174 h 505330"/>
              <a:gd name="connsiteX41" fmla="*/ 1946803 w 5487431"/>
              <a:gd name="connsiteY41" fmla="*/ 463149 h 505330"/>
              <a:gd name="connsiteX42" fmla="*/ 1863078 w 5487431"/>
              <a:gd name="connsiteY42" fmla="*/ 321634 h 505330"/>
              <a:gd name="connsiteX43" fmla="*/ 1946803 w 5487431"/>
              <a:gd name="connsiteY43" fmla="*/ 180119 h 505330"/>
              <a:gd name="connsiteX44" fmla="*/ 2030529 w 5487431"/>
              <a:gd name="connsiteY44" fmla="*/ 321634 h 505330"/>
              <a:gd name="connsiteX45" fmla="*/ 1946803 w 5487431"/>
              <a:gd name="connsiteY45" fmla="*/ 463149 h 505330"/>
              <a:gd name="connsiteX46" fmla="*/ 1946803 w 5487431"/>
              <a:gd name="connsiteY46" fmla="*/ 142174 h 505330"/>
              <a:gd name="connsiteX47" fmla="*/ 1776594 w 5487431"/>
              <a:gd name="connsiteY47" fmla="*/ 321634 h 505330"/>
              <a:gd name="connsiteX48" fmla="*/ 1946803 w 5487431"/>
              <a:gd name="connsiteY48" fmla="*/ 501094 h 505330"/>
              <a:gd name="connsiteX49" fmla="*/ 2117013 w 5487431"/>
              <a:gd name="connsiteY49" fmla="*/ 321634 h 505330"/>
              <a:gd name="connsiteX50" fmla="*/ 1946803 w 5487431"/>
              <a:gd name="connsiteY50" fmla="*/ 142174 h 505330"/>
              <a:gd name="connsiteX51" fmla="*/ 2348590 w 5487431"/>
              <a:gd name="connsiteY51" fmla="*/ 142174 h 505330"/>
              <a:gd name="connsiteX52" fmla="*/ 2252306 w 5487431"/>
              <a:gd name="connsiteY52" fmla="*/ 192547 h 505330"/>
              <a:gd name="connsiteX53" fmla="*/ 2248119 w 5487431"/>
              <a:gd name="connsiteY53" fmla="*/ 192547 h 505330"/>
              <a:gd name="connsiteX54" fmla="*/ 2248119 w 5487431"/>
              <a:gd name="connsiteY54" fmla="*/ 149048 h 505330"/>
              <a:gd name="connsiteX55" fmla="*/ 2165821 w 5487431"/>
              <a:gd name="connsiteY55" fmla="*/ 149048 h 505330"/>
              <a:gd name="connsiteX56" fmla="*/ 2165821 w 5487431"/>
              <a:gd name="connsiteY56" fmla="*/ 494221 h 505330"/>
              <a:gd name="connsiteX57" fmla="*/ 2248119 w 5487431"/>
              <a:gd name="connsiteY57" fmla="*/ 494221 h 505330"/>
              <a:gd name="connsiteX58" fmla="*/ 2248119 w 5487431"/>
              <a:gd name="connsiteY58" fmla="*/ 271261 h 505330"/>
              <a:gd name="connsiteX59" fmla="*/ 2317193 w 5487431"/>
              <a:gd name="connsiteY59" fmla="*/ 190476 h 505330"/>
              <a:gd name="connsiteX60" fmla="*/ 2376466 w 5487431"/>
              <a:gd name="connsiteY60" fmla="*/ 258173 h 505330"/>
              <a:gd name="connsiteX61" fmla="*/ 2376466 w 5487431"/>
              <a:gd name="connsiteY61" fmla="*/ 494221 h 505330"/>
              <a:gd name="connsiteX62" fmla="*/ 2458764 w 5487431"/>
              <a:gd name="connsiteY62" fmla="*/ 494221 h 505330"/>
              <a:gd name="connsiteX63" fmla="*/ 2458764 w 5487431"/>
              <a:gd name="connsiteY63" fmla="*/ 257420 h 505330"/>
              <a:gd name="connsiteX64" fmla="*/ 2348590 w 5487431"/>
              <a:gd name="connsiteY64" fmla="*/ 142174 h 505330"/>
              <a:gd name="connsiteX65" fmla="*/ 3571359 w 5487431"/>
              <a:gd name="connsiteY65" fmla="*/ 463149 h 505330"/>
              <a:gd name="connsiteX66" fmla="*/ 3487634 w 5487431"/>
              <a:gd name="connsiteY66" fmla="*/ 321634 h 505330"/>
              <a:gd name="connsiteX67" fmla="*/ 3571359 w 5487431"/>
              <a:gd name="connsiteY67" fmla="*/ 180119 h 505330"/>
              <a:gd name="connsiteX68" fmla="*/ 3655085 w 5487431"/>
              <a:gd name="connsiteY68" fmla="*/ 321634 h 505330"/>
              <a:gd name="connsiteX69" fmla="*/ 3571359 w 5487431"/>
              <a:gd name="connsiteY69" fmla="*/ 463149 h 505330"/>
              <a:gd name="connsiteX70" fmla="*/ 3571359 w 5487431"/>
              <a:gd name="connsiteY70" fmla="*/ 142174 h 505330"/>
              <a:gd name="connsiteX71" fmla="*/ 3401150 w 5487431"/>
              <a:gd name="connsiteY71" fmla="*/ 321634 h 505330"/>
              <a:gd name="connsiteX72" fmla="*/ 3571359 w 5487431"/>
              <a:gd name="connsiteY72" fmla="*/ 501094 h 505330"/>
              <a:gd name="connsiteX73" fmla="*/ 3741569 w 5487431"/>
              <a:gd name="connsiteY73" fmla="*/ 321634 h 505330"/>
              <a:gd name="connsiteX74" fmla="*/ 3571359 w 5487431"/>
              <a:gd name="connsiteY74" fmla="*/ 142174 h 505330"/>
              <a:gd name="connsiteX75" fmla="*/ 4332308 w 5487431"/>
              <a:gd name="connsiteY75" fmla="*/ 142174 h 505330"/>
              <a:gd name="connsiteX76" fmla="*/ 4236024 w 5487431"/>
              <a:gd name="connsiteY76" fmla="*/ 192547 h 505330"/>
              <a:gd name="connsiteX77" fmla="*/ 4231838 w 5487431"/>
              <a:gd name="connsiteY77" fmla="*/ 192547 h 505330"/>
              <a:gd name="connsiteX78" fmla="*/ 4231838 w 5487431"/>
              <a:gd name="connsiteY78" fmla="*/ 149048 h 505330"/>
              <a:gd name="connsiteX79" fmla="*/ 4149539 w 5487431"/>
              <a:gd name="connsiteY79" fmla="*/ 149048 h 505330"/>
              <a:gd name="connsiteX80" fmla="*/ 4149539 w 5487431"/>
              <a:gd name="connsiteY80" fmla="*/ 494221 h 505330"/>
              <a:gd name="connsiteX81" fmla="*/ 4231838 w 5487431"/>
              <a:gd name="connsiteY81" fmla="*/ 494221 h 505330"/>
              <a:gd name="connsiteX82" fmla="*/ 4231838 w 5487431"/>
              <a:gd name="connsiteY82" fmla="*/ 271261 h 505330"/>
              <a:gd name="connsiteX83" fmla="*/ 4300911 w 5487431"/>
              <a:gd name="connsiteY83" fmla="*/ 190476 h 505330"/>
              <a:gd name="connsiteX84" fmla="*/ 4360185 w 5487431"/>
              <a:gd name="connsiteY84" fmla="*/ 258173 h 505330"/>
              <a:gd name="connsiteX85" fmla="*/ 4360185 w 5487431"/>
              <a:gd name="connsiteY85" fmla="*/ 494221 h 505330"/>
              <a:gd name="connsiteX86" fmla="*/ 4442483 w 5487431"/>
              <a:gd name="connsiteY86" fmla="*/ 494221 h 505330"/>
              <a:gd name="connsiteX87" fmla="*/ 4442483 w 5487431"/>
              <a:gd name="connsiteY87" fmla="*/ 257420 h 505330"/>
              <a:gd name="connsiteX88" fmla="*/ 4332308 w 5487431"/>
              <a:gd name="connsiteY88" fmla="*/ 142174 h 505330"/>
              <a:gd name="connsiteX89" fmla="*/ 4629533 w 5487431"/>
              <a:gd name="connsiteY89" fmla="*/ 142174 h 505330"/>
              <a:gd name="connsiteX90" fmla="*/ 4496334 w 5487431"/>
              <a:gd name="connsiteY90" fmla="*/ 241602 h 505330"/>
              <a:gd name="connsiteX91" fmla="*/ 4580725 w 5487431"/>
              <a:gd name="connsiteY91" fmla="*/ 341030 h 505330"/>
              <a:gd name="connsiteX92" fmla="*/ 4650464 w 5487431"/>
              <a:gd name="connsiteY92" fmla="*/ 358260 h 505330"/>
              <a:gd name="connsiteX93" fmla="*/ 4704220 w 5487431"/>
              <a:gd name="connsiteY93" fmla="*/ 409387 h 505330"/>
              <a:gd name="connsiteX94" fmla="*/ 4635146 w 5487431"/>
              <a:gd name="connsiteY94" fmla="*/ 464656 h 505330"/>
              <a:gd name="connsiteX95" fmla="*/ 4555607 w 5487431"/>
              <a:gd name="connsiteY95" fmla="*/ 384624 h 505330"/>
              <a:gd name="connsiteX96" fmla="*/ 4481682 w 5487431"/>
              <a:gd name="connsiteY96" fmla="*/ 405338 h 505330"/>
              <a:gd name="connsiteX97" fmla="*/ 4626108 w 5487431"/>
              <a:gd name="connsiteY97" fmla="*/ 501282 h 505330"/>
              <a:gd name="connsiteX98" fmla="*/ 4771200 w 5487431"/>
              <a:gd name="connsiteY98" fmla="*/ 388767 h 505330"/>
              <a:gd name="connsiteX99" fmla="*/ 4678436 w 5487431"/>
              <a:gd name="connsiteY99" fmla="*/ 285196 h 505330"/>
              <a:gd name="connsiteX100" fmla="*/ 4611456 w 5487431"/>
              <a:gd name="connsiteY100" fmla="*/ 268625 h 505330"/>
              <a:gd name="connsiteX101" fmla="*/ 4563314 w 5487431"/>
              <a:gd name="connsiteY101" fmla="*/ 223054 h 505330"/>
              <a:gd name="connsiteX102" fmla="*/ 4622588 w 5487431"/>
              <a:gd name="connsiteY102" fmla="*/ 178895 h 505330"/>
              <a:gd name="connsiteX103" fmla="*/ 4693754 w 5487431"/>
              <a:gd name="connsiteY103" fmla="*/ 245180 h 505330"/>
              <a:gd name="connsiteX104" fmla="*/ 4763493 w 5487431"/>
              <a:gd name="connsiteY104" fmla="*/ 224466 h 505330"/>
              <a:gd name="connsiteX105" fmla="*/ 4629533 w 5487431"/>
              <a:gd name="connsiteY105" fmla="*/ 142174 h 505330"/>
              <a:gd name="connsiteX106" fmla="*/ 4975471 w 5487431"/>
              <a:gd name="connsiteY106" fmla="*/ 463149 h 505330"/>
              <a:gd name="connsiteX107" fmla="*/ 4891745 w 5487431"/>
              <a:gd name="connsiteY107" fmla="*/ 321634 h 505330"/>
              <a:gd name="connsiteX108" fmla="*/ 4975471 w 5487431"/>
              <a:gd name="connsiteY108" fmla="*/ 180119 h 505330"/>
              <a:gd name="connsiteX109" fmla="*/ 5059196 w 5487431"/>
              <a:gd name="connsiteY109" fmla="*/ 321634 h 505330"/>
              <a:gd name="connsiteX110" fmla="*/ 4975471 w 5487431"/>
              <a:gd name="connsiteY110" fmla="*/ 463149 h 505330"/>
              <a:gd name="connsiteX111" fmla="*/ 4975471 w 5487431"/>
              <a:gd name="connsiteY111" fmla="*/ 142174 h 505330"/>
              <a:gd name="connsiteX112" fmla="*/ 4805261 w 5487431"/>
              <a:gd name="connsiteY112" fmla="*/ 321634 h 505330"/>
              <a:gd name="connsiteX113" fmla="*/ 4975471 w 5487431"/>
              <a:gd name="connsiteY113" fmla="*/ 501094 h 505330"/>
              <a:gd name="connsiteX114" fmla="*/ 5145680 w 5487431"/>
              <a:gd name="connsiteY114" fmla="*/ 321634 h 505330"/>
              <a:gd name="connsiteX115" fmla="*/ 4975471 w 5487431"/>
              <a:gd name="connsiteY115" fmla="*/ 142174 h 505330"/>
              <a:gd name="connsiteX116" fmla="*/ 5377257 w 5487431"/>
              <a:gd name="connsiteY116" fmla="*/ 142174 h 505330"/>
              <a:gd name="connsiteX117" fmla="*/ 5280973 w 5487431"/>
              <a:gd name="connsiteY117" fmla="*/ 192547 h 505330"/>
              <a:gd name="connsiteX118" fmla="*/ 5276787 w 5487431"/>
              <a:gd name="connsiteY118" fmla="*/ 192547 h 505330"/>
              <a:gd name="connsiteX119" fmla="*/ 5276787 w 5487431"/>
              <a:gd name="connsiteY119" fmla="*/ 149048 h 505330"/>
              <a:gd name="connsiteX120" fmla="*/ 5194488 w 5487431"/>
              <a:gd name="connsiteY120" fmla="*/ 149048 h 505330"/>
              <a:gd name="connsiteX121" fmla="*/ 5194488 w 5487431"/>
              <a:gd name="connsiteY121" fmla="*/ 494221 h 505330"/>
              <a:gd name="connsiteX122" fmla="*/ 5276787 w 5487431"/>
              <a:gd name="connsiteY122" fmla="*/ 494221 h 505330"/>
              <a:gd name="connsiteX123" fmla="*/ 5276787 w 5487431"/>
              <a:gd name="connsiteY123" fmla="*/ 271261 h 505330"/>
              <a:gd name="connsiteX124" fmla="*/ 5345860 w 5487431"/>
              <a:gd name="connsiteY124" fmla="*/ 190476 h 505330"/>
              <a:gd name="connsiteX125" fmla="*/ 5405134 w 5487431"/>
              <a:gd name="connsiteY125" fmla="*/ 258173 h 505330"/>
              <a:gd name="connsiteX126" fmla="*/ 5405134 w 5487431"/>
              <a:gd name="connsiteY126" fmla="*/ 494221 h 505330"/>
              <a:gd name="connsiteX127" fmla="*/ 5487432 w 5487431"/>
              <a:gd name="connsiteY127" fmla="*/ 494221 h 505330"/>
              <a:gd name="connsiteX128" fmla="*/ 5487432 w 5487431"/>
              <a:gd name="connsiteY128" fmla="*/ 257420 h 505330"/>
              <a:gd name="connsiteX129" fmla="*/ 5377257 w 5487431"/>
              <a:gd name="connsiteY129" fmla="*/ 142174 h 505330"/>
              <a:gd name="connsiteX130" fmla="*/ 323674 w 5487431"/>
              <a:gd name="connsiteY130" fmla="*/ 11016 h 505330"/>
              <a:gd name="connsiteX131" fmla="*/ 237190 w 5487431"/>
              <a:gd name="connsiteY131" fmla="*/ 11016 h 505330"/>
              <a:gd name="connsiteX132" fmla="*/ 237190 w 5487431"/>
              <a:gd name="connsiteY132" fmla="*/ 367864 h 505330"/>
              <a:gd name="connsiteX133" fmla="*/ 161837 w 5487431"/>
              <a:gd name="connsiteY133" fmla="*/ 460325 h 505330"/>
              <a:gd name="connsiteX134" fmla="*/ 86484 w 5487431"/>
              <a:gd name="connsiteY134" fmla="*/ 360897 h 505330"/>
              <a:gd name="connsiteX135" fmla="*/ 86484 w 5487431"/>
              <a:gd name="connsiteY135" fmla="*/ 294612 h 505330"/>
              <a:gd name="connsiteX136" fmla="*/ 0 w 5487431"/>
              <a:gd name="connsiteY136" fmla="*/ 315985 h 505330"/>
              <a:gd name="connsiteX137" fmla="*/ 0 w 5487431"/>
              <a:gd name="connsiteY137" fmla="*/ 345644 h 505330"/>
              <a:gd name="connsiteX138" fmla="*/ 161837 w 5487431"/>
              <a:gd name="connsiteY138" fmla="*/ 505143 h 505330"/>
              <a:gd name="connsiteX139" fmla="*/ 323674 w 5487431"/>
              <a:gd name="connsiteY139" fmla="*/ 345644 h 505330"/>
              <a:gd name="connsiteX140" fmla="*/ 323674 w 5487431"/>
              <a:gd name="connsiteY140" fmla="*/ 11016 h 505330"/>
              <a:gd name="connsiteX141" fmla="*/ 844008 w 5487431"/>
              <a:gd name="connsiteY141" fmla="*/ 11016 h 505330"/>
              <a:gd name="connsiteX142" fmla="*/ 761710 w 5487431"/>
              <a:gd name="connsiteY142" fmla="*/ 11016 h 505330"/>
              <a:gd name="connsiteX143" fmla="*/ 761710 w 5487431"/>
              <a:gd name="connsiteY143" fmla="*/ 494221 h 505330"/>
              <a:gd name="connsiteX144" fmla="*/ 844008 w 5487431"/>
              <a:gd name="connsiteY144" fmla="*/ 494221 h 505330"/>
              <a:gd name="connsiteX145" fmla="*/ 844008 w 5487431"/>
              <a:gd name="connsiteY145" fmla="*/ 271261 h 505330"/>
              <a:gd name="connsiteX146" fmla="*/ 913081 w 5487431"/>
              <a:gd name="connsiteY146" fmla="*/ 190476 h 505330"/>
              <a:gd name="connsiteX147" fmla="*/ 972355 w 5487431"/>
              <a:gd name="connsiteY147" fmla="*/ 258173 h 505330"/>
              <a:gd name="connsiteX148" fmla="*/ 972355 w 5487431"/>
              <a:gd name="connsiteY148" fmla="*/ 494221 h 505330"/>
              <a:gd name="connsiteX149" fmla="*/ 1054653 w 5487431"/>
              <a:gd name="connsiteY149" fmla="*/ 494221 h 505330"/>
              <a:gd name="connsiteX150" fmla="*/ 1054653 w 5487431"/>
              <a:gd name="connsiteY150" fmla="*/ 257420 h 505330"/>
              <a:gd name="connsiteX151" fmla="*/ 944478 w 5487431"/>
              <a:gd name="connsiteY151" fmla="*/ 142174 h 505330"/>
              <a:gd name="connsiteX152" fmla="*/ 848194 w 5487431"/>
              <a:gd name="connsiteY152" fmla="*/ 192547 h 505330"/>
              <a:gd name="connsiteX153" fmla="*/ 844008 w 5487431"/>
              <a:gd name="connsiteY153" fmla="*/ 192547 h 505330"/>
              <a:gd name="connsiteX154" fmla="*/ 844008 w 5487431"/>
              <a:gd name="connsiteY154" fmla="*/ 11016 h 505330"/>
              <a:gd name="connsiteX155" fmla="*/ 3352342 w 5487431"/>
              <a:gd name="connsiteY155" fmla="*/ 11016 h 505330"/>
              <a:gd name="connsiteX156" fmla="*/ 3265857 w 5487431"/>
              <a:gd name="connsiteY156" fmla="*/ 11016 h 505330"/>
              <a:gd name="connsiteX157" fmla="*/ 3265857 w 5487431"/>
              <a:gd name="connsiteY157" fmla="*/ 367864 h 505330"/>
              <a:gd name="connsiteX158" fmla="*/ 3190504 w 5487431"/>
              <a:gd name="connsiteY158" fmla="*/ 460325 h 505330"/>
              <a:gd name="connsiteX159" fmla="*/ 3115152 w 5487431"/>
              <a:gd name="connsiteY159" fmla="*/ 360897 h 505330"/>
              <a:gd name="connsiteX160" fmla="*/ 3115152 w 5487431"/>
              <a:gd name="connsiteY160" fmla="*/ 294612 h 505330"/>
              <a:gd name="connsiteX161" fmla="*/ 3028667 w 5487431"/>
              <a:gd name="connsiteY161" fmla="*/ 315985 h 505330"/>
              <a:gd name="connsiteX162" fmla="*/ 3028667 w 5487431"/>
              <a:gd name="connsiteY162" fmla="*/ 345644 h 505330"/>
              <a:gd name="connsiteX163" fmla="*/ 3190504 w 5487431"/>
              <a:gd name="connsiteY163" fmla="*/ 505143 h 505330"/>
              <a:gd name="connsiteX164" fmla="*/ 3352342 w 5487431"/>
              <a:gd name="connsiteY164" fmla="*/ 345644 h 505330"/>
              <a:gd name="connsiteX165" fmla="*/ 3352342 w 5487431"/>
              <a:gd name="connsiteY165" fmla="*/ 11016 h 505330"/>
              <a:gd name="connsiteX166" fmla="*/ 3872675 w 5487431"/>
              <a:gd name="connsiteY166" fmla="*/ 11016 h 505330"/>
              <a:gd name="connsiteX167" fmla="*/ 3790377 w 5487431"/>
              <a:gd name="connsiteY167" fmla="*/ 11016 h 505330"/>
              <a:gd name="connsiteX168" fmla="*/ 3790377 w 5487431"/>
              <a:gd name="connsiteY168" fmla="*/ 494221 h 505330"/>
              <a:gd name="connsiteX169" fmla="*/ 3872675 w 5487431"/>
              <a:gd name="connsiteY169" fmla="*/ 494221 h 505330"/>
              <a:gd name="connsiteX170" fmla="*/ 3872675 w 5487431"/>
              <a:gd name="connsiteY170" fmla="*/ 271261 h 505330"/>
              <a:gd name="connsiteX171" fmla="*/ 3941749 w 5487431"/>
              <a:gd name="connsiteY171" fmla="*/ 190476 h 505330"/>
              <a:gd name="connsiteX172" fmla="*/ 4001022 w 5487431"/>
              <a:gd name="connsiteY172" fmla="*/ 258173 h 505330"/>
              <a:gd name="connsiteX173" fmla="*/ 4001022 w 5487431"/>
              <a:gd name="connsiteY173" fmla="*/ 494221 h 505330"/>
              <a:gd name="connsiteX174" fmla="*/ 4083320 w 5487431"/>
              <a:gd name="connsiteY174" fmla="*/ 494221 h 505330"/>
              <a:gd name="connsiteX175" fmla="*/ 4083320 w 5487431"/>
              <a:gd name="connsiteY175" fmla="*/ 257420 h 505330"/>
              <a:gd name="connsiteX176" fmla="*/ 3973146 w 5487431"/>
              <a:gd name="connsiteY176" fmla="*/ 142174 h 505330"/>
              <a:gd name="connsiteX177" fmla="*/ 3876861 w 5487431"/>
              <a:gd name="connsiteY177" fmla="*/ 192547 h 505330"/>
              <a:gd name="connsiteX178" fmla="*/ 3872675 w 5487431"/>
              <a:gd name="connsiteY178" fmla="*/ 192547 h 505330"/>
              <a:gd name="connsiteX179" fmla="*/ 3872675 w 5487431"/>
              <a:gd name="connsiteY179" fmla="*/ 11016 h 505330"/>
              <a:gd name="connsiteX180" fmla="*/ 2730110 w 5487431"/>
              <a:gd name="connsiteY180" fmla="*/ 454864 h 505330"/>
              <a:gd name="connsiteX181" fmla="*/ 2622029 w 5487431"/>
              <a:gd name="connsiteY181" fmla="*/ 343761 h 505330"/>
              <a:gd name="connsiteX182" fmla="*/ 2664557 w 5487431"/>
              <a:gd name="connsiteY182" fmla="*/ 256102 h 505330"/>
              <a:gd name="connsiteX183" fmla="*/ 2822208 w 5487431"/>
              <a:gd name="connsiteY183" fmla="*/ 426617 h 505330"/>
              <a:gd name="connsiteX184" fmla="*/ 2730110 w 5487431"/>
              <a:gd name="connsiteY184" fmla="*/ 454864 h 505330"/>
              <a:gd name="connsiteX185" fmla="*/ 2883575 w 5487431"/>
              <a:gd name="connsiteY185" fmla="*/ 369936 h 505330"/>
              <a:gd name="connsiteX186" fmla="*/ 2746856 w 5487431"/>
              <a:gd name="connsiteY186" fmla="*/ 220794 h 505330"/>
              <a:gd name="connsiteX187" fmla="*/ 2814502 w 5487431"/>
              <a:gd name="connsiteY187" fmla="*/ 207706 h 505330"/>
              <a:gd name="connsiteX188" fmla="*/ 2905838 w 5487431"/>
              <a:gd name="connsiteY188" fmla="*/ 296118 h 505330"/>
              <a:gd name="connsiteX189" fmla="*/ 2883575 w 5487431"/>
              <a:gd name="connsiteY189" fmla="*/ 369936 h 505330"/>
              <a:gd name="connsiteX190" fmla="*/ 2728017 w 5487431"/>
              <a:gd name="connsiteY190" fmla="*/ 200833 h 505330"/>
              <a:gd name="connsiteX191" fmla="*/ 2698047 w 5487431"/>
              <a:gd name="connsiteY191" fmla="*/ 167690 h 505330"/>
              <a:gd name="connsiteX192" fmla="*/ 2663891 w 5487431"/>
              <a:gd name="connsiteY192" fmla="*/ 99334 h 505330"/>
              <a:gd name="connsiteX193" fmla="*/ 2730110 w 5487431"/>
              <a:gd name="connsiteY193" fmla="*/ 36532 h 505330"/>
              <a:gd name="connsiteX194" fmla="*/ 2795664 w 5487431"/>
              <a:gd name="connsiteY194" fmla="*/ 102817 h 505330"/>
              <a:gd name="connsiteX195" fmla="*/ 2728017 w 5487431"/>
              <a:gd name="connsiteY195" fmla="*/ 200833 h 505330"/>
              <a:gd name="connsiteX196" fmla="*/ 2732204 w 5487431"/>
              <a:gd name="connsiteY196" fmla="*/ 0 h 505330"/>
              <a:gd name="connsiteX197" fmla="*/ 2588539 w 5487431"/>
              <a:gd name="connsiteY197" fmla="*/ 119389 h 505330"/>
              <a:gd name="connsiteX198" fmla="*/ 2644387 w 5487431"/>
              <a:gd name="connsiteY198" fmla="*/ 234635 h 505330"/>
              <a:gd name="connsiteX199" fmla="*/ 2645053 w 5487431"/>
              <a:gd name="connsiteY199" fmla="*/ 236047 h 505330"/>
              <a:gd name="connsiteX200" fmla="*/ 2545344 w 5487431"/>
              <a:gd name="connsiteY200" fmla="*/ 374832 h 505330"/>
              <a:gd name="connsiteX201" fmla="*/ 2685584 w 5487431"/>
              <a:gd name="connsiteY201" fmla="*/ 505331 h 505330"/>
              <a:gd name="connsiteX202" fmla="*/ 2843235 w 5487431"/>
              <a:gd name="connsiteY202" fmla="*/ 449403 h 505330"/>
              <a:gd name="connsiteX203" fmla="*/ 2885097 w 5487431"/>
              <a:gd name="connsiteY203" fmla="*/ 494315 h 505330"/>
              <a:gd name="connsiteX204" fmla="*/ 2994606 w 5487431"/>
              <a:gd name="connsiteY204" fmla="*/ 494315 h 505330"/>
              <a:gd name="connsiteX205" fmla="*/ 2994606 w 5487431"/>
              <a:gd name="connsiteY205" fmla="*/ 490831 h 505330"/>
              <a:gd name="connsiteX206" fmla="*/ 2905363 w 5487431"/>
              <a:gd name="connsiteY206" fmla="*/ 393474 h 505330"/>
              <a:gd name="connsiteX207" fmla="*/ 2964637 w 5487431"/>
              <a:gd name="connsiteY207" fmla="*/ 258833 h 505330"/>
              <a:gd name="connsiteX208" fmla="*/ 2873300 w 5487431"/>
              <a:gd name="connsiteY208" fmla="*/ 171174 h 505330"/>
              <a:gd name="connsiteX209" fmla="*/ 2789574 w 5487431"/>
              <a:gd name="connsiteY209" fmla="*/ 187745 h 505330"/>
              <a:gd name="connsiteX210" fmla="*/ 2788147 w 5487431"/>
              <a:gd name="connsiteY210" fmla="*/ 185015 h 505330"/>
              <a:gd name="connsiteX211" fmla="*/ 2863500 w 5487431"/>
              <a:gd name="connsiteY211" fmla="*/ 93873 h 505330"/>
              <a:gd name="connsiteX212" fmla="*/ 2732204 w 5487431"/>
              <a:gd name="connsiteY212" fmla="*/ 0 h 50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5487431" h="505330">
                <a:moveTo>
                  <a:pt x="542692" y="463149"/>
                </a:moveTo>
                <a:cubicBezTo>
                  <a:pt x="488937" y="463149"/>
                  <a:pt x="458967" y="412776"/>
                  <a:pt x="458967" y="321634"/>
                </a:cubicBezTo>
                <a:cubicBezTo>
                  <a:pt x="458967" y="229080"/>
                  <a:pt x="488937" y="180119"/>
                  <a:pt x="542692" y="180119"/>
                </a:cubicBezTo>
                <a:cubicBezTo>
                  <a:pt x="596448" y="180119"/>
                  <a:pt x="626417" y="229833"/>
                  <a:pt x="626417" y="321634"/>
                </a:cubicBezTo>
                <a:cubicBezTo>
                  <a:pt x="626322" y="414189"/>
                  <a:pt x="596352" y="463149"/>
                  <a:pt x="542692" y="463149"/>
                </a:cubicBezTo>
                <a:moveTo>
                  <a:pt x="542692" y="142174"/>
                </a:moveTo>
                <a:cubicBezTo>
                  <a:pt x="433183" y="142174"/>
                  <a:pt x="372482" y="222959"/>
                  <a:pt x="372482" y="321634"/>
                </a:cubicBezTo>
                <a:cubicBezTo>
                  <a:pt x="372482" y="420309"/>
                  <a:pt x="433183" y="501094"/>
                  <a:pt x="542692" y="501094"/>
                </a:cubicBezTo>
                <a:cubicBezTo>
                  <a:pt x="652201" y="501094"/>
                  <a:pt x="712902" y="420309"/>
                  <a:pt x="712902" y="321634"/>
                </a:cubicBezTo>
                <a:cubicBezTo>
                  <a:pt x="712902" y="222959"/>
                  <a:pt x="652201" y="142174"/>
                  <a:pt x="542692" y="142174"/>
                </a:cubicBezTo>
                <a:moveTo>
                  <a:pt x="1303641" y="142174"/>
                </a:moveTo>
                <a:cubicBezTo>
                  <a:pt x="1251979" y="142174"/>
                  <a:pt x="1223436" y="164301"/>
                  <a:pt x="1207357" y="192547"/>
                </a:cubicBezTo>
                <a:lnTo>
                  <a:pt x="1203170" y="192547"/>
                </a:lnTo>
                <a:lnTo>
                  <a:pt x="1203170" y="149048"/>
                </a:lnTo>
                <a:lnTo>
                  <a:pt x="1120872" y="149048"/>
                </a:lnTo>
                <a:lnTo>
                  <a:pt x="1120872" y="494221"/>
                </a:lnTo>
                <a:lnTo>
                  <a:pt x="1203170" y="494221"/>
                </a:lnTo>
                <a:lnTo>
                  <a:pt x="1203170" y="271261"/>
                </a:lnTo>
                <a:cubicBezTo>
                  <a:pt x="1203170" y="220229"/>
                  <a:pt x="1229715" y="190476"/>
                  <a:pt x="1272244" y="190476"/>
                </a:cubicBezTo>
                <a:cubicBezTo>
                  <a:pt x="1313440" y="190476"/>
                  <a:pt x="1331518" y="217404"/>
                  <a:pt x="1331518" y="258173"/>
                </a:cubicBezTo>
                <a:lnTo>
                  <a:pt x="1331518" y="494221"/>
                </a:lnTo>
                <a:lnTo>
                  <a:pt x="1413816" y="494221"/>
                </a:lnTo>
                <a:lnTo>
                  <a:pt x="1413816" y="257420"/>
                </a:lnTo>
                <a:cubicBezTo>
                  <a:pt x="1413911" y="186333"/>
                  <a:pt x="1376234" y="142174"/>
                  <a:pt x="1303641" y="142174"/>
                </a:cubicBezTo>
                <a:moveTo>
                  <a:pt x="1600771" y="142174"/>
                </a:moveTo>
                <a:cubicBezTo>
                  <a:pt x="1524752" y="142174"/>
                  <a:pt x="1467571" y="173905"/>
                  <a:pt x="1467571" y="241602"/>
                </a:cubicBezTo>
                <a:cubicBezTo>
                  <a:pt x="1467571" y="298943"/>
                  <a:pt x="1507341" y="330014"/>
                  <a:pt x="1551962" y="341030"/>
                </a:cubicBezTo>
                <a:lnTo>
                  <a:pt x="1621702" y="358260"/>
                </a:lnTo>
                <a:cubicBezTo>
                  <a:pt x="1658712" y="367205"/>
                  <a:pt x="1675457" y="380387"/>
                  <a:pt x="1675457" y="409387"/>
                </a:cubicBezTo>
                <a:cubicBezTo>
                  <a:pt x="1675457" y="444601"/>
                  <a:pt x="1650340" y="464656"/>
                  <a:pt x="1606384" y="464656"/>
                </a:cubicBezTo>
                <a:cubicBezTo>
                  <a:pt x="1558908" y="464656"/>
                  <a:pt x="1534551" y="441870"/>
                  <a:pt x="1526845" y="384624"/>
                </a:cubicBezTo>
                <a:lnTo>
                  <a:pt x="1452919" y="405338"/>
                </a:lnTo>
                <a:cubicBezTo>
                  <a:pt x="1457106" y="464750"/>
                  <a:pt x="1512954" y="501282"/>
                  <a:pt x="1597345" y="501282"/>
                </a:cubicBezTo>
                <a:cubicBezTo>
                  <a:pt x="1691536" y="501282"/>
                  <a:pt x="1742438" y="457782"/>
                  <a:pt x="1742438" y="388767"/>
                </a:cubicBezTo>
                <a:cubicBezTo>
                  <a:pt x="1742438" y="323894"/>
                  <a:pt x="1697055" y="296965"/>
                  <a:pt x="1649674" y="285196"/>
                </a:cubicBezTo>
                <a:lnTo>
                  <a:pt x="1582693" y="268625"/>
                </a:lnTo>
                <a:cubicBezTo>
                  <a:pt x="1549203" y="260339"/>
                  <a:pt x="1534551" y="245180"/>
                  <a:pt x="1534551" y="223054"/>
                </a:cubicBezTo>
                <a:cubicBezTo>
                  <a:pt x="1534551" y="195466"/>
                  <a:pt x="1558242" y="178895"/>
                  <a:pt x="1593825" y="178895"/>
                </a:cubicBezTo>
                <a:cubicBezTo>
                  <a:pt x="1635688" y="178895"/>
                  <a:pt x="1661471" y="201680"/>
                  <a:pt x="1664992" y="245180"/>
                </a:cubicBezTo>
                <a:lnTo>
                  <a:pt x="1734731" y="224466"/>
                </a:lnTo>
                <a:cubicBezTo>
                  <a:pt x="1726358" y="175976"/>
                  <a:pt x="1678216" y="142174"/>
                  <a:pt x="1600771" y="142174"/>
                </a:cubicBezTo>
                <a:moveTo>
                  <a:pt x="1946803" y="463149"/>
                </a:moveTo>
                <a:cubicBezTo>
                  <a:pt x="1893048" y="463149"/>
                  <a:pt x="1863078" y="412776"/>
                  <a:pt x="1863078" y="321634"/>
                </a:cubicBezTo>
                <a:cubicBezTo>
                  <a:pt x="1863078" y="229080"/>
                  <a:pt x="1893048" y="180119"/>
                  <a:pt x="1946803" y="180119"/>
                </a:cubicBezTo>
                <a:cubicBezTo>
                  <a:pt x="2000559" y="180119"/>
                  <a:pt x="2030529" y="229833"/>
                  <a:pt x="2030529" y="321634"/>
                </a:cubicBezTo>
                <a:cubicBezTo>
                  <a:pt x="2030529" y="414189"/>
                  <a:pt x="2000464" y="463149"/>
                  <a:pt x="1946803" y="463149"/>
                </a:cubicBezTo>
                <a:moveTo>
                  <a:pt x="1946803" y="142174"/>
                </a:moveTo>
                <a:cubicBezTo>
                  <a:pt x="1837294" y="142174"/>
                  <a:pt x="1776594" y="222959"/>
                  <a:pt x="1776594" y="321634"/>
                </a:cubicBezTo>
                <a:cubicBezTo>
                  <a:pt x="1776594" y="420309"/>
                  <a:pt x="1837294" y="501094"/>
                  <a:pt x="1946803" y="501094"/>
                </a:cubicBezTo>
                <a:cubicBezTo>
                  <a:pt x="2056312" y="501094"/>
                  <a:pt x="2117013" y="420309"/>
                  <a:pt x="2117013" y="321634"/>
                </a:cubicBezTo>
                <a:cubicBezTo>
                  <a:pt x="2117013" y="222959"/>
                  <a:pt x="2056312" y="142174"/>
                  <a:pt x="1946803" y="142174"/>
                </a:cubicBezTo>
                <a:moveTo>
                  <a:pt x="2348590" y="142174"/>
                </a:moveTo>
                <a:cubicBezTo>
                  <a:pt x="2296927" y="142174"/>
                  <a:pt x="2268385" y="164301"/>
                  <a:pt x="2252306" y="192547"/>
                </a:cubicBezTo>
                <a:lnTo>
                  <a:pt x="2248119" y="192547"/>
                </a:lnTo>
                <a:lnTo>
                  <a:pt x="2248119" y="149048"/>
                </a:lnTo>
                <a:lnTo>
                  <a:pt x="2165821" y="149048"/>
                </a:lnTo>
                <a:lnTo>
                  <a:pt x="2165821" y="494221"/>
                </a:lnTo>
                <a:lnTo>
                  <a:pt x="2248119" y="494221"/>
                </a:lnTo>
                <a:lnTo>
                  <a:pt x="2248119" y="271261"/>
                </a:lnTo>
                <a:cubicBezTo>
                  <a:pt x="2248119" y="220229"/>
                  <a:pt x="2274664" y="190476"/>
                  <a:pt x="2317193" y="190476"/>
                </a:cubicBezTo>
                <a:cubicBezTo>
                  <a:pt x="2358389" y="190476"/>
                  <a:pt x="2376466" y="217404"/>
                  <a:pt x="2376466" y="258173"/>
                </a:cubicBezTo>
                <a:lnTo>
                  <a:pt x="2376466" y="494221"/>
                </a:lnTo>
                <a:lnTo>
                  <a:pt x="2458764" y="494221"/>
                </a:lnTo>
                <a:lnTo>
                  <a:pt x="2458764" y="257420"/>
                </a:lnTo>
                <a:cubicBezTo>
                  <a:pt x="2458764" y="186333"/>
                  <a:pt x="2421088" y="142174"/>
                  <a:pt x="2348590" y="142174"/>
                </a:cubicBezTo>
                <a:moveTo>
                  <a:pt x="3571359" y="463149"/>
                </a:moveTo>
                <a:cubicBezTo>
                  <a:pt x="3517604" y="463149"/>
                  <a:pt x="3487634" y="412776"/>
                  <a:pt x="3487634" y="321634"/>
                </a:cubicBezTo>
                <a:cubicBezTo>
                  <a:pt x="3487634" y="229080"/>
                  <a:pt x="3517604" y="180119"/>
                  <a:pt x="3571359" y="180119"/>
                </a:cubicBezTo>
                <a:cubicBezTo>
                  <a:pt x="3625115" y="180119"/>
                  <a:pt x="3655085" y="229833"/>
                  <a:pt x="3655085" y="321634"/>
                </a:cubicBezTo>
                <a:cubicBezTo>
                  <a:pt x="3655085" y="414189"/>
                  <a:pt x="3625020" y="463149"/>
                  <a:pt x="3571359" y="463149"/>
                </a:cubicBezTo>
                <a:moveTo>
                  <a:pt x="3571359" y="142174"/>
                </a:moveTo>
                <a:cubicBezTo>
                  <a:pt x="3461850" y="142174"/>
                  <a:pt x="3401150" y="222959"/>
                  <a:pt x="3401150" y="321634"/>
                </a:cubicBezTo>
                <a:cubicBezTo>
                  <a:pt x="3401150" y="420309"/>
                  <a:pt x="3461850" y="501094"/>
                  <a:pt x="3571359" y="501094"/>
                </a:cubicBezTo>
                <a:cubicBezTo>
                  <a:pt x="3680868" y="501094"/>
                  <a:pt x="3741569" y="420309"/>
                  <a:pt x="3741569" y="321634"/>
                </a:cubicBezTo>
                <a:cubicBezTo>
                  <a:pt x="3741569" y="222959"/>
                  <a:pt x="3680868" y="142174"/>
                  <a:pt x="3571359" y="142174"/>
                </a:cubicBezTo>
                <a:moveTo>
                  <a:pt x="4332308" y="142174"/>
                </a:moveTo>
                <a:cubicBezTo>
                  <a:pt x="4280646" y="142174"/>
                  <a:pt x="4252103" y="164301"/>
                  <a:pt x="4236024" y="192547"/>
                </a:cubicBezTo>
                <a:lnTo>
                  <a:pt x="4231838" y="192547"/>
                </a:lnTo>
                <a:lnTo>
                  <a:pt x="4231838" y="149048"/>
                </a:lnTo>
                <a:lnTo>
                  <a:pt x="4149539" y="149048"/>
                </a:lnTo>
                <a:lnTo>
                  <a:pt x="4149539" y="494221"/>
                </a:lnTo>
                <a:lnTo>
                  <a:pt x="4231838" y="494221"/>
                </a:lnTo>
                <a:lnTo>
                  <a:pt x="4231838" y="271261"/>
                </a:lnTo>
                <a:cubicBezTo>
                  <a:pt x="4231838" y="220229"/>
                  <a:pt x="4258383" y="190476"/>
                  <a:pt x="4300911" y="190476"/>
                </a:cubicBezTo>
                <a:cubicBezTo>
                  <a:pt x="4342108" y="190476"/>
                  <a:pt x="4360185" y="217404"/>
                  <a:pt x="4360185" y="258173"/>
                </a:cubicBezTo>
                <a:lnTo>
                  <a:pt x="4360185" y="494221"/>
                </a:lnTo>
                <a:lnTo>
                  <a:pt x="4442483" y="494221"/>
                </a:lnTo>
                <a:lnTo>
                  <a:pt x="4442483" y="257420"/>
                </a:lnTo>
                <a:cubicBezTo>
                  <a:pt x="4442578" y="186333"/>
                  <a:pt x="4404902" y="142174"/>
                  <a:pt x="4332308" y="142174"/>
                </a:cubicBezTo>
                <a:moveTo>
                  <a:pt x="4629533" y="142174"/>
                </a:moveTo>
                <a:cubicBezTo>
                  <a:pt x="4553514" y="142174"/>
                  <a:pt x="4496334" y="173905"/>
                  <a:pt x="4496334" y="241602"/>
                </a:cubicBezTo>
                <a:cubicBezTo>
                  <a:pt x="4496334" y="298943"/>
                  <a:pt x="4536103" y="330014"/>
                  <a:pt x="4580725" y="341030"/>
                </a:cubicBezTo>
                <a:lnTo>
                  <a:pt x="4650464" y="358260"/>
                </a:lnTo>
                <a:cubicBezTo>
                  <a:pt x="4687475" y="367205"/>
                  <a:pt x="4704220" y="380387"/>
                  <a:pt x="4704220" y="409387"/>
                </a:cubicBezTo>
                <a:cubicBezTo>
                  <a:pt x="4704220" y="444601"/>
                  <a:pt x="4679102" y="464656"/>
                  <a:pt x="4635146" y="464656"/>
                </a:cubicBezTo>
                <a:cubicBezTo>
                  <a:pt x="4587670" y="464656"/>
                  <a:pt x="4563314" y="441870"/>
                  <a:pt x="4555607" y="384624"/>
                </a:cubicBezTo>
                <a:lnTo>
                  <a:pt x="4481682" y="405338"/>
                </a:lnTo>
                <a:cubicBezTo>
                  <a:pt x="4485868" y="464750"/>
                  <a:pt x="4541716" y="501282"/>
                  <a:pt x="4626108" y="501282"/>
                </a:cubicBezTo>
                <a:cubicBezTo>
                  <a:pt x="4720299" y="501282"/>
                  <a:pt x="4771200" y="457782"/>
                  <a:pt x="4771200" y="388767"/>
                </a:cubicBezTo>
                <a:cubicBezTo>
                  <a:pt x="4771200" y="323894"/>
                  <a:pt x="4725817" y="296965"/>
                  <a:pt x="4678436" y="285196"/>
                </a:cubicBezTo>
                <a:lnTo>
                  <a:pt x="4611456" y="268625"/>
                </a:lnTo>
                <a:cubicBezTo>
                  <a:pt x="4577966" y="260339"/>
                  <a:pt x="4563314" y="245180"/>
                  <a:pt x="4563314" y="223054"/>
                </a:cubicBezTo>
                <a:cubicBezTo>
                  <a:pt x="4563314" y="195466"/>
                  <a:pt x="4587004" y="178895"/>
                  <a:pt x="4622588" y="178895"/>
                </a:cubicBezTo>
                <a:cubicBezTo>
                  <a:pt x="4664450" y="178895"/>
                  <a:pt x="4690234" y="201680"/>
                  <a:pt x="4693754" y="245180"/>
                </a:cubicBezTo>
                <a:lnTo>
                  <a:pt x="4763493" y="224466"/>
                </a:lnTo>
                <a:cubicBezTo>
                  <a:pt x="4755026" y="175976"/>
                  <a:pt x="4706884" y="142174"/>
                  <a:pt x="4629533" y="142174"/>
                </a:cubicBezTo>
                <a:moveTo>
                  <a:pt x="4975471" y="463149"/>
                </a:moveTo>
                <a:cubicBezTo>
                  <a:pt x="4921715" y="463149"/>
                  <a:pt x="4891745" y="412776"/>
                  <a:pt x="4891745" y="321634"/>
                </a:cubicBezTo>
                <a:cubicBezTo>
                  <a:pt x="4891745" y="229080"/>
                  <a:pt x="4921715" y="180119"/>
                  <a:pt x="4975471" y="180119"/>
                </a:cubicBezTo>
                <a:cubicBezTo>
                  <a:pt x="5029226" y="180119"/>
                  <a:pt x="5059196" y="229833"/>
                  <a:pt x="5059196" y="321634"/>
                </a:cubicBezTo>
                <a:cubicBezTo>
                  <a:pt x="5059196" y="414189"/>
                  <a:pt x="5029131" y="463149"/>
                  <a:pt x="4975471" y="463149"/>
                </a:cubicBezTo>
                <a:moveTo>
                  <a:pt x="4975471" y="142174"/>
                </a:moveTo>
                <a:cubicBezTo>
                  <a:pt x="4865962" y="142174"/>
                  <a:pt x="4805261" y="222959"/>
                  <a:pt x="4805261" y="321634"/>
                </a:cubicBezTo>
                <a:cubicBezTo>
                  <a:pt x="4805261" y="420309"/>
                  <a:pt x="4865962" y="501094"/>
                  <a:pt x="4975471" y="501094"/>
                </a:cubicBezTo>
                <a:cubicBezTo>
                  <a:pt x="5084980" y="501094"/>
                  <a:pt x="5145680" y="420309"/>
                  <a:pt x="5145680" y="321634"/>
                </a:cubicBezTo>
                <a:cubicBezTo>
                  <a:pt x="5145680" y="222959"/>
                  <a:pt x="5084980" y="142174"/>
                  <a:pt x="4975471" y="142174"/>
                </a:cubicBezTo>
                <a:moveTo>
                  <a:pt x="5377257" y="142174"/>
                </a:moveTo>
                <a:cubicBezTo>
                  <a:pt x="5325595" y="142174"/>
                  <a:pt x="5297052" y="164301"/>
                  <a:pt x="5280973" y="192547"/>
                </a:cubicBezTo>
                <a:lnTo>
                  <a:pt x="5276787" y="192547"/>
                </a:lnTo>
                <a:lnTo>
                  <a:pt x="5276787" y="149048"/>
                </a:lnTo>
                <a:lnTo>
                  <a:pt x="5194488" y="149048"/>
                </a:lnTo>
                <a:lnTo>
                  <a:pt x="5194488" y="494221"/>
                </a:lnTo>
                <a:lnTo>
                  <a:pt x="5276787" y="494221"/>
                </a:lnTo>
                <a:lnTo>
                  <a:pt x="5276787" y="271261"/>
                </a:lnTo>
                <a:cubicBezTo>
                  <a:pt x="5276787" y="220229"/>
                  <a:pt x="5303331" y="190476"/>
                  <a:pt x="5345860" y="190476"/>
                </a:cubicBezTo>
                <a:cubicBezTo>
                  <a:pt x="5387057" y="190476"/>
                  <a:pt x="5405134" y="217404"/>
                  <a:pt x="5405134" y="258173"/>
                </a:cubicBezTo>
                <a:lnTo>
                  <a:pt x="5405134" y="494221"/>
                </a:lnTo>
                <a:lnTo>
                  <a:pt x="5487432" y="494221"/>
                </a:lnTo>
                <a:lnTo>
                  <a:pt x="5487432" y="257420"/>
                </a:lnTo>
                <a:cubicBezTo>
                  <a:pt x="5487432" y="186333"/>
                  <a:pt x="5449755" y="142174"/>
                  <a:pt x="5377257" y="142174"/>
                </a:cubicBezTo>
                <a:moveTo>
                  <a:pt x="323674" y="11016"/>
                </a:moveTo>
                <a:lnTo>
                  <a:pt x="237190" y="11016"/>
                </a:lnTo>
                <a:lnTo>
                  <a:pt x="237190" y="367864"/>
                </a:lnTo>
                <a:cubicBezTo>
                  <a:pt x="237190" y="425864"/>
                  <a:pt x="214831" y="460325"/>
                  <a:pt x="161837" y="460325"/>
                </a:cubicBezTo>
                <a:cubicBezTo>
                  <a:pt x="109509" y="460325"/>
                  <a:pt x="86484" y="423698"/>
                  <a:pt x="86484" y="360897"/>
                </a:cubicBezTo>
                <a:lnTo>
                  <a:pt x="86484" y="294612"/>
                </a:lnTo>
                <a:lnTo>
                  <a:pt x="0" y="315985"/>
                </a:lnTo>
                <a:lnTo>
                  <a:pt x="0" y="345644"/>
                </a:lnTo>
                <a:cubicBezTo>
                  <a:pt x="0" y="436033"/>
                  <a:pt x="45383" y="505143"/>
                  <a:pt x="161837" y="505143"/>
                </a:cubicBezTo>
                <a:cubicBezTo>
                  <a:pt x="278291" y="505143"/>
                  <a:pt x="323674" y="436127"/>
                  <a:pt x="323674" y="345644"/>
                </a:cubicBezTo>
                <a:lnTo>
                  <a:pt x="323674" y="11016"/>
                </a:lnTo>
                <a:moveTo>
                  <a:pt x="844008" y="11016"/>
                </a:moveTo>
                <a:lnTo>
                  <a:pt x="761710" y="11016"/>
                </a:lnTo>
                <a:lnTo>
                  <a:pt x="761710" y="494221"/>
                </a:lnTo>
                <a:lnTo>
                  <a:pt x="844008" y="494221"/>
                </a:lnTo>
                <a:lnTo>
                  <a:pt x="844008" y="271261"/>
                </a:lnTo>
                <a:cubicBezTo>
                  <a:pt x="844008" y="220229"/>
                  <a:pt x="870553" y="190476"/>
                  <a:pt x="913081" y="190476"/>
                </a:cubicBezTo>
                <a:cubicBezTo>
                  <a:pt x="954278" y="190476"/>
                  <a:pt x="972355" y="217404"/>
                  <a:pt x="972355" y="258173"/>
                </a:cubicBezTo>
                <a:lnTo>
                  <a:pt x="972355" y="494221"/>
                </a:lnTo>
                <a:lnTo>
                  <a:pt x="1054653" y="494221"/>
                </a:lnTo>
                <a:lnTo>
                  <a:pt x="1054653" y="257420"/>
                </a:lnTo>
                <a:cubicBezTo>
                  <a:pt x="1054653" y="186333"/>
                  <a:pt x="1016977" y="142174"/>
                  <a:pt x="944478" y="142174"/>
                </a:cubicBezTo>
                <a:cubicBezTo>
                  <a:pt x="892816" y="142174"/>
                  <a:pt x="864273" y="164301"/>
                  <a:pt x="848194" y="192547"/>
                </a:cubicBezTo>
                <a:lnTo>
                  <a:pt x="844008" y="192547"/>
                </a:lnTo>
                <a:lnTo>
                  <a:pt x="844008" y="11016"/>
                </a:lnTo>
                <a:moveTo>
                  <a:pt x="3352342" y="11016"/>
                </a:moveTo>
                <a:lnTo>
                  <a:pt x="3265857" y="11016"/>
                </a:lnTo>
                <a:lnTo>
                  <a:pt x="3265857" y="367864"/>
                </a:lnTo>
                <a:cubicBezTo>
                  <a:pt x="3265857" y="425864"/>
                  <a:pt x="3243499" y="460325"/>
                  <a:pt x="3190504" y="460325"/>
                </a:cubicBezTo>
                <a:cubicBezTo>
                  <a:pt x="3138176" y="460325"/>
                  <a:pt x="3115152" y="423698"/>
                  <a:pt x="3115152" y="360897"/>
                </a:cubicBezTo>
                <a:lnTo>
                  <a:pt x="3115152" y="294612"/>
                </a:lnTo>
                <a:lnTo>
                  <a:pt x="3028667" y="315985"/>
                </a:lnTo>
                <a:lnTo>
                  <a:pt x="3028667" y="345644"/>
                </a:lnTo>
                <a:cubicBezTo>
                  <a:pt x="3028667" y="436033"/>
                  <a:pt x="3074050" y="505143"/>
                  <a:pt x="3190504" y="505143"/>
                </a:cubicBezTo>
                <a:cubicBezTo>
                  <a:pt x="3306959" y="505143"/>
                  <a:pt x="3352342" y="436127"/>
                  <a:pt x="3352342" y="345644"/>
                </a:cubicBezTo>
                <a:lnTo>
                  <a:pt x="3352342" y="11016"/>
                </a:lnTo>
                <a:moveTo>
                  <a:pt x="3872675" y="11016"/>
                </a:moveTo>
                <a:lnTo>
                  <a:pt x="3790377" y="11016"/>
                </a:lnTo>
                <a:lnTo>
                  <a:pt x="3790377" y="494221"/>
                </a:lnTo>
                <a:lnTo>
                  <a:pt x="3872675" y="494221"/>
                </a:lnTo>
                <a:lnTo>
                  <a:pt x="3872675" y="271261"/>
                </a:lnTo>
                <a:cubicBezTo>
                  <a:pt x="3872675" y="220229"/>
                  <a:pt x="3899220" y="190476"/>
                  <a:pt x="3941749" y="190476"/>
                </a:cubicBezTo>
                <a:cubicBezTo>
                  <a:pt x="3982945" y="190476"/>
                  <a:pt x="4001022" y="217404"/>
                  <a:pt x="4001022" y="258173"/>
                </a:cubicBezTo>
                <a:lnTo>
                  <a:pt x="4001022" y="494221"/>
                </a:lnTo>
                <a:lnTo>
                  <a:pt x="4083320" y="494221"/>
                </a:lnTo>
                <a:lnTo>
                  <a:pt x="4083320" y="257420"/>
                </a:lnTo>
                <a:cubicBezTo>
                  <a:pt x="4083320" y="186333"/>
                  <a:pt x="4045644" y="142174"/>
                  <a:pt x="3973146" y="142174"/>
                </a:cubicBezTo>
                <a:cubicBezTo>
                  <a:pt x="3921483" y="142174"/>
                  <a:pt x="3892941" y="164301"/>
                  <a:pt x="3876861" y="192547"/>
                </a:cubicBezTo>
                <a:lnTo>
                  <a:pt x="3872675" y="192547"/>
                </a:lnTo>
                <a:lnTo>
                  <a:pt x="3872675" y="11016"/>
                </a:lnTo>
                <a:moveTo>
                  <a:pt x="2730110" y="454864"/>
                </a:moveTo>
                <a:cubicBezTo>
                  <a:pt x="2663130" y="454864"/>
                  <a:pt x="2622029" y="401007"/>
                  <a:pt x="2622029" y="343761"/>
                </a:cubicBezTo>
                <a:cubicBezTo>
                  <a:pt x="2622029" y="307887"/>
                  <a:pt x="2638108" y="274745"/>
                  <a:pt x="2664557" y="256102"/>
                </a:cubicBezTo>
                <a:lnTo>
                  <a:pt x="2822208" y="426617"/>
                </a:lnTo>
                <a:cubicBezTo>
                  <a:pt x="2792904" y="443848"/>
                  <a:pt x="2760080" y="454864"/>
                  <a:pt x="2730110" y="454864"/>
                </a:cubicBezTo>
                <a:moveTo>
                  <a:pt x="2883575" y="369936"/>
                </a:moveTo>
                <a:lnTo>
                  <a:pt x="2746856" y="220794"/>
                </a:lnTo>
                <a:cubicBezTo>
                  <a:pt x="2771307" y="211096"/>
                  <a:pt x="2794998" y="207706"/>
                  <a:pt x="2814502" y="207706"/>
                </a:cubicBezTo>
                <a:cubicBezTo>
                  <a:pt x="2871016" y="207706"/>
                  <a:pt x="2905838" y="240190"/>
                  <a:pt x="2905838" y="296118"/>
                </a:cubicBezTo>
                <a:cubicBezTo>
                  <a:pt x="2905934" y="320975"/>
                  <a:pt x="2898893" y="346491"/>
                  <a:pt x="2883575" y="369936"/>
                </a:cubicBezTo>
                <a:moveTo>
                  <a:pt x="2728017" y="200833"/>
                </a:moveTo>
                <a:lnTo>
                  <a:pt x="2698047" y="167690"/>
                </a:lnTo>
                <a:cubicBezTo>
                  <a:pt x="2671503" y="138691"/>
                  <a:pt x="2663891" y="120707"/>
                  <a:pt x="2663891" y="99334"/>
                </a:cubicBezTo>
                <a:cubicBezTo>
                  <a:pt x="2663891" y="59318"/>
                  <a:pt x="2689675" y="36532"/>
                  <a:pt x="2730110" y="36532"/>
                </a:cubicBezTo>
                <a:cubicBezTo>
                  <a:pt x="2771307" y="36532"/>
                  <a:pt x="2795664" y="59977"/>
                  <a:pt x="2795664" y="102817"/>
                </a:cubicBezTo>
                <a:cubicBezTo>
                  <a:pt x="2795664" y="142174"/>
                  <a:pt x="2776159" y="179460"/>
                  <a:pt x="2728017" y="200833"/>
                </a:cubicBezTo>
                <a:moveTo>
                  <a:pt x="2732204" y="0"/>
                </a:moveTo>
                <a:cubicBezTo>
                  <a:pt x="2635920" y="0"/>
                  <a:pt x="2588539" y="53198"/>
                  <a:pt x="2588539" y="119389"/>
                </a:cubicBezTo>
                <a:cubicBezTo>
                  <a:pt x="2588539" y="155262"/>
                  <a:pt x="2603857" y="191229"/>
                  <a:pt x="2644387" y="234635"/>
                </a:cubicBezTo>
                <a:lnTo>
                  <a:pt x="2645053" y="236047"/>
                </a:lnTo>
                <a:cubicBezTo>
                  <a:pt x="2576741" y="268531"/>
                  <a:pt x="2545344" y="320975"/>
                  <a:pt x="2545344" y="374832"/>
                </a:cubicBezTo>
                <a:cubicBezTo>
                  <a:pt x="2545344" y="445919"/>
                  <a:pt x="2600432" y="505331"/>
                  <a:pt x="2685584" y="505331"/>
                </a:cubicBezTo>
                <a:cubicBezTo>
                  <a:pt x="2734392" y="505331"/>
                  <a:pt x="2791573" y="485276"/>
                  <a:pt x="2843235" y="449403"/>
                </a:cubicBezTo>
                <a:lnTo>
                  <a:pt x="2885097" y="494315"/>
                </a:lnTo>
                <a:lnTo>
                  <a:pt x="2994606" y="494315"/>
                </a:lnTo>
                <a:lnTo>
                  <a:pt x="2994606" y="490831"/>
                </a:lnTo>
                <a:lnTo>
                  <a:pt x="2905363" y="393474"/>
                </a:lnTo>
                <a:cubicBezTo>
                  <a:pt x="2943039" y="349316"/>
                  <a:pt x="2964637" y="301014"/>
                  <a:pt x="2964637" y="258833"/>
                </a:cubicBezTo>
                <a:cubicBezTo>
                  <a:pt x="2964637" y="206388"/>
                  <a:pt x="2929053" y="171174"/>
                  <a:pt x="2873300" y="171174"/>
                </a:cubicBezTo>
                <a:cubicBezTo>
                  <a:pt x="2843996" y="171174"/>
                  <a:pt x="2811172" y="179460"/>
                  <a:pt x="2789574" y="187745"/>
                </a:cubicBezTo>
                <a:lnTo>
                  <a:pt x="2788147" y="185015"/>
                </a:lnTo>
                <a:cubicBezTo>
                  <a:pt x="2841142" y="156674"/>
                  <a:pt x="2863500" y="130499"/>
                  <a:pt x="2863500" y="93873"/>
                </a:cubicBezTo>
                <a:cubicBezTo>
                  <a:pt x="2863310" y="41428"/>
                  <a:pt x="2815929" y="0"/>
                  <a:pt x="2732204" y="0"/>
                </a:cubicBezTo>
              </a:path>
            </a:pathLst>
          </a:custGeom>
          <a:solidFill>
            <a:schemeClr val="bg1"/>
          </a:solidFill>
          <a:ln w="9509" cap="flat">
            <a:noFill/>
            <a:prstDash val="solid"/>
            <a:miter/>
          </a:ln>
        </p:spPr>
        <p:txBody>
          <a:bodyPr rtlCol="0" anchor="ctr"/>
          <a:lstStyle/>
          <a:p>
            <a:endParaRPr lang="en-GB"/>
          </a:p>
        </p:txBody>
      </p:sp>
    </p:spTree>
    <p:extLst>
      <p:ext uri="{BB962C8B-B14F-4D97-AF65-F5344CB8AC3E}">
        <p14:creationId xmlns:p14="http://schemas.microsoft.com/office/powerpoint/2010/main" val="395466599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Slide [Accessible Version]">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97A17AB-0114-CDE0-D80E-3AAA53BE4837}"/>
              </a:ext>
            </a:extLst>
          </p:cNvPr>
          <p:cNvSpPr>
            <a:spLocks noGrp="1"/>
          </p:cNvSpPr>
          <p:nvPr>
            <p:ph type="ctrTitle" hasCustomPrompt="1"/>
          </p:nvPr>
        </p:nvSpPr>
        <p:spPr>
          <a:xfrm>
            <a:off x="284805" y="261082"/>
            <a:ext cx="8676633" cy="3930563"/>
          </a:xfrm>
        </p:spPr>
        <p:txBody>
          <a:bodyPr anchor="t">
            <a:normAutofit/>
          </a:bodyPr>
          <a:lstStyle>
            <a:lvl1pPr algn="l">
              <a:lnSpc>
                <a:spcPct val="80000"/>
              </a:lnSpc>
              <a:defRPr sz="10500" b="0" i="0" spc="0" baseline="0">
                <a:solidFill>
                  <a:schemeClr val="accent1"/>
                </a:solidFill>
                <a:latin typeface="+mj-lt"/>
              </a:defRPr>
            </a:lvl1pPr>
          </a:lstStyle>
          <a:p>
            <a:r>
              <a:rPr lang="en-GB"/>
              <a:t>Longer titles will shrink automatically</a:t>
            </a:r>
          </a:p>
        </p:txBody>
      </p:sp>
      <p:sp>
        <p:nvSpPr>
          <p:cNvPr id="6" name="Subtitle 2">
            <a:extLst>
              <a:ext uri="{FF2B5EF4-FFF2-40B4-BE49-F238E27FC236}">
                <a16:creationId xmlns:a16="http://schemas.microsoft.com/office/drawing/2014/main" id="{CA32A6B3-A100-17C8-83CF-514F06C3D029}"/>
              </a:ext>
            </a:extLst>
          </p:cNvPr>
          <p:cNvSpPr>
            <a:spLocks noGrp="1"/>
          </p:cNvSpPr>
          <p:nvPr>
            <p:ph type="subTitle" idx="1" hasCustomPrompt="1"/>
          </p:nvPr>
        </p:nvSpPr>
        <p:spPr>
          <a:xfrm>
            <a:off x="284806" y="4889500"/>
            <a:ext cx="2795587" cy="865834"/>
          </a:xfrm>
        </p:spPr>
        <p:txBody>
          <a:bodyPr anchor="b"/>
          <a:lstStyle>
            <a:lvl1pPr marL="0" indent="0" algn="l">
              <a:lnSpc>
                <a:spcPct val="100000"/>
              </a:lnSpc>
              <a:spcBef>
                <a:spcPts val="0"/>
              </a:spcBef>
              <a:spcAft>
                <a:spcPts val="0"/>
              </a:spcAft>
              <a:buNone/>
              <a:defRPr sz="1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pporting details. Delete if not required.</a:t>
            </a:r>
          </a:p>
        </p:txBody>
      </p:sp>
      <p:sp>
        <p:nvSpPr>
          <p:cNvPr id="4" name="Graphic 2">
            <a:extLst>
              <a:ext uri="{FF2B5EF4-FFF2-40B4-BE49-F238E27FC236}">
                <a16:creationId xmlns:a16="http://schemas.microsoft.com/office/drawing/2014/main" id="{0C91DE01-8580-80A7-12D8-EA90EF5CA36F}"/>
              </a:ext>
            </a:extLst>
          </p:cNvPr>
          <p:cNvSpPr>
            <a:spLocks noChangeAspect="1"/>
          </p:cNvSpPr>
          <p:nvPr userDrawn="1"/>
        </p:nvSpPr>
        <p:spPr>
          <a:xfrm>
            <a:off x="290513" y="6377853"/>
            <a:ext cx="2034000" cy="187309"/>
          </a:xfrm>
          <a:custGeom>
            <a:avLst/>
            <a:gdLst>
              <a:gd name="connsiteX0" fmla="*/ 542692 w 5487431"/>
              <a:gd name="connsiteY0" fmla="*/ 463149 h 505330"/>
              <a:gd name="connsiteX1" fmla="*/ 458967 w 5487431"/>
              <a:gd name="connsiteY1" fmla="*/ 321634 h 505330"/>
              <a:gd name="connsiteX2" fmla="*/ 542692 w 5487431"/>
              <a:gd name="connsiteY2" fmla="*/ 180119 h 505330"/>
              <a:gd name="connsiteX3" fmla="*/ 626417 w 5487431"/>
              <a:gd name="connsiteY3" fmla="*/ 321634 h 505330"/>
              <a:gd name="connsiteX4" fmla="*/ 542692 w 5487431"/>
              <a:gd name="connsiteY4" fmla="*/ 463149 h 505330"/>
              <a:gd name="connsiteX5" fmla="*/ 542692 w 5487431"/>
              <a:gd name="connsiteY5" fmla="*/ 142174 h 505330"/>
              <a:gd name="connsiteX6" fmla="*/ 372482 w 5487431"/>
              <a:gd name="connsiteY6" fmla="*/ 321634 h 505330"/>
              <a:gd name="connsiteX7" fmla="*/ 542692 w 5487431"/>
              <a:gd name="connsiteY7" fmla="*/ 501094 h 505330"/>
              <a:gd name="connsiteX8" fmla="*/ 712902 w 5487431"/>
              <a:gd name="connsiteY8" fmla="*/ 321634 h 505330"/>
              <a:gd name="connsiteX9" fmla="*/ 542692 w 5487431"/>
              <a:gd name="connsiteY9" fmla="*/ 142174 h 505330"/>
              <a:gd name="connsiteX10" fmla="*/ 1303641 w 5487431"/>
              <a:gd name="connsiteY10" fmla="*/ 142174 h 505330"/>
              <a:gd name="connsiteX11" fmla="*/ 1207357 w 5487431"/>
              <a:gd name="connsiteY11" fmla="*/ 192547 h 505330"/>
              <a:gd name="connsiteX12" fmla="*/ 1203170 w 5487431"/>
              <a:gd name="connsiteY12" fmla="*/ 192547 h 505330"/>
              <a:gd name="connsiteX13" fmla="*/ 1203170 w 5487431"/>
              <a:gd name="connsiteY13" fmla="*/ 149048 h 505330"/>
              <a:gd name="connsiteX14" fmla="*/ 1120872 w 5487431"/>
              <a:gd name="connsiteY14" fmla="*/ 149048 h 505330"/>
              <a:gd name="connsiteX15" fmla="*/ 1120872 w 5487431"/>
              <a:gd name="connsiteY15" fmla="*/ 494221 h 505330"/>
              <a:gd name="connsiteX16" fmla="*/ 1203170 w 5487431"/>
              <a:gd name="connsiteY16" fmla="*/ 494221 h 505330"/>
              <a:gd name="connsiteX17" fmla="*/ 1203170 w 5487431"/>
              <a:gd name="connsiteY17" fmla="*/ 271261 h 505330"/>
              <a:gd name="connsiteX18" fmla="*/ 1272244 w 5487431"/>
              <a:gd name="connsiteY18" fmla="*/ 190476 h 505330"/>
              <a:gd name="connsiteX19" fmla="*/ 1331518 w 5487431"/>
              <a:gd name="connsiteY19" fmla="*/ 258173 h 505330"/>
              <a:gd name="connsiteX20" fmla="*/ 1331518 w 5487431"/>
              <a:gd name="connsiteY20" fmla="*/ 494221 h 505330"/>
              <a:gd name="connsiteX21" fmla="*/ 1413816 w 5487431"/>
              <a:gd name="connsiteY21" fmla="*/ 494221 h 505330"/>
              <a:gd name="connsiteX22" fmla="*/ 1413816 w 5487431"/>
              <a:gd name="connsiteY22" fmla="*/ 257420 h 505330"/>
              <a:gd name="connsiteX23" fmla="*/ 1303641 w 5487431"/>
              <a:gd name="connsiteY23" fmla="*/ 142174 h 505330"/>
              <a:gd name="connsiteX24" fmla="*/ 1600771 w 5487431"/>
              <a:gd name="connsiteY24" fmla="*/ 142174 h 505330"/>
              <a:gd name="connsiteX25" fmla="*/ 1467571 w 5487431"/>
              <a:gd name="connsiteY25" fmla="*/ 241602 h 505330"/>
              <a:gd name="connsiteX26" fmla="*/ 1551962 w 5487431"/>
              <a:gd name="connsiteY26" fmla="*/ 341030 h 505330"/>
              <a:gd name="connsiteX27" fmla="*/ 1621702 w 5487431"/>
              <a:gd name="connsiteY27" fmla="*/ 358260 h 505330"/>
              <a:gd name="connsiteX28" fmla="*/ 1675457 w 5487431"/>
              <a:gd name="connsiteY28" fmla="*/ 409387 h 505330"/>
              <a:gd name="connsiteX29" fmla="*/ 1606384 w 5487431"/>
              <a:gd name="connsiteY29" fmla="*/ 464656 h 505330"/>
              <a:gd name="connsiteX30" fmla="*/ 1526845 w 5487431"/>
              <a:gd name="connsiteY30" fmla="*/ 384624 h 505330"/>
              <a:gd name="connsiteX31" fmla="*/ 1452919 w 5487431"/>
              <a:gd name="connsiteY31" fmla="*/ 405338 h 505330"/>
              <a:gd name="connsiteX32" fmla="*/ 1597345 w 5487431"/>
              <a:gd name="connsiteY32" fmla="*/ 501282 h 505330"/>
              <a:gd name="connsiteX33" fmla="*/ 1742438 w 5487431"/>
              <a:gd name="connsiteY33" fmla="*/ 388767 h 505330"/>
              <a:gd name="connsiteX34" fmla="*/ 1649674 w 5487431"/>
              <a:gd name="connsiteY34" fmla="*/ 285196 h 505330"/>
              <a:gd name="connsiteX35" fmla="*/ 1582693 w 5487431"/>
              <a:gd name="connsiteY35" fmla="*/ 268625 h 505330"/>
              <a:gd name="connsiteX36" fmla="*/ 1534551 w 5487431"/>
              <a:gd name="connsiteY36" fmla="*/ 223054 h 505330"/>
              <a:gd name="connsiteX37" fmla="*/ 1593825 w 5487431"/>
              <a:gd name="connsiteY37" fmla="*/ 178895 h 505330"/>
              <a:gd name="connsiteX38" fmla="*/ 1664992 w 5487431"/>
              <a:gd name="connsiteY38" fmla="*/ 245180 h 505330"/>
              <a:gd name="connsiteX39" fmla="*/ 1734731 w 5487431"/>
              <a:gd name="connsiteY39" fmla="*/ 224466 h 505330"/>
              <a:gd name="connsiteX40" fmla="*/ 1600771 w 5487431"/>
              <a:gd name="connsiteY40" fmla="*/ 142174 h 505330"/>
              <a:gd name="connsiteX41" fmla="*/ 1946803 w 5487431"/>
              <a:gd name="connsiteY41" fmla="*/ 463149 h 505330"/>
              <a:gd name="connsiteX42" fmla="*/ 1863078 w 5487431"/>
              <a:gd name="connsiteY42" fmla="*/ 321634 h 505330"/>
              <a:gd name="connsiteX43" fmla="*/ 1946803 w 5487431"/>
              <a:gd name="connsiteY43" fmla="*/ 180119 h 505330"/>
              <a:gd name="connsiteX44" fmla="*/ 2030529 w 5487431"/>
              <a:gd name="connsiteY44" fmla="*/ 321634 h 505330"/>
              <a:gd name="connsiteX45" fmla="*/ 1946803 w 5487431"/>
              <a:gd name="connsiteY45" fmla="*/ 463149 h 505330"/>
              <a:gd name="connsiteX46" fmla="*/ 1946803 w 5487431"/>
              <a:gd name="connsiteY46" fmla="*/ 142174 h 505330"/>
              <a:gd name="connsiteX47" fmla="*/ 1776594 w 5487431"/>
              <a:gd name="connsiteY47" fmla="*/ 321634 h 505330"/>
              <a:gd name="connsiteX48" fmla="*/ 1946803 w 5487431"/>
              <a:gd name="connsiteY48" fmla="*/ 501094 h 505330"/>
              <a:gd name="connsiteX49" fmla="*/ 2117013 w 5487431"/>
              <a:gd name="connsiteY49" fmla="*/ 321634 h 505330"/>
              <a:gd name="connsiteX50" fmla="*/ 1946803 w 5487431"/>
              <a:gd name="connsiteY50" fmla="*/ 142174 h 505330"/>
              <a:gd name="connsiteX51" fmla="*/ 2348590 w 5487431"/>
              <a:gd name="connsiteY51" fmla="*/ 142174 h 505330"/>
              <a:gd name="connsiteX52" fmla="*/ 2252306 w 5487431"/>
              <a:gd name="connsiteY52" fmla="*/ 192547 h 505330"/>
              <a:gd name="connsiteX53" fmla="*/ 2248119 w 5487431"/>
              <a:gd name="connsiteY53" fmla="*/ 192547 h 505330"/>
              <a:gd name="connsiteX54" fmla="*/ 2248119 w 5487431"/>
              <a:gd name="connsiteY54" fmla="*/ 149048 h 505330"/>
              <a:gd name="connsiteX55" fmla="*/ 2165821 w 5487431"/>
              <a:gd name="connsiteY55" fmla="*/ 149048 h 505330"/>
              <a:gd name="connsiteX56" fmla="*/ 2165821 w 5487431"/>
              <a:gd name="connsiteY56" fmla="*/ 494221 h 505330"/>
              <a:gd name="connsiteX57" fmla="*/ 2248119 w 5487431"/>
              <a:gd name="connsiteY57" fmla="*/ 494221 h 505330"/>
              <a:gd name="connsiteX58" fmla="*/ 2248119 w 5487431"/>
              <a:gd name="connsiteY58" fmla="*/ 271261 h 505330"/>
              <a:gd name="connsiteX59" fmla="*/ 2317193 w 5487431"/>
              <a:gd name="connsiteY59" fmla="*/ 190476 h 505330"/>
              <a:gd name="connsiteX60" fmla="*/ 2376466 w 5487431"/>
              <a:gd name="connsiteY60" fmla="*/ 258173 h 505330"/>
              <a:gd name="connsiteX61" fmla="*/ 2376466 w 5487431"/>
              <a:gd name="connsiteY61" fmla="*/ 494221 h 505330"/>
              <a:gd name="connsiteX62" fmla="*/ 2458764 w 5487431"/>
              <a:gd name="connsiteY62" fmla="*/ 494221 h 505330"/>
              <a:gd name="connsiteX63" fmla="*/ 2458764 w 5487431"/>
              <a:gd name="connsiteY63" fmla="*/ 257420 h 505330"/>
              <a:gd name="connsiteX64" fmla="*/ 2348590 w 5487431"/>
              <a:gd name="connsiteY64" fmla="*/ 142174 h 505330"/>
              <a:gd name="connsiteX65" fmla="*/ 3571359 w 5487431"/>
              <a:gd name="connsiteY65" fmla="*/ 463149 h 505330"/>
              <a:gd name="connsiteX66" fmla="*/ 3487634 w 5487431"/>
              <a:gd name="connsiteY66" fmla="*/ 321634 h 505330"/>
              <a:gd name="connsiteX67" fmla="*/ 3571359 w 5487431"/>
              <a:gd name="connsiteY67" fmla="*/ 180119 h 505330"/>
              <a:gd name="connsiteX68" fmla="*/ 3655085 w 5487431"/>
              <a:gd name="connsiteY68" fmla="*/ 321634 h 505330"/>
              <a:gd name="connsiteX69" fmla="*/ 3571359 w 5487431"/>
              <a:gd name="connsiteY69" fmla="*/ 463149 h 505330"/>
              <a:gd name="connsiteX70" fmla="*/ 3571359 w 5487431"/>
              <a:gd name="connsiteY70" fmla="*/ 142174 h 505330"/>
              <a:gd name="connsiteX71" fmla="*/ 3401150 w 5487431"/>
              <a:gd name="connsiteY71" fmla="*/ 321634 h 505330"/>
              <a:gd name="connsiteX72" fmla="*/ 3571359 w 5487431"/>
              <a:gd name="connsiteY72" fmla="*/ 501094 h 505330"/>
              <a:gd name="connsiteX73" fmla="*/ 3741569 w 5487431"/>
              <a:gd name="connsiteY73" fmla="*/ 321634 h 505330"/>
              <a:gd name="connsiteX74" fmla="*/ 3571359 w 5487431"/>
              <a:gd name="connsiteY74" fmla="*/ 142174 h 505330"/>
              <a:gd name="connsiteX75" fmla="*/ 4332308 w 5487431"/>
              <a:gd name="connsiteY75" fmla="*/ 142174 h 505330"/>
              <a:gd name="connsiteX76" fmla="*/ 4236024 w 5487431"/>
              <a:gd name="connsiteY76" fmla="*/ 192547 h 505330"/>
              <a:gd name="connsiteX77" fmla="*/ 4231838 w 5487431"/>
              <a:gd name="connsiteY77" fmla="*/ 192547 h 505330"/>
              <a:gd name="connsiteX78" fmla="*/ 4231838 w 5487431"/>
              <a:gd name="connsiteY78" fmla="*/ 149048 h 505330"/>
              <a:gd name="connsiteX79" fmla="*/ 4149539 w 5487431"/>
              <a:gd name="connsiteY79" fmla="*/ 149048 h 505330"/>
              <a:gd name="connsiteX80" fmla="*/ 4149539 w 5487431"/>
              <a:gd name="connsiteY80" fmla="*/ 494221 h 505330"/>
              <a:gd name="connsiteX81" fmla="*/ 4231838 w 5487431"/>
              <a:gd name="connsiteY81" fmla="*/ 494221 h 505330"/>
              <a:gd name="connsiteX82" fmla="*/ 4231838 w 5487431"/>
              <a:gd name="connsiteY82" fmla="*/ 271261 h 505330"/>
              <a:gd name="connsiteX83" fmla="*/ 4300911 w 5487431"/>
              <a:gd name="connsiteY83" fmla="*/ 190476 h 505330"/>
              <a:gd name="connsiteX84" fmla="*/ 4360185 w 5487431"/>
              <a:gd name="connsiteY84" fmla="*/ 258173 h 505330"/>
              <a:gd name="connsiteX85" fmla="*/ 4360185 w 5487431"/>
              <a:gd name="connsiteY85" fmla="*/ 494221 h 505330"/>
              <a:gd name="connsiteX86" fmla="*/ 4442483 w 5487431"/>
              <a:gd name="connsiteY86" fmla="*/ 494221 h 505330"/>
              <a:gd name="connsiteX87" fmla="*/ 4442483 w 5487431"/>
              <a:gd name="connsiteY87" fmla="*/ 257420 h 505330"/>
              <a:gd name="connsiteX88" fmla="*/ 4332308 w 5487431"/>
              <a:gd name="connsiteY88" fmla="*/ 142174 h 505330"/>
              <a:gd name="connsiteX89" fmla="*/ 4629533 w 5487431"/>
              <a:gd name="connsiteY89" fmla="*/ 142174 h 505330"/>
              <a:gd name="connsiteX90" fmla="*/ 4496334 w 5487431"/>
              <a:gd name="connsiteY90" fmla="*/ 241602 h 505330"/>
              <a:gd name="connsiteX91" fmla="*/ 4580725 w 5487431"/>
              <a:gd name="connsiteY91" fmla="*/ 341030 h 505330"/>
              <a:gd name="connsiteX92" fmla="*/ 4650464 w 5487431"/>
              <a:gd name="connsiteY92" fmla="*/ 358260 h 505330"/>
              <a:gd name="connsiteX93" fmla="*/ 4704220 w 5487431"/>
              <a:gd name="connsiteY93" fmla="*/ 409387 h 505330"/>
              <a:gd name="connsiteX94" fmla="*/ 4635146 w 5487431"/>
              <a:gd name="connsiteY94" fmla="*/ 464656 h 505330"/>
              <a:gd name="connsiteX95" fmla="*/ 4555607 w 5487431"/>
              <a:gd name="connsiteY95" fmla="*/ 384624 h 505330"/>
              <a:gd name="connsiteX96" fmla="*/ 4481682 w 5487431"/>
              <a:gd name="connsiteY96" fmla="*/ 405338 h 505330"/>
              <a:gd name="connsiteX97" fmla="*/ 4626108 w 5487431"/>
              <a:gd name="connsiteY97" fmla="*/ 501282 h 505330"/>
              <a:gd name="connsiteX98" fmla="*/ 4771200 w 5487431"/>
              <a:gd name="connsiteY98" fmla="*/ 388767 h 505330"/>
              <a:gd name="connsiteX99" fmla="*/ 4678436 w 5487431"/>
              <a:gd name="connsiteY99" fmla="*/ 285196 h 505330"/>
              <a:gd name="connsiteX100" fmla="*/ 4611456 w 5487431"/>
              <a:gd name="connsiteY100" fmla="*/ 268625 h 505330"/>
              <a:gd name="connsiteX101" fmla="*/ 4563314 w 5487431"/>
              <a:gd name="connsiteY101" fmla="*/ 223054 h 505330"/>
              <a:gd name="connsiteX102" fmla="*/ 4622588 w 5487431"/>
              <a:gd name="connsiteY102" fmla="*/ 178895 h 505330"/>
              <a:gd name="connsiteX103" fmla="*/ 4693754 w 5487431"/>
              <a:gd name="connsiteY103" fmla="*/ 245180 h 505330"/>
              <a:gd name="connsiteX104" fmla="*/ 4763493 w 5487431"/>
              <a:gd name="connsiteY104" fmla="*/ 224466 h 505330"/>
              <a:gd name="connsiteX105" fmla="*/ 4629533 w 5487431"/>
              <a:gd name="connsiteY105" fmla="*/ 142174 h 505330"/>
              <a:gd name="connsiteX106" fmla="*/ 4975471 w 5487431"/>
              <a:gd name="connsiteY106" fmla="*/ 463149 h 505330"/>
              <a:gd name="connsiteX107" fmla="*/ 4891745 w 5487431"/>
              <a:gd name="connsiteY107" fmla="*/ 321634 h 505330"/>
              <a:gd name="connsiteX108" fmla="*/ 4975471 w 5487431"/>
              <a:gd name="connsiteY108" fmla="*/ 180119 h 505330"/>
              <a:gd name="connsiteX109" fmla="*/ 5059196 w 5487431"/>
              <a:gd name="connsiteY109" fmla="*/ 321634 h 505330"/>
              <a:gd name="connsiteX110" fmla="*/ 4975471 w 5487431"/>
              <a:gd name="connsiteY110" fmla="*/ 463149 h 505330"/>
              <a:gd name="connsiteX111" fmla="*/ 4975471 w 5487431"/>
              <a:gd name="connsiteY111" fmla="*/ 142174 h 505330"/>
              <a:gd name="connsiteX112" fmla="*/ 4805261 w 5487431"/>
              <a:gd name="connsiteY112" fmla="*/ 321634 h 505330"/>
              <a:gd name="connsiteX113" fmla="*/ 4975471 w 5487431"/>
              <a:gd name="connsiteY113" fmla="*/ 501094 h 505330"/>
              <a:gd name="connsiteX114" fmla="*/ 5145680 w 5487431"/>
              <a:gd name="connsiteY114" fmla="*/ 321634 h 505330"/>
              <a:gd name="connsiteX115" fmla="*/ 4975471 w 5487431"/>
              <a:gd name="connsiteY115" fmla="*/ 142174 h 505330"/>
              <a:gd name="connsiteX116" fmla="*/ 5377257 w 5487431"/>
              <a:gd name="connsiteY116" fmla="*/ 142174 h 505330"/>
              <a:gd name="connsiteX117" fmla="*/ 5280973 w 5487431"/>
              <a:gd name="connsiteY117" fmla="*/ 192547 h 505330"/>
              <a:gd name="connsiteX118" fmla="*/ 5276787 w 5487431"/>
              <a:gd name="connsiteY118" fmla="*/ 192547 h 505330"/>
              <a:gd name="connsiteX119" fmla="*/ 5276787 w 5487431"/>
              <a:gd name="connsiteY119" fmla="*/ 149048 h 505330"/>
              <a:gd name="connsiteX120" fmla="*/ 5194488 w 5487431"/>
              <a:gd name="connsiteY120" fmla="*/ 149048 h 505330"/>
              <a:gd name="connsiteX121" fmla="*/ 5194488 w 5487431"/>
              <a:gd name="connsiteY121" fmla="*/ 494221 h 505330"/>
              <a:gd name="connsiteX122" fmla="*/ 5276787 w 5487431"/>
              <a:gd name="connsiteY122" fmla="*/ 494221 h 505330"/>
              <a:gd name="connsiteX123" fmla="*/ 5276787 w 5487431"/>
              <a:gd name="connsiteY123" fmla="*/ 271261 h 505330"/>
              <a:gd name="connsiteX124" fmla="*/ 5345860 w 5487431"/>
              <a:gd name="connsiteY124" fmla="*/ 190476 h 505330"/>
              <a:gd name="connsiteX125" fmla="*/ 5405134 w 5487431"/>
              <a:gd name="connsiteY125" fmla="*/ 258173 h 505330"/>
              <a:gd name="connsiteX126" fmla="*/ 5405134 w 5487431"/>
              <a:gd name="connsiteY126" fmla="*/ 494221 h 505330"/>
              <a:gd name="connsiteX127" fmla="*/ 5487432 w 5487431"/>
              <a:gd name="connsiteY127" fmla="*/ 494221 h 505330"/>
              <a:gd name="connsiteX128" fmla="*/ 5487432 w 5487431"/>
              <a:gd name="connsiteY128" fmla="*/ 257420 h 505330"/>
              <a:gd name="connsiteX129" fmla="*/ 5377257 w 5487431"/>
              <a:gd name="connsiteY129" fmla="*/ 142174 h 505330"/>
              <a:gd name="connsiteX130" fmla="*/ 323674 w 5487431"/>
              <a:gd name="connsiteY130" fmla="*/ 11016 h 505330"/>
              <a:gd name="connsiteX131" fmla="*/ 237190 w 5487431"/>
              <a:gd name="connsiteY131" fmla="*/ 11016 h 505330"/>
              <a:gd name="connsiteX132" fmla="*/ 237190 w 5487431"/>
              <a:gd name="connsiteY132" fmla="*/ 367864 h 505330"/>
              <a:gd name="connsiteX133" fmla="*/ 161837 w 5487431"/>
              <a:gd name="connsiteY133" fmla="*/ 460325 h 505330"/>
              <a:gd name="connsiteX134" fmla="*/ 86484 w 5487431"/>
              <a:gd name="connsiteY134" fmla="*/ 360897 h 505330"/>
              <a:gd name="connsiteX135" fmla="*/ 86484 w 5487431"/>
              <a:gd name="connsiteY135" fmla="*/ 294612 h 505330"/>
              <a:gd name="connsiteX136" fmla="*/ 0 w 5487431"/>
              <a:gd name="connsiteY136" fmla="*/ 315985 h 505330"/>
              <a:gd name="connsiteX137" fmla="*/ 0 w 5487431"/>
              <a:gd name="connsiteY137" fmla="*/ 345644 h 505330"/>
              <a:gd name="connsiteX138" fmla="*/ 161837 w 5487431"/>
              <a:gd name="connsiteY138" fmla="*/ 505143 h 505330"/>
              <a:gd name="connsiteX139" fmla="*/ 323674 w 5487431"/>
              <a:gd name="connsiteY139" fmla="*/ 345644 h 505330"/>
              <a:gd name="connsiteX140" fmla="*/ 323674 w 5487431"/>
              <a:gd name="connsiteY140" fmla="*/ 11016 h 505330"/>
              <a:gd name="connsiteX141" fmla="*/ 844008 w 5487431"/>
              <a:gd name="connsiteY141" fmla="*/ 11016 h 505330"/>
              <a:gd name="connsiteX142" fmla="*/ 761710 w 5487431"/>
              <a:gd name="connsiteY142" fmla="*/ 11016 h 505330"/>
              <a:gd name="connsiteX143" fmla="*/ 761710 w 5487431"/>
              <a:gd name="connsiteY143" fmla="*/ 494221 h 505330"/>
              <a:gd name="connsiteX144" fmla="*/ 844008 w 5487431"/>
              <a:gd name="connsiteY144" fmla="*/ 494221 h 505330"/>
              <a:gd name="connsiteX145" fmla="*/ 844008 w 5487431"/>
              <a:gd name="connsiteY145" fmla="*/ 271261 h 505330"/>
              <a:gd name="connsiteX146" fmla="*/ 913081 w 5487431"/>
              <a:gd name="connsiteY146" fmla="*/ 190476 h 505330"/>
              <a:gd name="connsiteX147" fmla="*/ 972355 w 5487431"/>
              <a:gd name="connsiteY147" fmla="*/ 258173 h 505330"/>
              <a:gd name="connsiteX148" fmla="*/ 972355 w 5487431"/>
              <a:gd name="connsiteY148" fmla="*/ 494221 h 505330"/>
              <a:gd name="connsiteX149" fmla="*/ 1054653 w 5487431"/>
              <a:gd name="connsiteY149" fmla="*/ 494221 h 505330"/>
              <a:gd name="connsiteX150" fmla="*/ 1054653 w 5487431"/>
              <a:gd name="connsiteY150" fmla="*/ 257420 h 505330"/>
              <a:gd name="connsiteX151" fmla="*/ 944478 w 5487431"/>
              <a:gd name="connsiteY151" fmla="*/ 142174 h 505330"/>
              <a:gd name="connsiteX152" fmla="*/ 848194 w 5487431"/>
              <a:gd name="connsiteY152" fmla="*/ 192547 h 505330"/>
              <a:gd name="connsiteX153" fmla="*/ 844008 w 5487431"/>
              <a:gd name="connsiteY153" fmla="*/ 192547 h 505330"/>
              <a:gd name="connsiteX154" fmla="*/ 844008 w 5487431"/>
              <a:gd name="connsiteY154" fmla="*/ 11016 h 505330"/>
              <a:gd name="connsiteX155" fmla="*/ 3352342 w 5487431"/>
              <a:gd name="connsiteY155" fmla="*/ 11016 h 505330"/>
              <a:gd name="connsiteX156" fmla="*/ 3265857 w 5487431"/>
              <a:gd name="connsiteY156" fmla="*/ 11016 h 505330"/>
              <a:gd name="connsiteX157" fmla="*/ 3265857 w 5487431"/>
              <a:gd name="connsiteY157" fmla="*/ 367864 h 505330"/>
              <a:gd name="connsiteX158" fmla="*/ 3190504 w 5487431"/>
              <a:gd name="connsiteY158" fmla="*/ 460325 h 505330"/>
              <a:gd name="connsiteX159" fmla="*/ 3115152 w 5487431"/>
              <a:gd name="connsiteY159" fmla="*/ 360897 h 505330"/>
              <a:gd name="connsiteX160" fmla="*/ 3115152 w 5487431"/>
              <a:gd name="connsiteY160" fmla="*/ 294612 h 505330"/>
              <a:gd name="connsiteX161" fmla="*/ 3028667 w 5487431"/>
              <a:gd name="connsiteY161" fmla="*/ 315985 h 505330"/>
              <a:gd name="connsiteX162" fmla="*/ 3028667 w 5487431"/>
              <a:gd name="connsiteY162" fmla="*/ 345644 h 505330"/>
              <a:gd name="connsiteX163" fmla="*/ 3190504 w 5487431"/>
              <a:gd name="connsiteY163" fmla="*/ 505143 h 505330"/>
              <a:gd name="connsiteX164" fmla="*/ 3352342 w 5487431"/>
              <a:gd name="connsiteY164" fmla="*/ 345644 h 505330"/>
              <a:gd name="connsiteX165" fmla="*/ 3352342 w 5487431"/>
              <a:gd name="connsiteY165" fmla="*/ 11016 h 505330"/>
              <a:gd name="connsiteX166" fmla="*/ 3872675 w 5487431"/>
              <a:gd name="connsiteY166" fmla="*/ 11016 h 505330"/>
              <a:gd name="connsiteX167" fmla="*/ 3790377 w 5487431"/>
              <a:gd name="connsiteY167" fmla="*/ 11016 h 505330"/>
              <a:gd name="connsiteX168" fmla="*/ 3790377 w 5487431"/>
              <a:gd name="connsiteY168" fmla="*/ 494221 h 505330"/>
              <a:gd name="connsiteX169" fmla="*/ 3872675 w 5487431"/>
              <a:gd name="connsiteY169" fmla="*/ 494221 h 505330"/>
              <a:gd name="connsiteX170" fmla="*/ 3872675 w 5487431"/>
              <a:gd name="connsiteY170" fmla="*/ 271261 h 505330"/>
              <a:gd name="connsiteX171" fmla="*/ 3941749 w 5487431"/>
              <a:gd name="connsiteY171" fmla="*/ 190476 h 505330"/>
              <a:gd name="connsiteX172" fmla="*/ 4001022 w 5487431"/>
              <a:gd name="connsiteY172" fmla="*/ 258173 h 505330"/>
              <a:gd name="connsiteX173" fmla="*/ 4001022 w 5487431"/>
              <a:gd name="connsiteY173" fmla="*/ 494221 h 505330"/>
              <a:gd name="connsiteX174" fmla="*/ 4083320 w 5487431"/>
              <a:gd name="connsiteY174" fmla="*/ 494221 h 505330"/>
              <a:gd name="connsiteX175" fmla="*/ 4083320 w 5487431"/>
              <a:gd name="connsiteY175" fmla="*/ 257420 h 505330"/>
              <a:gd name="connsiteX176" fmla="*/ 3973146 w 5487431"/>
              <a:gd name="connsiteY176" fmla="*/ 142174 h 505330"/>
              <a:gd name="connsiteX177" fmla="*/ 3876861 w 5487431"/>
              <a:gd name="connsiteY177" fmla="*/ 192547 h 505330"/>
              <a:gd name="connsiteX178" fmla="*/ 3872675 w 5487431"/>
              <a:gd name="connsiteY178" fmla="*/ 192547 h 505330"/>
              <a:gd name="connsiteX179" fmla="*/ 3872675 w 5487431"/>
              <a:gd name="connsiteY179" fmla="*/ 11016 h 505330"/>
              <a:gd name="connsiteX180" fmla="*/ 2730110 w 5487431"/>
              <a:gd name="connsiteY180" fmla="*/ 454864 h 505330"/>
              <a:gd name="connsiteX181" fmla="*/ 2622029 w 5487431"/>
              <a:gd name="connsiteY181" fmla="*/ 343761 h 505330"/>
              <a:gd name="connsiteX182" fmla="*/ 2664557 w 5487431"/>
              <a:gd name="connsiteY182" fmla="*/ 256102 h 505330"/>
              <a:gd name="connsiteX183" fmla="*/ 2822208 w 5487431"/>
              <a:gd name="connsiteY183" fmla="*/ 426617 h 505330"/>
              <a:gd name="connsiteX184" fmla="*/ 2730110 w 5487431"/>
              <a:gd name="connsiteY184" fmla="*/ 454864 h 505330"/>
              <a:gd name="connsiteX185" fmla="*/ 2883575 w 5487431"/>
              <a:gd name="connsiteY185" fmla="*/ 369936 h 505330"/>
              <a:gd name="connsiteX186" fmla="*/ 2746856 w 5487431"/>
              <a:gd name="connsiteY186" fmla="*/ 220794 h 505330"/>
              <a:gd name="connsiteX187" fmla="*/ 2814502 w 5487431"/>
              <a:gd name="connsiteY187" fmla="*/ 207706 h 505330"/>
              <a:gd name="connsiteX188" fmla="*/ 2905838 w 5487431"/>
              <a:gd name="connsiteY188" fmla="*/ 296118 h 505330"/>
              <a:gd name="connsiteX189" fmla="*/ 2883575 w 5487431"/>
              <a:gd name="connsiteY189" fmla="*/ 369936 h 505330"/>
              <a:gd name="connsiteX190" fmla="*/ 2728017 w 5487431"/>
              <a:gd name="connsiteY190" fmla="*/ 200833 h 505330"/>
              <a:gd name="connsiteX191" fmla="*/ 2698047 w 5487431"/>
              <a:gd name="connsiteY191" fmla="*/ 167690 h 505330"/>
              <a:gd name="connsiteX192" fmla="*/ 2663891 w 5487431"/>
              <a:gd name="connsiteY192" fmla="*/ 99334 h 505330"/>
              <a:gd name="connsiteX193" fmla="*/ 2730110 w 5487431"/>
              <a:gd name="connsiteY193" fmla="*/ 36532 h 505330"/>
              <a:gd name="connsiteX194" fmla="*/ 2795664 w 5487431"/>
              <a:gd name="connsiteY194" fmla="*/ 102817 h 505330"/>
              <a:gd name="connsiteX195" fmla="*/ 2728017 w 5487431"/>
              <a:gd name="connsiteY195" fmla="*/ 200833 h 505330"/>
              <a:gd name="connsiteX196" fmla="*/ 2732204 w 5487431"/>
              <a:gd name="connsiteY196" fmla="*/ 0 h 505330"/>
              <a:gd name="connsiteX197" fmla="*/ 2588539 w 5487431"/>
              <a:gd name="connsiteY197" fmla="*/ 119389 h 505330"/>
              <a:gd name="connsiteX198" fmla="*/ 2644387 w 5487431"/>
              <a:gd name="connsiteY198" fmla="*/ 234635 h 505330"/>
              <a:gd name="connsiteX199" fmla="*/ 2645053 w 5487431"/>
              <a:gd name="connsiteY199" fmla="*/ 236047 h 505330"/>
              <a:gd name="connsiteX200" fmla="*/ 2545344 w 5487431"/>
              <a:gd name="connsiteY200" fmla="*/ 374832 h 505330"/>
              <a:gd name="connsiteX201" fmla="*/ 2685584 w 5487431"/>
              <a:gd name="connsiteY201" fmla="*/ 505331 h 505330"/>
              <a:gd name="connsiteX202" fmla="*/ 2843235 w 5487431"/>
              <a:gd name="connsiteY202" fmla="*/ 449403 h 505330"/>
              <a:gd name="connsiteX203" fmla="*/ 2885097 w 5487431"/>
              <a:gd name="connsiteY203" fmla="*/ 494315 h 505330"/>
              <a:gd name="connsiteX204" fmla="*/ 2994606 w 5487431"/>
              <a:gd name="connsiteY204" fmla="*/ 494315 h 505330"/>
              <a:gd name="connsiteX205" fmla="*/ 2994606 w 5487431"/>
              <a:gd name="connsiteY205" fmla="*/ 490831 h 505330"/>
              <a:gd name="connsiteX206" fmla="*/ 2905363 w 5487431"/>
              <a:gd name="connsiteY206" fmla="*/ 393474 h 505330"/>
              <a:gd name="connsiteX207" fmla="*/ 2964637 w 5487431"/>
              <a:gd name="connsiteY207" fmla="*/ 258833 h 505330"/>
              <a:gd name="connsiteX208" fmla="*/ 2873300 w 5487431"/>
              <a:gd name="connsiteY208" fmla="*/ 171174 h 505330"/>
              <a:gd name="connsiteX209" fmla="*/ 2789574 w 5487431"/>
              <a:gd name="connsiteY209" fmla="*/ 187745 h 505330"/>
              <a:gd name="connsiteX210" fmla="*/ 2788147 w 5487431"/>
              <a:gd name="connsiteY210" fmla="*/ 185015 h 505330"/>
              <a:gd name="connsiteX211" fmla="*/ 2863500 w 5487431"/>
              <a:gd name="connsiteY211" fmla="*/ 93873 h 505330"/>
              <a:gd name="connsiteX212" fmla="*/ 2732204 w 5487431"/>
              <a:gd name="connsiteY212" fmla="*/ 0 h 50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5487431" h="505330">
                <a:moveTo>
                  <a:pt x="542692" y="463149"/>
                </a:moveTo>
                <a:cubicBezTo>
                  <a:pt x="488937" y="463149"/>
                  <a:pt x="458967" y="412776"/>
                  <a:pt x="458967" y="321634"/>
                </a:cubicBezTo>
                <a:cubicBezTo>
                  <a:pt x="458967" y="229080"/>
                  <a:pt x="488937" y="180119"/>
                  <a:pt x="542692" y="180119"/>
                </a:cubicBezTo>
                <a:cubicBezTo>
                  <a:pt x="596448" y="180119"/>
                  <a:pt x="626417" y="229833"/>
                  <a:pt x="626417" y="321634"/>
                </a:cubicBezTo>
                <a:cubicBezTo>
                  <a:pt x="626322" y="414189"/>
                  <a:pt x="596352" y="463149"/>
                  <a:pt x="542692" y="463149"/>
                </a:cubicBezTo>
                <a:moveTo>
                  <a:pt x="542692" y="142174"/>
                </a:moveTo>
                <a:cubicBezTo>
                  <a:pt x="433183" y="142174"/>
                  <a:pt x="372482" y="222959"/>
                  <a:pt x="372482" y="321634"/>
                </a:cubicBezTo>
                <a:cubicBezTo>
                  <a:pt x="372482" y="420309"/>
                  <a:pt x="433183" y="501094"/>
                  <a:pt x="542692" y="501094"/>
                </a:cubicBezTo>
                <a:cubicBezTo>
                  <a:pt x="652201" y="501094"/>
                  <a:pt x="712902" y="420309"/>
                  <a:pt x="712902" y="321634"/>
                </a:cubicBezTo>
                <a:cubicBezTo>
                  <a:pt x="712902" y="222959"/>
                  <a:pt x="652201" y="142174"/>
                  <a:pt x="542692" y="142174"/>
                </a:cubicBezTo>
                <a:moveTo>
                  <a:pt x="1303641" y="142174"/>
                </a:moveTo>
                <a:cubicBezTo>
                  <a:pt x="1251979" y="142174"/>
                  <a:pt x="1223436" y="164301"/>
                  <a:pt x="1207357" y="192547"/>
                </a:cubicBezTo>
                <a:lnTo>
                  <a:pt x="1203170" y="192547"/>
                </a:lnTo>
                <a:lnTo>
                  <a:pt x="1203170" y="149048"/>
                </a:lnTo>
                <a:lnTo>
                  <a:pt x="1120872" y="149048"/>
                </a:lnTo>
                <a:lnTo>
                  <a:pt x="1120872" y="494221"/>
                </a:lnTo>
                <a:lnTo>
                  <a:pt x="1203170" y="494221"/>
                </a:lnTo>
                <a:lnTo>
                  <a:pt x="1203170" y="271261"/>
                </a:lnTo>
                <a:cubicBezTo>
                  <a:pt x="1203170" y="220229"/>
                  <a:pt x="1229715" y="190476"/>
                  <a:pt x="1272244" y="190476"/>
                </a:cubicBezTo>
                <a:cubicBezTo>
                  <a:pt x="1313440" y="190476"/>
                  <a:pt x="1331518" y="217404"/>
                  <a:pt x="1331518" y="258173"/>
                </a:cubicBezTo>
                <a:lnTo>
                  <a:pt x="1331518" y="494221"/>
                </a:lnTo>
                <a:lnTo>
                  <a:pt x="1413816" y="494221"/>
                </a:lnTo>
                <a:lnTo>
                  <a:pt x="1413816" y="257420"/>
                </a:lnTo>
                <a:cubicBezTo>
                  <a:pt x="1413911" y="186333"/>
                  <a:pt x="1376234" y="142174"/>
                  <a:pt x="1303641" y="142174"/>
                </a:cubicBezTo>
                <a:moveTo>
                  <a:pt x="1600771" y="142174"/>
                </a:moveTo>
                <a:cubicBezTo>
                  <a:pt x="1524752" y="142174"/>
                  <a:pt x="1467571" y="173905"/>
                  <a:pt x="1467571" y="241602"/>
                </a:cubicBezTo>
                <a:cubicBezTo>
                  <a:pt x="1467571" y="298943"/>
                  <a:pt x="1507341" y="330014"/>
                  <a:pt x="1551962" y="341030"/>
                </a:cubicBezTo>
                <a:lnTo>
                  <a:pt x="1621702" y="358260"/>
                </a:lnTo>
                <a:cubicBezTo>
                  <a:pt x="1658712" y="367205"/>
                  <a:pt x="1675457" y="380387"/>
                  <a:pt x="1675457" y="409387"/>
                </a:cubicBezTo>
                <a:cubicBezTo>
                  <a:pt x="1675457" y="444601"/>
                  <a:pt x="1650340" y="464656"/>
                  <a:pt x="1606384" y="464656"/>
                </a:cubicBezTo>
                <a:cubicBezTo>
                  <a:pt x="1558908" y="464656"/>
                  <a:pt x="1534551" y="441870"/>
                  <a:pt x="1526845" y="384624"/>
                </a:cubicBezTo>
                <a:lnTo>
                  <a:pt x="1452919" y="405338"/>
                </a:lnTo>
                <a:cubicBezTo>
                  <a:pt x="1457106" y="464750"/>
                  <a:pt x="1512954" y="501282"/>
                  <a:pt x="1597345" y="501282"/>
                </a:cubicBezTo>
                <a:cubicBezTo>
                  <a:pt x="1691536" y="501282"/>
                  <a:pt x="1742438" y="457782"/>
                  <a:pt x="1742438" y="388767"/>
                </a:cubicBezTo>
                <a:cubicBezTo>
                  <a:pt x="1742438" y="323894"/>
                  <a:pt x="1697055" y="296965"/>
                  <a:pt x="1649674" y="285196"/>
                </a:cubicBezTo>
                <a:lnTo>
                  <a:pt x="1582693" y="268625"/>
                </a:lnTo>
                <a:cubicBezTo>
                  <a:pt x="1549203" y="260339"/>
                  <a:pt x="1534551" y="245180"/>
                  <a:pt x="1534551" y="223054"/>
                </a:cubicBezTo>
                <a:cubicBezTo>
                  <a:pt x="1534551" y="195466"/>
                  <a:pt x="1558242" y="178895"/>
                  <a:pt x="1593825" y="178895"/>
                </a:cubicBezTo>
                <a:cubicBezTo>
                  <a:pt x="1635688" y="178895"/>
                  <a:pt x="1661471" y="201680"/>
                  <a:pt x="1664992" y="245180"/>
                </a:cubicBezTo>
                <a:lnTo>
                  <a:pt x="1734731" y="224466"/>
                </a:lnTo>
                <a:cubicBezTo>
                  <a:pt x="1726358" y="175976"/>
                  <a:pt x="1678216" y="142174"/>
                  <a:pt x="1600771" y="142174"/>
                </a:cubicBezTo>
                <a:moveTo>
                  <a:pt x="1946803" y="463149"/>
                </a:moveTo>
                <a:cubicBezTo>
                  <a:pt x="1893048" y="463149"/>
                  <a:pt x="1863078" y="412776"/>
                  <a:pt x="1863078" y="321634"/>
                </a:cubicBezTo>
                <a:cubicBezTo>
                  <a:pt x="1863078" y="229080"/>
                  <a:pt x="1893048" y="180119"/>
                  <a:pt x="1946803" y="180119"/>
                </a:cubicBezTo>
                <a:cubicBezTo>
                  <a:pt x="2000559" y="180119"/>
                  <a:pt x="2030529" y="229833"/>
                  <a:pt x="2030529" y="321634"/>
                </a:cubicBezTo>
                <a:cubicBezTo>
                  <a:pt x="2030529" y="414189"/>
                  <a:pt x="2000464" y="463149"/>
                  <a:pt x="1946803" y="463149"/>
                </a:cubicBezTo>
                <a:moveTo>
                  <a:pt x="1946803" y="142174"/>
                </a:moveTo>
                <a:cubicBezTo>
                  <a:pt x="1837294" y="142174"/>
                  <a:pt x="1776594" y="222959"/>
                  <a:pt x="1776594" y="321634"/>
                </a:cubicBezTo>
                <a:cubicBezTo>
                  <a:pt x="1776594" y="420309"/>
                  <a:pt x="1837294" y="501094"/>
                  <a:pt x="1946803" y="501094"/>
                </a:cubicBezTo>
                <a:cubicBezTo>
                  <a:pt x="2056312" y="501094"/>
                  <a:pt x="2117013" y="420309"/>
                  <a:pt x="2117013" y="321634"/>
                </a:cubicBezTo>
                <a:cubicBezTo>
                  <a:pt x="2117013" y="222959"/>
                  <a:pt x="2056312" y="142174"/>
                  <a:pt x="1946803" y="142174"/>
                </a:cubicBezTo>
                <a:moveTo>
                  <a:pt x="2348590" y="142174"/>
                </a:moveTo>
                <a:cubicBezTo>
                  <a:pt x="2296927" y="142174"/>
                  <a:pt x="2268385" y="164301"/>
                  <a:pt x="2252306" y="192547"/>
                </a:cubicBezTo>
                <a:lnTo>
                  <a:pt x="2248119" y="192547"/>
                </a:lnTo>
                <a:lnTo>
                  <a:pt x="2248119" y="149048"/>
                </a:lnTo>
                <a:lnTo>
                  <a:pt x="2165821" y="149048"/>
                </a:lnTo>
                <a:lnTo>
                  <a:pt x="2165821" y="494221"/>
                </a:lnTo>
                <a:lnTo>
                  <a:pt x="2248119" y="494221"/>
                </a:lnTo>
                <a:lnTo>
                  <a:pt x="2248119" y="271261"/>
                </a:lnTo>
                <a:cubicBezTo>
                  <a:pt x="2248119" y="220229"/>
                  <a:pt x="2274664" y="190476"/>
                  <a:pt x="2317193" y="190476"/>
                </a:cubicBezTo>
                <a:cubicBezTo>
                  <a:pt x="2358389" y="190476"/>
                  <a:pt x="2376466" y="217404"/>
                  <a:pt x="2376466" y="258173"/>
                </a:cubicBezTo>
                <a:lnTo>
                  <a:pt x="2376466" y="494221"/>
                </a:lnTo>
                <a:lnTo>
                  <a:pt x="2458764" y="494221"/>
                </a:lnTo>
                <a:lnTo>
                  <a:pt x="2458764" y="257420"/>
                </a:lnTo>
                <a:cubicBezTo>
                  <a:pt x="2458764" y="186333"/>
                  <a:pt x="2421088" y="142174"/>
                  <a:pt x="2348590" y="142174"/>
                </a:cubicBezTo>
                <a:moveTo>
                  <a:pt x="3571359" y="463149"/>
                </a:moveTo>
                <a:cubicBezTo>
                  <a:pt x="3517604" y="463149"/>
                  <a:pt x="3487634" y="412776"/>
                  <a:pt x="3487634" y="321634"/>
                </a:cubicBezTo>
                <a:cubicBezTo>
                  <a:pt x="3487634" y="229080"/>
                  <a:pt x="3517604" y="180119"/>
                  <a:pt x="3571359" y="180119"/>
                </a:cubicBezTo>
                <a:cubicBezTo>
                  <a:pt x="3625115" y="180119"/>
                  <a:pt x="3655085" y="229833"/>
                  <a:pt x="3655085" y="321634"/>
                </a:cubicBezTo>
                <a:cubicBezTo>
                  <a:pt x="3655085" y="414189"/>
                  <a:pt x="3625020" y="463149"/>
                  <a:pt x="3571359" y="463149"/>
                </a:cubicBezTo>
                <a:moveTo>
                  <a:pt x="3571359" y="142174"/>
                </a:moveTo>
                <a:cubicBezTo>
                  <a:pt x="3461850" y="142174"/>
                  <a:pt x="3401150" y="222959"/>
                  <a:pt x="3401150" y="321634"/>
                </a:cubicBezTo>
                <a:cubicBezTo>
                  <a:pt x="3401150" y="420309"/>
                  <a:pt x="3461850" y="501094"/>
                  <a:pt x="3571359" y="501094"/>
                </a:cubicBezTo>
                <a:cubicBezTo>
                  <a:pt x="3680868" y="501094"/>
                  <a:pt x="3741569" y="420309"/>
                  <a:pt x="3741569" y="321634"/>
                </a:cubicBezTo>
                <a:cubicBezTo>
                  <a:pt x="3741569" y="222959"/>
                  <a:pt x="3680868" y="142174"/>
                  <a:pt x="3571359" y="142174"/>
                </a:cubicBezTo>
                <a:moveTo>
                  <a:pt x="4332308" y="142174"/>
                </a:moveTo>
                <a:cubicBezTo>
                  <a:pt x="4280646" y="142174"/>
                  <a:pt x="4252103" y="164301"/>
                  <a:pt x="4236024" y="192547"/>
                </a:cubicBezTo>
                <a:lnTo>
                  <a:pt x="4231838" y="192547"/>
                </a:lnTo>
                <a:lnTo>
                  <a:pt x="4231838" y="149048"/>
                </a:lnTo>
                <a:lnTo>
                  <a:pt x="4149539" y="149048"/>
                </a:lnTo>
                <a:lnTo>
                  <a:pt x="4149539" y="494221"/>
                </a:lnTo>
                <a:lnTo>
                  <a:pt x="4231838" y="494221"/>
                </a:lnTo>
                <a:lnTo>
                  <a:pt x="4231838" y="271261"/>
                </a:lnTo>
                <a:cubicBezTo>
                  <a:pt x="4231838" y="220229"/>
                  <a:pt x="4258383" y="190476"/>
                  <a:pt x="4300911" y="190476"/>
                </a:cubicBezTo>
                <a:cubicBezTo>
                  <a:pt x="4342108" y="190476"/>
                  <a:pt x="4360185" y="217404"/>
                  <a:pt x="4360185" y="258173"/>
                </a:cubicBezTo>
                <a:lnTo>
                  <a:pt x="4360185" y="494221"/>
                </a:lnTo>
                <a:lnTo>
                  <a:pt x="4442483" y="494221"/>
                </a:lnTo>
                <a:lnTo>
                  <a:pt x="4442483" y="257420"/>
                </a:lnTo>
                <a:cubicBezTo>
                  <a:pt x="4442578" y="186333"/>
                  <a:pt x="4404902" y="142174"/>
                  <a:pt x="4332308" y="142174"/>
                </a:cubicBezTo>
                <a:moveTo>
                  <a:pt x="4629533" y="142174"/>
                </a:moveTo>
                <a:cubicBezTo>
                  <a:pt x="4553514" y="142174"/>
                  <a:pt x="4496334" y="173905"/>
                  <a:pt x="4496334" y="241602"/>
                </a:cubicBezTo>
                <a:cubicBezTo>
                  <a:pt x="4496334" y="298943"/>
                  <a:pt x="4536103" y="330014"/>
                  <a:pt x="4580725" y="341030"/>
                </a:cubicBezTo>
                <a:lnTo>
                  <a:pt x="4650464" y="358260"/>
                </a:lnTo>
                <a:cubicBezTo>
                  <a:pt x="4687475" y="367205"/>
                  <a:pt x="4704220" y="380387"/>
                  <a:pt x="4704220" y="409387"/>
                </a:cubicBezTo>
                <a:cubicBezTo>
                  <a:pt x="4704220" y="444601"/>
                  <a:pt x="4679102" y="464656"/>
                  <a:pt x="4635146" y="464656"/>
                </a:cubicBezTo>
                <a:cubicBezTo>
                  <a:pt x="4587670" y="464656"/>
                  <a:pt x="4563314" y="441870"/>
                  <a:pt x="4555607" y="384624"/>
                </a:cubicBezTo>
                <a:lnTo>
                  <a:pt x="4481682" y="405338"/>
                </a:lnTo>
                <a:cubicBezTo>
                  <a:pt x="4485868" y="464750"/>
                  <a:pt x="4541716" y="501282"/>
                  <a:pt x="4626108" y="501282"/>
                </a:cubicBezTo>
                <a:cubicBezTo>
                  <a:pt x="4720299" y="501282"/>
                  <a:pt x="4771200" y="457782"/>
                  <a:pt x="4771200" y="388767"/>
                </a:cubicBezTo>
                <a:cubicBezTo>
                  <a:pt x="4771200" y="323894"/>
                  <a:pt x="4725817" y="296965"/>
                  <a:pt x="4678436" y="285196"/>
                </a:cubicBezTo>
                <a:lnTo>
                  <a:pt x="4611456" y="268625"/>
                </a:lnTo>
                <a:cubicBezTo>
                  <a:pt x="4577966" y="260339"/>
                  <a:pt x="4563314" y="245180"/>
                  <a:pt x="4563314" y="223054"/>
                </a:cubicBezTo>
                <a:cubicBezTo>
                  <a:pt x="4563314" y="195466"/>
                  <a:pt x="4587004" y="178895"/>
                  <a:pt x="4622588" y="178895"/>
                </a:cubicBezTo>
                <a:cubicBezTo>
                  <a:pt x="4664450" y="178895"/>
                  <a:pt x="4690234" y="201680"/>
                  <a:pt x="4693754" y="245180"/>
                </a:cubicBezTo>
                <a:lnTo>
                  <a:pt x="4763493" y="224466"/>
                </a:lnTo>
                <a:cubicBezTo>
                  <a:pt x="4755026" y="175976"/>
                  <a:pt x="4706884" y="142174"/>
                  <a:pt x="4629533" y="142174"/>
                </a:cubicBezTo>
                <a:moveTo>
                  <a:pt x="4975471" y="463149"/>
                </a:moveTo>
                <a:cubicBezTo>
                  <a:pt x="4921715" y="463149"/>
                  <a:pt x="4891745" y="412776"/>
                  <a:pt x="4891745" y="321634"/>
                </a:cubicBezTo>
                <a:cubicBezTo>
                  <a:pt x="4891745" y="229080"/>
                  <a:pt x="4921715" y="180119"/>
                  <a:pt x="4975471" y="180119"/>
                </a:cubicBezTo>
                <a:cubicBezTo>
                  <a:pt x="5029226" y="180119"/>
                  <a:pt x="5059196" y="229833"/>
                  <a:pt x="5059196" y="321634"/>
                </a:cubicBezTo>
                <a:cubicBezTo>
                  <a:pt x="5059196" y="414189"/>
                  <a:pt x="5029131" y="463149"/>
                  <a:pt x="4975471" y="463149"/>
                </a:cubicBezTo>
                <a:moveTo>
                  <a:pt x="4975471" y="142174"/>
                </a:moveTo>
                <a:cubicBezTo>
                  <a:pt x="4865962" y="142174"/>
                  <a:pt x="4805261" y="222959"/>
                  <a:pt x="4805261" y="321634"/>
                </a:cubicBezTo>
                <a:cubicBezTo>
                  <a:pt x="4805261" y="420309"/>
                  <a:pt x="4865962" y="501094"/>
                  <a:pt x="4975471" y="501094"/>
                </a:cubicBezTo>
                <a:cubicBezTo>
                  <a:pt x="5084980" y="501094"/>
                  <a:pt x="5145680" y="420309"/>
                  <a:pt x="5145680" y="321634"/>
                </a:cubicBezTo>
                <a:cubicBezTo>
                  <a:pt x="5145680" y="222959"/>
                  <a:pt x="5084980" y="142174"/>
                  <a:pt x="4975471" y="142174"/>
                </a:cubicBezTo>
                <a:moveTo>
                  <a:pt x="5377257" y="142174"/>
                </a:moveTo>
                <a:cubicBezTo>
                  <a:pt x="5325595" y="142174"/>
                  <a:pt x="5297052" y="164301"/>
                  <a:pt x="5280973" y="192547"/>
                </a:cubicBezTo>
                <a:lnTo>
                  <a:pt x="5276787" y="192547"/>
                </a:lnTo>
                <a:lnTo>
                  <a:pt x="5276787" y="149048"/>
                </a:lnTo>
                <a:lnTo>
                  <a:pt x="5194488" y="149048"/>
                </a:lnTo>
                <a:lnTo>
                  <a:pt x="5194488" y="494221"/>
                </a:lnTo>
                <a:lnTo>
                  <a:pt x="5276787" y="494221"/>
                </a:lnTo>
                <a:lnTo>
                  <a:pt x="5276787" y="271261"/>
                </a:lnTo>
                <a:cubicBezTo>
                  <a:pt x="5276787" y="220229"/>
                  <a:pt x="5303331" y="190476"/>
                  <a:pt x="5345860" y="190476"/>
                </a:cubicBezTo>
                <a:cubicBezTo>
                  <a:pt x="5387057" y="190476"/>
                  <a:pt x="5405134" y="217404"/>
                  <a:pt x="5405134" y="258173"/>
                </a:cubicBezTo>
                <a:lnTo>
                  <a:pt x="5405134" y="494221"/>
                </a:lnTo>
                <a:lnTo>
                  <a:pt x="5487432" y="494221"/>
                </a:lnTo>
                <a:lnTo>
                  <a:pt x="5487432" y="257420"/>
                </a:lnTo>
                <a:cubicBezTo>
                  <a:pt x="5487432" y="186333"/>
                  <a:pt x="5449755" y="142174"/>
                  <a:pt x="5377257" y="142174"/>
                </a:cubicBezTo>
                <a:moveTo>
                  <a:pt x="323674" y="11016"/>
                </a:moveTo>
                <a:lnTo>
                  <a:pt x="237190" y="11016"/>
                </a:lnTo>
                <a:lnTo>
                  <a:pt x="237190" y="367864"/>
                </a:lnTo>
                <a:cubicBezTo>
                  <a:pt x="237190" y="425864"/>
                  <a:pt x="214831" y="460325"/>
                  <a:pt x="161837" y="460325"/>
                </a:cubicBezTo>
                <a:cubicBezTo>
                  <a:pt x="109509" y="460325"/>
                  <a:pt x="86484" y="423698"/>
                  <a:pt x="86484" y="360897"/>
                </a:cubicBezTo>
                <a:lnTo>
                  <a:pt x="86484" y="294612"/>
                </a:lnTo>
                <a:lnTo>
                  <a:pt x="0" y="315985"/>
                </a:lnTo>
                <a:lnTo>
                  <a:pt x="0" y="345644"/>
                </a:lnTo>
                <a:cubicBezTo>
                  <a:pt x="0" y="436033"/>
                  <a:pt x="45383" y="505143"/>
                  <a:pt x="161837" y="505143"/>
                </a:cubicBezTo>
                <a:cubicBezTo>
                  <a:pt x="278291" y="505143"/>
                  <a:pt x="323674" y="436127"/>
                  <a:pt x="323674" y="345644"/>
                </a:cubicBezTo>
                <a:lnTo>
                  <a:pt x="323674" y="11016"/>
                </a:lnTo>
                <a:moveTo>
                  <a:pt x="844008" y="11016"/>
                </a:moveTo>
                <a:lnTo>
                  <a:pt x="761710" y="11016"/>
                </a:lnTo>
                <a:lnTo>
                  <a:pt x="761710" y="494221"/>
                </a:lnTo>
                <a:lnTo>
                  <a:pt x="844008" y="494221"/>
                </a:lnTo>
                <a:lnTo>
                  <a:pt x="844008" y="271261"/>
                </a:lnTo>
                <a:cubicBezTo>
                  <a:pt x="844008" y="220229"/>
                  <a:pt x="870553" y="190476"/>
                  <a:pt x="913081" y="190476"/>
                </a:cubicBezTo>
                <a:cubicBezTo>
                  <a:pt x="954278" y="190476"/>
                  <a:pt x="972355" y="217404"/>
                  <a:pt x="972355" y="258173"/>
                </a:cubicBezTo>
                <a:lnTo>
                  <a:pt x="972355" y="494221"/>
                </a:lnTo>
                <a:lnTo>
                  <a:pt x="1054653" y="494221"/>
                </a:lnTo>
                <a:lnTo>
                  <a:pt x="1054653" y="257420"/>
                </a:lnTo>
                <a:cubicBezTo>
                  <a:pt x="1054653" y="186333"/>
                  <a:pt x="1016977" y="142174"/>
                  <a:pt x="944478" y="142174"/>
                </a:cubicBezTo>
                <a:cubicBezTo>
                  <a:pt x="892816" y="142174"/>
                  <a:pt x="864273" y="164301"/>
                  <a:pt x="848194" y="192547"/>
                </a:cubicBezTo>
                <a:lnTo>
                  <a:pt x="844008" y="192547"/>
                </a:lnTo>
                <a:lnTo>
                  <a:pt x="844008" y="11016"/>
                </a:lnTo>
                <a:moveTo>
                  <a:pt x="3352342" y="11016"/>
                </a:moveTo>
                <a:lnTo>
                  <a:pt x="3265857" y="11016"/>
                </a:lnTo>
                <a:lnTo>
                  <a:pt x="3265857" y="367864"/>
                </a:lnTo>
                <a:cubicBezTo>
                  <a:pt x="3265857" y="425864"/>
                  <a:pt x="3243499" y="460325"/>
                  <a:pt x="3190504" y="460325"/>
                </a:cubicBezTo>
                <a:cubicBezTo>
                  <a:pt x="3138176" y="460325"/>
                  <a:pt x="3115152" y="423698"/>
                  <a:pt x="3115152" y="360897"/>
                </a:cubicBezTo>
                <a:lnTo>
                  <a:pt x="3115152" y="294612"/>
                </a:lnTo>
                <a:lnTo>
                  <a:pt x="3028667" y="315985"/>
                </a:lnTo>
                <a:lnTo>
                  <a:pt x="3028667" y="345644"/>
                </a:lnTo>
                <a:cubicBezTo>
                  <a:pt x="3028667" y="436033"/>
                  <a:pt x="3074050" y="505143"/>
                  <a:pt x="3190504" y="505143"/>
                </a:cubicBezTo>
                <a:cubicBezTo>
                  <a:pt x="3306959" y="505143"/>
                  <a:pt x="3352342" y="436127"/>
                  <a:pt x="3352342" y="345644"/>
                </a:cubicBezTo>
                <a:lnTo>
                  <a:pt x="3352342" y="11016"/>
                </a:lnTo>
                <a:moveTo>
                  <a:pt x="3872675" y="11016"/>
                </a:moveTo>
                <a:lnTo>
                  <a:pt x="3790377" y="11016"/>
                </a:lnTo>
                <a:lnTo>
                  <a:pt x="3790377" y="494221"/>
                </a:lnTo>
                <a:lnTo>
                  <a:pt x="3872675" y="494221"/>
                </a:lnTo>
                <a:lnTo>
                  <a:pt x="3872675" y="271261"/>
                </a:lnTo>
                <a:cubicBezTo>
                  <a:pt x="3872675" y="220229"/>
                  <a:pt x="3899220" y="190476"/>
                  <a:pt x="3941749" y="190476"/>
                </a:cubicBezTo>
                <a:cubicBezTo>
                  <a:pt x="3982945" y="190476"/>
                  <a:pt x="4001022" y="217404"/>
                  <a:pt x="4001022" y="258173"/>
                </a:cubicBezTo>
                <a:lnTo>
                  <a:pt x="4001022" y="494221"/>
                </a:lnTo>
                <a:lnTo>
                  <a:pt x="4083320" y="494221"/>
                </a:lnTo>
                <a:lnTo>
                  <a:pt x="4083320" y="257420"/>
                </a:lnTo>
                <a:cubicBezTo>
                  <a:pt x="4083320" y="186333"/>
                  <a:pt x="4045644" y="142174"/>
                  <a:pt x="3973146" y="142174"/>
                </a:cubicBezTo>
                <a:cubicBezTo>
                  <a:pt x="3921483" y="142174"/>
                  <a:pt x="3892941" y="164301"/>
                  <a:pt x="3876861" y="192547"/>
                </a:cubicBezTo>
                <a:lnTo>
                  <a:pt x="3872675" y="192547"/>
                </a:lnTo>
                <a:lnTo>
                  <a:pt x="3872675" y="11016"/>
                </a:lnTo>
                <a:moveTo>
                  <a:pt x="2730110" y="454864"/>
                </a:moveTo>
                <a:cubicBezTo>
                  <a:pt x="2663130" y="454864"/>
                  <a:pt x="2622029" y="401007"/>
                  <a:pt x="2622029" y="343761"/>
                </a:cubicBezTo>
                <a:cubicBezTo>
                  <a:pt x="2622029" y="307887"/>
                  <a:pt x="2638108" y="274745"/>
                  <a:pt x="2664557" y="256102"/>
                </a:cubicBezTo>
                <a:lnTo>
                  <a:pt x="2822208" y="426617"/>
                </a:lnTo>
                <a:cubicBezTo>
                  <a:pt x="2792904" y="443848"/>
                  <a:pt x="2760080" y="454864"/>
                  <a:pt x="2730110" y="454864"/>
                </a:cubicBezTo>
                <a:moveTo>
                  <a:pt x="2883575" y="369936"/>
                </a:moveTo>
                <a:lnTo>
                  <a:pt x="2746856" y="220794"/>
                </a:lnTo>
                <a:cubicBezTo>
                  <a:pt x="2771307" y="211096"/>
                  <a:pt x="2794998" y="207706"/>
                  <a:pt x="2814502" y="207706"/>
                </a:cubicBezTo>
                <a:cubicBezTo>
                  <a:pt x="2871016" y="207706"/>
                  <a:pt x="2905838" y="240190"/>
                  <a:pt x="2905838" y="296118"/>
                </a:cubicBezTo>
                <a:cubicBezTo>
                  <a:pt x="2905934" y="320975"/>
                  <a:pt x="2898893" y="346491"/>
                  <a:pt x="2883575" y="369936"/>
                </a:cubicBezTo>
                <a:moveTo>
                  <a:pt x="2728017" y="200833"/>
                </a:moveTo>
                <a:lnTo>
                  <a:pt x="2698047" y="167690"/>
                </a:lnTo>
                <a:cubicBezTo>
                  <a:pt x="2671503" y="138691"/>
                  <a:pt x="2663891" y="120707"/>
                  <a:pt x="2663891" y="99334"/>
                </a:cubicBezTo>
                <a:cubicBezTo>
                  <a:pt x="2663891" y="59318"/>
                  <a:pt x="2689675" y="36532"/>
                  <a:pt x="2730110" y="36532"/>
                </a:cubicBezTo>
                <a:cubicBezTo>
                  <a:pt x="2771307" y="36532"/>
                  <a:pt x="2795664" y="59977"/>
                  <a:pt x="2795664" y="102817"/>
                </a:cubicBezTo>
                <a:cubicBezTo>
                  <a:pt x="2795664" y="142174"/>
                  <a:pt x="2776159" y="179460"/>
                  <a:pt x="2728017" y="200833"/>
                </a:cubicBezTo>
                <a:moveTo>
                  <a:pt x="2732204" y="0"/>
                </a:moveTo>
                <a:cubicBezTo>
                  <a:pt x="2635920" y="0"/>
                  <a:pt x="2588539" y="53198"/>
                  <a:pt x="2588539" y="119389"/>
                </a:cubicBezTo>
                <a:cubicBezTo>
                  <a:pt x="2588539" y="155262"/>
                  <a:pt x="2603857" y="191229"/>
                  <a:pt x="2644387" y="234635"/>
                </a:cubicBezTo>
                <a:lnTo>
                  <a:pt x="2645053" y="236047"/>
                </a:lnTo>
                <a:cubicBezTo>
                  <a:pt x="2576741" y="268531"/>
                  <a:pt x="2545344" y="320975"/>
                  <a:pt x="2545344" y="374832"/>
                </a:cubicBezTo>
                <a:cubicBezTo>
                  <a:pt x="2545344" y="445919"/>
                  <a:pt x="2600432" y="505331"/>
                  <a:pt x="2685584" y="505331"/>
                </a:cubicBezTo>
                <a:cubicBezTo>
                  <a:pt x="2734392" y="505331"/>
                  <a:pt x="2791573" y="485276"/>
                  <a:pt x="2843235" y="449403"/>
                </a:cubicBezTo>
                <a:lnTo>
                  <a:pt x="2885097" y="494315"/>
                </a:lnTo>
                <a:lnTo>
                  <a:pt x="2994606" y="494315"/>
                </a:lnTo>
                <a:lnTo>
                  <a:pt x="2994606" y="490831"/>
                </a:lnTo>
                <a:lnTo>
                  <a:pt x="2905363" y="393474"/>
                </a:lnTo>
                <a:cubicBezTo>
                  <a:pt x="2943039" y="349316"/>
                  <a:pt x="2964637" y="301014"/>
                  <a:pt x="2964637" y="258833"/>
                </a:cubicBezTo>
                <a:cubicBezTo>
                  <a:pt x="2964637" y="206388"/>
                  <a:pt x="2929053" y="171174"/>
                  <a:pt x="2873300" y="171174"/>
                </a:cubicBezTo>
                <a:cubicBezTo>
                  <a:pt x="2843996" y="171174"/>
                  <a:pt x="2811172" y="179460"/>
                  <a:pt x="2789574" y="187745"/>
                </a:cubicBezTo>
                <a:lnTo>
                  <a:pt x="2788147" y="185015"/>
                </a:lnTo>
                <a:cubicBezTo>
                  <a:pt x="2841142" y="156674"/>
                  <a:pt x="2863500" y="130499"/>
                  <a:pt x="2863500" y="93873"/>
                </a:cubicBezTo>
                <a:cubicBezTo>
                  <a:pt x="2863310" y="41428"/>
                  <a:pt x="2815929" y="0"/>
                  <a:pt x="2732204" y="0"/>
                </a:cubicBezTo>
              </a:path>
            </a:pathLst>
          </a:custGeom>
          <a:solidFill>
            <a:schemeClr val="accent1"/>
          </a:solidFill>
          <a:ln w="9509" cap="flat">
            <a:noFill/>
            <a:prstDash val="solid"/>
            <a:miter/>
          </a:ln>
        </p:spPr>
        <p:txBody>
          <a:bodyPr rtlCol="0" anchor="ctr"/>
          <a:lstStyle/>
          <a:p>
            <a:endParaRPr lang="en-GB"/>
          </a:p>
        </p:txBody>
      </p:sp>
    </p:spTree>
    <p:extLst>
      <p:ext uri="{BB962C8B-B14F-4D97-AF65-F5344CB8AC3E}">
        <p14:creationId xmlns:p14="http://schemas.microsoft.com/office/powerpoint/2010/main" val="318001435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 Long titles ">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F71E3-AC39-2207-0CC4-1E2486610795}"/>
              </a:ext>
            </a:extLst>
          </p:cNvPr>
          <p:cNvSpPr>
            <a:spLocks noGrp="1"/>
          </p:cNvSpPr>
          <p:nvPr>
            <p:ph type="ctrTitle" hasCustomPrompt="1"/>
          </p:nvPr>
        </p:nvSpPr>
        <p:spPr>
          <a:xfrm>
            <a:off x="285980" y="266955"/>
            <a:ext cx="5734050" cy="3482172"/>
          </a:xfrm>
        </p:spPr>
        <p:txBody>
          <a:bodyPr wrap="square" anchor="t">
            <a:normAutofit/>
          </a:bodyPr>
          <a:lstStyle>
            <a:lvl1pPr algn="l">
              <a:lnSpc>
                <a:spcPct val="80000"/>
              </a:lnSpc>
              <a:defRPr sz="7000" b="0" i="0" spc="0" baseline="0">
                <a:solidFill>
                  <a:schemeClr val="bg1"/>
                </a:solidFill>
                <a:latin typeface="+mj-lt"/>
              </a:defRPr>
            </a:lvl1pPr>
          </a:lstStyle>
          <a:p>
            <a:r>
              <a:rPr lang="en-GB"/>
              <a:t>Longer titles will shrink automatically</a:t>
            </a:r>
            <a:br>
              <a:rPr lang="en-GB"/>
            </a:br>
            <a:endParaRPr lang="en-GB"/>
          </a:p>
        </p:txBody>
      </p:sp>
      <p:sp>
        <p:nvSpPr>
          <p:cNvPr id="9" name="Subtitle 2">
            <a:extLst>
              <a:ext uri="{FF2B5EF4-FFF2-40B4-BE49-F238E27FC236}">
                <a16:creationId xmlns:a16="http://schemas.microsoft.com/office/drawing/2014/main" id="{52CA5BFA-B5A6-B786-4C05-6FD9C9E49AB2}"/>
              </a:ext>
            </a:extLst>
          </p:cNvPr>
          <p:cNvSpPr>
            <a:spLocks noGrp="1"/>
          </p:cNvSpPr>
          <p:nvPr>
            <p:ph type="subTitle" idx="1" hasCustomPrompt="1"/>
          </p:nvPr>
        </p:nvSpPr>
        <p:spPr>
          <a:xfrm>
            <a:off x="284806" y="4889500"/>
            <a:ext cx="2795587" cy="865834"/>
          </a:xfrm>
        </p:spPr>
        <p:txBody>
          <a:bodyPr anchor="b"/>
          <a:lstStyle>
            <a:lvl1pPr marL="0" indent="0" algn="l">
              <a:lnSpc>
                <a:spcPct val="100000"/>
              </a:lnSpc>
              <a:spcBef>
                <a:spcPts val="0"/>
              </a:spcBef>
              <a:spcAft>
                <a:spcPts val="0"/>
              </a:spcAft>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pporting details. Delete if not required.</a:t>
            </a:r>
          </a:p>
        </p:txBody>
      </p:sp>
      <p:sp>
        <p:nvSpPr>
          <p:cNvPr id="11" name="Picture Placeholder 3">
            <a:extLst>
              <a:ext uri="{FF2B5EF4-FFF2-40B4-BE49-F238E27FC236}">
                <a16:creationId xmlns:a16="http://schemas.microsoft.com/office/drawing/2014/main" id="{E1BD3F77-9A53-CD01-DCF8-3C90891AE6D0}"/>
              </a:ext>
            </a:extLst>
          </p:cNvPr>
          <p:cNvSpPr>
            <a:spLocks noGrp="1"/>
          </p:cNvSpPr>
          <p:nvPr>
            <p:ph type="pic" sz="quarter" idx="11" hasCustomPrompt="1"/>
          </p:nvPr>
        </p:nvSpPr>
        <p:spPr>
          <a:xfrm>
            <a:off x="6562381" y="0"/>
            <a:ext cx="5629619" cy="6858000"/>
          </a:xfrm>
          <a:solidFill>
            <a:srgbClr val="F6F3F2"/>
          </a:solidFill>
        </p:spPr>
        <p:txBody>
          <a:bodyPr/>
          <a:lstStyle>
            <a:lvl1pPr>
              <a:defRPr lang="en-US"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4" name="Graphic 2">
            <a:extLst>
              <a:ext uri="{FF2B5EF4-FFF2-40B4-BE49-F238E27FC236}">
                <a16:creationId xmlns:a16="http://schemas.microsoft.com/office/drawing/2014/main" id="{1457E6FC-210A-4A04-1640-ED8A61457C29}"/>
              </a:ext>
            </a:extLst>
          </p:cNvPr>
          <p:cNvSpPr>
            <a:spLocks noChangeAspect="1"/>
          </p:cNvSpPr>
          <p:nvPr userDrawn="1"/>
        </p:nvSpPr>
        <p:spPr>
          <a:xfrm>
            <a:off x="290513" y="6377853"/>
            <a:ext cx="2034000" cy="187309"/>
          </a:xfrm>
          <a:custGeom>
            <a:avLst/>
            <a:gdLst>
              <a:gd name="connsiteX0" fmla="*/ 542692 w 5487431"/>
              <a:gd name="connsiteY0" fmla="*/ 463149 h 505330"/>
              <a:gd name="connsiteX1" fmla="*/ 458967 w 5487431"/>
              <a:gd name="connsiteY1" fmla="*/ 321634 h 505330"/>
              <a:gd name="connsiteX2" fmla="*/ 542692 w 5487431"/>
              <a:gd name="connsiteY2" fmla="*/ 180119 h 505330"/>
              <a:gd name="connsiteX3" fmla="*/ 626417 w 5487431"/>
              <a:gd name="connsiteY3" fmla="*/ 321634 h 505330"/>
              <a:gd name="connsiteX4" fmla="*/ 542692 w 5487431"/>
              <a:gd name="connsiteY4" fmla="*/ 463149 h 505330"/>
              <a:gd name="connsiteX5" fmla="*/ 542692 w 5487431"/>
              <a:gd name="connsiteY5" fmla="*/ 142174 h 505330"/>
              <a:gd name="connsiteX6" fmla="*/ 372482 w 5487431"/>
              <a:gd name="connsiteY6" fmla="*/ 321634 h 505330"/>
              <a:gd name="connsiteX7" fmla="*/ 542692 w 5487431"/>
              <a:gd name="connsiteY7" fmla="*/ 501094 h 505330"/>
              <a:gd name="connsiteX8" fmla="*/ 712902 w 5487431"/>
              <a:gd name="connsiteY8" fmla="*/ 321634 h 505330"/>
              <a:gd name="connsiteX9" fmla="*/ 542692 w 5487431"/>
              <a:gd name="connsiteY9" fmla="*/ 142174 h 505330"/>
              <a:gd name="connsiteX10" fmla="*/ 1303641 w 5487431"/>
              <a:gd name="connsiteY10" fmla="*/ 142174 h 505330"/>
              <a:gd name="connsiteX11" fmla="*/ 1207357 w 5487431"/>
              <a:gd name="connsiteY11" fmla="*/ 192547 h 505330"/>
              <a:gd name="connsiteX12" fmla="*/ 1203170 w 5487431"/>
              <a:gd name="connsiteY12" fmla="*/ 192547 h 505330"/>
              <a:gd name="connsiteX13" fmla="*/ 1203170 w 5487431"/>
              <a:gd name="connsiteY13" fmla="*/ 149048 h 505330"/>
              <a:gd name="connsiteX14" fmla="*/ 1120872 w 5487431"/>
              <a:gd name="connsiteY14" fmla="*/ 149048 h 505330"/>
              <a:gd name="connsiteX15" fmla="*/ 1120872 w 5487431"/>
              <a:gd name="connsiteY15" fmla="*/ 494221 h 505330"/>
              <a:gd name="connsiteX16" fmla="*/ 1203170 w 5487431"/>
              <a:gd name="connsiteY16" fmla="*/ 494221 h 505330"/>
              <a:gd name="connsiteX17" fmla="*/ 1203170 w 5487431"/>
              <a:gd name="connsiteY17" fmla="*/ 271261 h 505330"/>
              <a:gd name="connsiteX18" fmla="*/ 1272244 w 5487431"/>
              <a:gd name="connsiteY18" fmla="*/ 190476 h 505330"/>
              <a:gd name="connsiteX19" fmla="*/ 1331518 w 5487431"/>
              <a:gd name="connsiteY19" fmla="*/ 258173 h 505330"/>
              <a:gd name="connsiteX20" fmla="*/ 1331518 w 5487431"/>
              <a:gd name="connsiteY20" fmla="*/ 494221 h 505330"/>
              <a:gd name="connsiteX21" fmla="*/ 1413816 w 5487431"/>
              <a:gd name="connsiteY21" fmla="*/ 494221 h 505330"/>
              <a:gd name="connsiteX22" fmla="*/ 1413816 w 5487431"/>
              <a:gd name="connsiteY22" fmla="*/ 257420 h 505330"/>
              <a:gd name="connsiteX23" fmla="*/ 1303641 w 5487431"/>
              <a:gd name="connsiteY23" fmla="*/ 142174 h 505330"/>
              <a:gd name="connsiteX24" fmla="*/ 1600771 w 5487431"/>
              <a:gd name="connsiteY24" fmla="*/ 142174 h 505330"/>
              <a:gd name="connsiteX25" fmla="*/ 1467571 w 5487431"/>
              <a:gd name="connsiteY25" fmla="*/ 241602 h 505330"/>
              <a:gd name="connsiteX26" fmla="*/ 1551962 w 5487431"/>
              <a:gd name="connsiteY26" fmla="*/ 341030 h 505330"/>
              <a:gd name="connsiteX27" fmla="*/ 1621702 w 5487431"/>
              <a:gd name="connsiteY27" fmla="*/ 358260 h 505330"/>
              <a:gd name="connsiteX28" fmla="*/ 1675457 w 5487431"/>
              <a:gd name="connsiteY28" fmla="*/ 409387 h 505330"/>
              <a:gd name="connsiteX29" fmla="*/ 1606384 w 5487431"/>
              <a:gd name="connsiteY29" fmla="*/ 464656 h 505330"/>
              <a:gd name="connsiteX30" fmla="*/ 1526845 w 5487431"/>
              <a:gd name="connsiteY30" fmla="*/ 384624 h 505330"/>
              <a:gd name="connsiteX31" fmla="*/ 1452919 w 5487431"/>
              <a:gd name="connsiteY31" fmla="*/ 405338 h 505330"/>
              <a:gd name="connsiteX32" fmla="*/ 1597345 w 5487431"/>
              <a:gd name="connsiteY32" fmla="*/ 501282 h 505330"/>
              <a:gd name="connsiteX33" fmla="*/ 1742438 w 5487431"/>
              <a:gd name="connsiteY33" fmla="*/ 388767 h 505330"/>
              <a:gd name="connsiteX34" fmla="*/ 1649674 w 5487431"/>
              <a:gd name="connsiteY34" fmla="*/ 285196 h 505330"/>
              <a:gd name="connsiteX35" fmla="*/ 1582693 w 5487431"/>
              <a:gd name="connsiteY35" fmla="*/ 268625 h 505330"/>
              <a:gd name="connsiteX36" fmla="*/ 1534551 w 5487431"/>
              <a:gd name="connsiteY36" fmla="*/ 223054 h 505330"/>
              <a:gd name="connsiteX37" fmla="*/ 1593825 w 5487431"/>
              <a:gd name="connsiteY37" fmla="*/ 178895 h 505330"/>
              <a:gd name="connsiteX38" fmla="*/ 1664992 w 5487431"/>
              <a:gd name="connsiteY38" fmla="*/ 245180 h 505330"/>
              <a:gd name="connsiteX39" fmla="*/ 1734731 w 5487431"/>
              <a:gd name="connsiteY39" fmla="*/ 224466 h 505330"/>
              <a:gd name="connsiteX40" fmla="*/ 1600771 w 5487431"/>
              <a:gd name="connsiteY40" fmla="*/ 142174 h 505330"/>
              <a:gd name="connsiteX41" fmla="*/ 1946803 w 5487431"/>
              <a:gd name="connsiteY41" fmla="*/ 463149 h 505330"/>
              <a:gd name="connsiteX42" fmla="*/ 1863078 w 5487431"/>
              <a:gd name="connsiteY42" fmla="*/ 321634 h 505330"/>
              <a:gd name="connsiteX43" fmla="*/ 1946803 w 5487431"/>
              <a:gd name="connsiteY43" fmla="*/ 180119 h 505330"/>
              <a:gd name="connsiteX44" fmla="*/ 2030529 w 5487431"/>
              <a:gd name="connsiteY44" fmla="*/ 321634 h 505330"/>
              <a:gd name="connsiteX45" fmla="*/ 1946803 w 5487431"/>
              <a:gd name="connsiteY45" fmla="*/ 463149 h 505330"/>
              <a:gd name="connsiteX46" fmla="*/ 1946803 w 5487431"/>
              <a:gd name="connsiteY46" fmla="*/ 142174 h 505330"/>
              <a:gd name="connsiteX47" fmla="*/ 1776594 w 5487431"/>
              <a:gd name="connsiteY47" fmla="*/ 321634 h 505330"/>
              <a:gd name="connsiteX48" fmla="*/ 1946803 w 5487431"/>
              <a:gd name="connsiteY48" fmla="*/ 501094 h 505330"/>
              <a:gd name="connsiteX49" fmla="*/ 2117013 w 5487431"/>
              <a:gd name="connsiteY49" fmla="*/ 321634 h 505330"/>
              <a:gd name="connsiteX50" fmla="*/ 1946803 w 5487431"/>
              <a:gd name="connsiteY50" fmla="*/ 142174 h 505330"/>
              <a:gd name="connsiteX51" fmla="*/ 2348590 w 5487431"/>
              <a:gd name="connsiteY51" fmla="*/ 142174 h 505330"/>
              <a:gd name="connsiteX52" fmla="*/ 2252306 w 5487431"/>
              <a:gd name="connsiteY52" fmla="*/ 192547 h 505330"/>
              <a:gd name="connsiteX53" fmla="*/ 2248119 w 5487431"/>
              <a:gd name="connsiteY53" fmla="*/ 192547 h 505330"/>
              <a:gd name="connsiteX54" fmla="*/ 2248119 w 5487431"/>
              <a:gd name="connsiteY54" fmla="*/ 149048 h 505330"/>
              <a:gd name="connsiteX55" fmla="*/ 2165821 w 5487431"/>
              <a:gd name="connsiteY55" fmla="*/ 149048 h 505330"/>
              <a:gd name="connsiteX56" fmla="*/ 2165821 w 5487431"/>
              <a:gd name="connsiteY56" fmla="*/ 494221 h 505330"/>
              <a:gd name="connsiteX57" fmla="*/ 2248119 w 5487431"/>
              <a:gd name="connsiteY57" fmla="*/ 494221 h 505330"/>
              <a:gd name="connsiteX58" fmla="*/ 2248119 w 5487431"/>
              <a:gd name="connsiteY58" fmla="*/ 271261 h 505330"/>
              <a:gd name="connsiteX59" fmla="*/ 2317193 w 5487431"/>
              <a:gd name="connsiteY59" fmla="*/ 190476 h 505330"/>
              <a:gd name="connsiteX60" fmla="*/ 2376466 w 5487431"/>
              <a:gd name="connsiteY60" fmla="*/ 258173 h 505330"/>
              <a:gd name="connsiteX61" fmla="*/ 2376466 w 5487431"/>
              <a:gd name="connsiteY61" fmla="*/ 494221 h 505330"/>
              <a:gd name="connsiteX62" fmla="*/ 2458764 w 5487431"/>
              <a:gd name="connsiteY62" fmla="*/ 494221 h 505330"/>
              <a:gd name="connsiteX63" fmla="*/ 2458764 w 5487431"/>
              <a:gd name="connsiteY63" fmla="*/ 257420 h 505330"/>
              <a:gd name="connsiteX64" fmla="*/ 2348590 w 5487431"/>
              <a:gd name="connsiteY64" fmla="*/ 142174 h 505330"/>
              <a:gd name="connsiteX65" fmla="*/ 3571359 w 5487431"/>
              <a:gd name="connsiteY65" fmla="*/ 463149 h 505330"/>
              <a:gd name="connsiteX66" fmla="*/ 3487634 w 5487431"/>
              <a:gd name="connsiteY66" fmla="*/ 321634 h 505330"/>
              <a:gd name="connsiteX67" fmla="*/ 3571359 w 5487431"/>
              <a:gd name="connsiteY67" fmla="*/ 180119 h 505330"/>
              <a:gd name="connsiteX68" fmla="*/ 3655085 w 5487431"/>
              <a:gd name="connsiteY68" fmla="*/ 321634 h 505330"/>
              <a:gd name="connsiteX69" fmla="*/ 3571359 w 5487431"/>
              <a:gd name="connsiteY69" fmla="*/ 463149 h 505330"/>
              <a:gd name="connsiteX70" fmla="*/ 3571359 w 5487431"/>
              <a:gd name="connsiteY70" fmla="*/ 142174 h 505330"/>
              <a:gd name="connsiteX71" fmla="*/ 3401150 w 5487431"/>
              <a:gd name="connsiteY71" fmla="*/ 321634 h 505330"/>
              <a:gd name="connsiteX72" fmla="*/ 3571359 w 5487431"/>
              <a:gd name="connsiteY72" fmla="*/ 501094 h 505330"/>
              <a:gd name="connsiteX73" fmla="*/ 3741569 w 5487431"/>
              <a:gd name="connsiteY73" fmla="*/ 321634 h 505330"/>
              <a:gd name="connsiteX74" fmla="*/ 3571359 w 5487431"/>
              <a:gd name="connsiteY74" fmla="*/ 142174 h 505330"/>
              <a:gd name="connsiteX75" fmla="*/ 4332308 w 5487431"/>
              <a:gd name="connsiteY75" fmla="*/ 142174 h 505330"/>
              <a:gd name="connsiteX76" fmla="*/ 4236024 w 5487431"/>
              <a:gd name="connsiteY76" fmla="*/ 192547 h 505330"/>
              <a:gd name="connsiteX77" fmla="*/ 4231838 w 5487431"/>
              <a:gd name="connsiteY77" fmla="*/ 192547 h 505330"/>
              <a:gd name="connsiteX78" fmla="*/ 4231838 w 5487431"/>
              <a:gd name="connsiteY78" fmla="*/ 149048 h 505330"/>
              <a:gd name="connsiteX79" fmla="*/ 4149539 w 5487431"/>
              <a:gd name="connsiteY79" fmla="*/ 149048 h 505330"/>
              <a:gd name="connsiteX80" fmla="*/ 4149539 w 5487431"/>
              <a:gd name="connsiteY80" fmla="*/ 494221 h 505330"/>
              <a:gd name="connsiteX81" fmla="*/ 4231838 w 5487431"/>
              <a:gd name="connsiteY81" fmla="*/ 494221 h 505330"/>
              <a:gd name="connsiteX82" fmla="*/ 4231838 w 5487431"/>
              <a:gd name="connsiteY82" fmla="*/ 271261 h 505330"/>
              <a:gd name="connsiteX83" fmla="*/ 4300911 w 5487431"/>
              <a:gd name="connsiteY83" fmla="*/ 190476 h 505330"/>
              <a:gd name="connsiteX84" fmla="*/ 4360185 w 5487431"/>
              <a:gd name="connsiteY84" fmla="*/ 258173 h 505330"/>
              <a:gd name="connsiteX85" fmla="*/ 4360185 w 5487431"/>
              <a:gd name="connsiteY85" fmla="*/ 494221 h 505330"/>
              <a:gd name="connsiteX86" fmla="*/ 4442483 w 5487431"/>
              <a:gd name="connsiteY86" fmla="*/ 494221 h 505330"/>
              <a:gd name="connsiteX87" fmla="*/ 4442483 w 5487431"/>
              <a:gd name="connsiteY87" fmla="*/ 257420 h 505330"/>
              <a:gd name="connsiteX88" fmla="*/ 4332308 w 5487431"/>
              <a:gd name="connsiteY88" fmla="*/ 142174 h 505330"/>
              <a:gd name="connsiteX89" fmla="*/ 4629533 w 5487431"/>
              <a:gd name="connsiteY89" fmla="*/ 142174 h 505330"/>
              <a:gd name="connsiteX90" fmla="*/ 4496334 w 5487431"/>
              <a:gd name="connsiteY90" fmla="*/ 241602 h 505330"/>
              <a:gd name="connsiteX91" fmla="*/ 4580725 w 5487431"/>
              <a:gd name="connsiteY91" fmla="*/ 341030 h 505330"/>
              <a:gd name="connsiteX92" fmla="*/ 4650464 w 5487431"/>
              <a:gd name="connsiteY92" fmla="*/ 358260 h 505330"/>
              <a:gd name="connsiteX93" fmla="*/ 4704220 w 5487431"/>
              <a:gd name="connsiteY93" fmla="*/ 409387 h 505330"/>
              <a:gd name="connsiteX94" fmla="*/ 4635146 w 5487431"/>
              <a:gd name="connsiteY94" fmla="*/ 464656 h 505330"/>
              <a:gd name="connsiteX95" fmla="*/ 4555607 w 5487431"/>
              <a:gd name="connsiteY95" fmla="*/ 384624 h 505330"/>
              <a:gd name="connsiteX96" fmla="*/ 4481682 w 5487431"/>
              <a:gd name="connsiteY96" fmla="*/ 405338 h 505330"/>
              <a:gd name="connsiteX97" fmla="*/ 4626108 w 5487431"/>
              <a:gd name="connsiteY97" fmla="*/ 501282 h 505330"/>
              <a:gd name="connsiteX98" fmla="*/ 4771200 w 5487431"/>
              <a:gd name="connsiteY98" fmla="*/ 388767 h 505330"/>
              <a:gd name="connsiteX99" fmla="*/ 4678436 w 5487431"/>
              <a:gd name="connsiteY99" fmla="*/ 285196 h 505330"/>
              <a:gd name="connsiteX100" fmla="*/ 4611456 w 5487431"/>
              <a:gd name="connsiteY100" fmla="*/ 268625 h 505330"/>
              <a:gd name="connsiteX101" fmla="*/ 4563314 w 5487431"/>
              <a:gd name="connsiteY101" fmla="*/ 223054 h 505330"/>
              <a:gd name="connsiteX102" fmla="*/ 4622588 w 5487431"/>
              <a:gd name="connsiteY102" fmla="*/ 178895 h 505330"/>
              <a:gd name="connsiteX103" fmla="*/ 4693754 w 5487431"/>
              <a:gd name="connsiteY103" fmla="*/ 245180 h 505330"/>
              <a:gd name="connsiteX104" fmla="*/ 4763493 w 5487431"/>
              <a:gd name="connsiteY104" fmla="*/ 224466 h 505330"/>
              <a:gd name="connsiteX105" fmla="*/ 4629533 w 5487431"/>
              <a:gd name="connsiteY105" fmla="*/ 142174 h 505330"/>
              <a:gd name="connsiteX106" fmla="*/ 4975471 w 5487431"/>
              <a:gd name="connsiteY106" fmla="*/ 463149 h 505330"/>
              <a:gd name="connsiteX107" fmla="*/ 4891745 w 5487431"/>
              <a:gd name="connsiteY107" fmla="*/ 321634 h 505330"/>
              <a:gd name="connsiteX108" fmla="*/ 4975471 w 5487431"/>
              <a:gd name="connsiteY108" fmla="*/ 180119 h 505330"/>
              <a:gd name="connsiteX109" fmla="*/ 5059196 w 5487431"/>
              <a:gd name="connsiteY109" fmla="*/ 321634 h 505330"/>
              <a:gd name="connsiteX110" fmla="*/ 4975471 w 5487431"/>
              <a:gd name="connsiteY110" fmla="*/ 463149 h 505330"/>
              <a:gd name="connsiteX111" fmla="*/ 4975471 w 5487431"/>
              <a:gd name="connsiteY111" fmla="*/ 142174 h 505330"/>
              <a:gd name="connsiteX112" fmla="*/ 4805261 w 5487431"/>
              <a:gd name="connsiteY112" fmla="*/ 321634 h 505330"/>
              <a:gd name="connsiteX113" fmla="*/ 4975471 w 5487431"/>
              <a:gd name="connsiteY113" fmla="*/ 501094 h 505330"/>
              <a:gd name="connsiteX114" fmla="*/ 5145680 w 5487431"/>
              <a:gd name="connsiteY114" fmla="*/ 321634 h 505330"/>
              <a:gd name="connsiteX115" fmla="*/ 4975471 w 5487431"/>
              <a:gd name="connsiteY115" fmla="*/ 142174 h 505330"/>
              <a:gd name="connsiteX116" fmla="*/ 5377257 w 5487431"/>
              <a:gd name="connsiteY116" fmla="*/ 142174 h 505330"/>
              <a:gd name="connsiteX117" fmla="*/ 5280973 w 5487431"/>
              <a:gd name="connsiteY117" fmla="*/ 192547 h 505330"/>
              <a:gd name="connsiteX118" fmla="*/ 5276787 w 5487431"/>
              <a:gd name="connsiteY118" fmla="*/ 192547 h 505330"/>
              <a:gd name="connsiteX119" fmla="*/ 5276787 w 5487431"/>
              <a:gd name="connsiteY119" fmla="*/ 149048 h 505330"/>
              <a:gd name="connsiteX120" fmla="*/ 5194488 w 5487431"/>
              <a:gd name="connsiteY120" fmla="*/ 149048 h 505330"/>
              <a:gd name="connsiteX121" fmla="*/ 5194488 w 5487431"/>
              <a:gd name="connsiteY121" fmla="*/ 494221 h 505330"/>
              <a:gd name="connsiteX122" fmla="*/ 5276787 w 5487431"/>
              <a:gd name="connsiteY122" fmla="*/ 494221 h 505330"/>
              <a:gd name="connsiteX123" fmla="*/ 5276787 w 5487431"/>
              <a:gd name="connsiteY123" fmla="*/ 271261 h 505330"/>
              <a:gd name="connsiteX124" fmla="*/ 5345860 w 5487431"/>
              <a:gd name="connsiteY124" fmla="*/ 190476 h 505330"/>
              <a:gd name="connsiteX125" fmla="*/ 5405134 w 5487431"/>
              <a:gd name="connsiteY125" fmla="*/ 258173 h 505330"/>
              <a:gd name="connsiteX126" fmla="*/ 5405134 w 5487431"/>
              <a:gd name="connsiteY126" fmla="*/ 494221 h 505330"/>
              <a:gd name="connsiteX127" fmla="*/ 5487432 w 5487431"/>
              <a:gd name="connsiteY127" fmla="*/ 494221 h 505330"/>
              <a:gd name="connsiteX128" fmla="*/ 5487432 w 5487431"/>
              <a:gd name="connsiteY128" fmla="*/ 257420 h 505330"/>
              <a:gd name="connsiteX129" fmla="*/ 5377257 w 5487431"/>
              <a:gd name="connsiteY129" fmla="*/ 142174 h 505330"/>
              <a:gd name="connsiteX130" fmla="*/ 323674 w 5487431"/>
              <a:gd name="connsiteY130" fmla="*/ 11016 h 505330"/>
              <a:gd name="connsiteX131" fmla="*/ 237190 w 5487431"/>
              <a:gd name="connsiteY131" fmla="*/ 11016 h 505330"/>
              <a:gd name="connsiteX132" fmla="*/ 237190 w 5487431"/>
              <a:gd name="connsiteY132" fmla="*/ 367864 h 505330"/>
              <a:gd name="connsiteX133" fmla="*/ 161837 w 5487431"/>
              <a:gd name="connsiteY133" fmla="*/ 460325 h 505330"/>
              <a:gd name="connsiteX134" fmla="*/ 86484 w 5487431"/>
              <a:gd name="connsiteY134" fmla="*/ 360897 h 505330"/>
              <a:gd name="connsiteX135" fmla="*/ 86484 w 5487431"/>
              <a:gd name="connsiteY135" fmla="*/ 294612 h 505330"/>
              <a:gd name="connsiteX136" fmla="*/ 0 w 5487431"/>
              <a:gd name="connsiteY136" fmla="*/ 315985 h 505330"/>
              <a:gd name="connsiteX137" fmla="*/ 0 w 5487431"/>
              <a:gd name="connsiteY137" fmla="*/ 345644 h 505330"/>
              <a:gd name="connsiteX138" fmla="*/ 161837 w 5487431"/>
              <a:gd name="connsiteY138" fmla="*/ 505143 h 505330"/>
              <a:gd name="connsiteX139" fmla="*/ 323674 w 5487431"/>
              <a:gd name="connsiteY139" fmla="*/ 345644 h 505330"/>
              <a:gd name="connsiteX140" fmla="*/ 323674 w 5487431"/>
              <a:gd name="connsiteY140" fmla="*/ 11016 h 505330"/>
              <a:gd name="connsiteX141" fmla="*/ 844008 w 5487431"/>
              <a:gd name="connsiteY141" fmla="*/ 11016 h 505330"/>
              <a:gd name="connsiteX142" fmla="*/ 761710 w 5487431"/>
              <a:gd name="connsiteY142" fmla="*/ 11016 h 505330"/>
              <a:gd name="connsiteX143" fmla="*/ 761710 w 5487431"/>
              <a:gd name="connsiteY143" fmla="*/ 494221 h 505330"/>
              <a:gd name="connsiteX144" fmla="*/ 844008 w 5487431"/>
              <a:gd name="connsiteY144" fmla="*/ 494221 h 505330"/>
              <a:gd name="connsiteX145" fmla="*/ 844008 w 5487431"/>
              <a:gd name="connsiteY145" fmla="*/ 271261 h 505330"/>
              <a:gd name="connsiteX146" fmla="*/ 913081 w 5487431"/>
              <a:gd name="connsiteY146" fmla="*/ 190476 h 505330"/>
              <a:gd name="connsiteX147" fmla="*/ 972355 w 5487431"/>
              <a:gd name="connsiteY147" fmla="*/ 258173 h 505330"/>
              <a:gd name="connsiteX148" fmla="*/ 972355 w 5487431"/>
              <a:gd name="connsiteY148" fmla="*/ 494221 h 505330"/>
              <a:gd name="connsiteX149" fmla="*/ 1054653 w 5487431"/>
              <a:gd name="connsiteY149" fmla="*/ 494221 h 505330"/>
              <a:gd name="connsiteX150" fmla="*/ 1054653 w 5487431"/>
              <a:gd name="connsiteY150" fmla="*/ 257420 h 505330"/>
              <a:gd name="connsiteX151" fmla="*/ 944478 w 5487431"/>
              <a:gd name="connsiteY151" fmla="*/ 142174 h 505330"/>
              <a:gd name="connsiteX152" fmla="*/ 848194 w 5487431"/>
              <a:gd name="connsiteY152" fmla="*/ 192547 h 505330"/>
              <a:gd name="connsiteX153" fmla="*/ 844008 w 5487431"/>
              <a:gd name="connsiteY153" fmla="*/ 192547 h 505330"/>
              <a:gd name="connsiteX154" fmla="*/ 844008 w 5487431"/>
              <a:gd name="connsiteY154" fmla="*/ 11016 h 505330"/>
              <a:gd name="connsiteX155" fmla="*/ 3352342 w 5487431"/>
              <a:gd name="connsiteY155" fmla="*/ 11016 h 505330"/>
              <a:gd name="connsiteX156" fmla="*/ 3265857 w 5487431"/>
              <a:gd name="connsiteY156" fmla="*/ 11016 h 505330"/>
              <a:gd name="connsiteX157" fmla="*/ 3265857 w 5487431"/>
              <a:gd name="connsiteY157" fmla="*/ 367864 h 505330"/>
              <a:gd name="connsiteX158" fmla="*/ 3190504 w 5487431"/>
              <a:gd name="connsiteY158" fmla="*/ 460325 h 505330"/>
              <a:gd name="connsiteX159" fmla="*/ 3115152 w 5487431"/>
              <a:gd name="connsiteY159" fmla="*/ 360897 h 505330"/>
              <a:gd name="connsiteX160" fmla="*/ 3115152 w 5487431"/>
              <a:gd name="connsiteY160" fmla="*/ 294612 h 505330"/>
              <a:gd name="connsiteX161" fmla="*/ 3028667 w 5487431"/>
              <a:gd name="connsiteY161" fmla="*/ 315985 h 505330"/>
              <a:gd name="connsiteX162" fmla="*/ 3028667 w 5487431"/>
              <a:gd name="connsiteY162" fmla="*/ 345644 h 505330"/>
              <a:gd name="connsiteX163" fmla="*/ 3190504 w 5487431"/>
              <a:gd name="connsiteY163" fmla="*/ 505143 h 505330"/>
              <a:gd name="connsiteX164" fmla="*/ 3352342 w 5487431"/>
              <a:gd name="connsiteY164" fmla="*/ 345644 h 505330"/>
              <a:gd name="connsiteX165" fmla="*/ 3352342 w 5487431"/>
              <a:gd name="connsiteY165" fmla="*/ 11016 h 505330"/>
              <a:gd name="connsiteX166" fmla="*/ 3872675 w 5487431"/>
              <a:gd name="connsiteY166" fmla="*/ 11016 h 505330"/>
              <a:gd name="connsiteX167" fmla="*/ 3790377 w 5487431"/>
              <a:gd name="connsiteY167" fmla="*/ 11016 h 505330"/>
              <a:gd name="connsiteX168" fmla="*/ 3790377 w 5487431"/>
              <a:gd name="connsiteY168" fmla="*/ 494221 h 505330"/>
              <a:gd name="connsiteX169" fmla="*/ 3872675 w 5487431"/>
              <a:gd name="connsiteY169" fmla="*/ 494221 h 505330"/>
              <a:gd name="connsiteX170" fmla="*/ 3872675 w 5487431"/>
              <a:gd name="connsiteY170" fmla="*/ 271261 h 505330"/>
              <a:gd name="connsiteX171" fmla="*/ 3941749 w 5487431"/>
              <a:gd name="connsiteY171" fmla="*/ 190476 h 505330"/>
              <a:gd name="connsiteX172" fmla="*/ 4001022 w 5487431"/>
              <a:gd name="connsiteY172" fmla="*/ 258173 h 505330"/>
              <a:gd name="connsiteX173" fmla="*/ 4001022 w 5487431"/>
              <a:gd name="connsiteY173" fmla="*/ 494221 h 505330"/>
              <a:gd name="connsiteX174" fmla="*/ 4083320 w 5487431"/>
              <a:gd name="connsiteY174" fmla="*/ 494221 h 505330"/>
              <a:gd name="connsiteX175" fmla="*/ 4083320 w 5487431"/>
              <a:gd name="connsiteY175" fmla="*/ 257420 h 505330"/>
              <a:gd name="connsiteX176" fmla="*/ 3973146 w 5487431"/>
              <a:gd name="connsiteY176" fmla="*/ 142174 h 505330"/>
              <a:gd name="connsiteX177" fmla="*/ 3876861 w 5487431"/>
              <a:gd name="connsiteY177" fmla="*/ 192547 h 505330"/>
              <a:gd name="connsiteX178" fmla="*/ 3872675 w 5487431"/>
              <a:gd name="connsiteY178" fmla="*/ 192547 h 505330"/>
              <a:gd name="connsiteX179" fmla="*/ 3872675 w 5487431"/>
              <a:gd name="connsiteY179" fmla="*/ 11016 h 505330"/>
              <a:gd name="connsiteX180" fmla="*/ 2730110 w 5487431"/>
              <a:gd name="connsiteY180" fmla="*/ 454864 h 505330"/>
              <a:gd name="connsiteX181" fmla="*/ 2622029 w 5487431"/>
              <a:gd name="connsiteY181" fmla="*/ 343761 h 505330"/>
              <a:gd name="connsiteX182" fmla="*/ 2664557 w 5487431"/>
              <a:gd name="connsiteY182" fmla="*/ 256102 h 505330"/>
              <a:gd name="connsiteX183" fmla="*/ 2822208 w 5487431"/>
              <a:gd name="connsiteY183" fmla="*/ 426617 h 505330"/>
              <a:gd name="connsiteX184" fmla="*/ 2730110 w 5487431"/>
              <a:gd name="connsiteY184" fmla="*/ 454864 h 505330"/>
              <a:gd name="connsiteX185" fmla="*/ 2883575 w 5487431"/>
              <a:gd name="connsiteY185" fmla="*/ 369936 h 505330"/>
              <a:gd name="connsiteX186" fmla="*/ 2746856 w 5487431"/>
              <a:gd name="connsiteY186" fmla="*/ 220794 h 505330"/>
              <a:gd name="connsiteX187" fmla="*/ 2814502 w 5487431"/>
              <a:gd name="connsiteY187" fmla="*/ 207706 h 505330"/>
              <a:gd name="connsiteX188" fmla="*/ 2905838 w 5487431"/>
              <a:gd name="connsiteY188" fmla="*/ 296118 h 505330"/>
              <a:gd name="connsiteX189" fmla="*/ 2883575 w 5487431"/>
              <a:gd name="connsiteY189" fmla="*/ 369936 h 505330"/>
              <a:gd name="connsiteX190" fmla="*/ 2728017 w 5487431"/>
              <a:gd name="connsiteY190" fmla="*/ 200833 h 505330"/>
              <a:gd name="connsiteX191" fmla="*/ 2698047 w 5487431"/>
              <a:gd name="connsiteY191" fmla="*/ 167690 h 505330"/>
              <a:gd name="connsiteX192" fmla="*/ 2663891 w 5487431"/>
              <a:gd name="connsiteY192" fmla="*/ 99334 h 505330"/>
              <a:gd name="connsiteX193" fmla="*/ 2730110 w 5487431"/>
              <a:gd name="connsiteY193" fmla="*/ 36532 h 505330"/>
              <a:gd name="connsiteX194" fmla="*/ 2795664 w 5487431"/>
              <a:gd name="connsiteY194" fmla="*/ 102817 h 505330"/>
              <a:gd name="connsiteX195" fmla="*/ 2728017 w 5487431"/>
              <a:gd name="connsiteY195" fmla="*/ 200833 h 505330"/>
              <a:gd name="connsiteX196" fmla="*/ 2732204 w 5487431"/>
              <a:gd name="connsiteY196" fmla="*/ 0 h 505330"/>
              <a:gd name="connsiteX197" fmla="*/ 2588539 w 5487431"/>
              <a:gd name="connsiteY197" fmla="*/ 119389 h 505330"/>
              <a:gd name="connsiteX198" fmla="*/ 2644387 w 5487431"/>
              <a:gd name="connsiteY198" fmla="*/ 234635 h 505330"/>
              <a:gd name="connsiteX199" fmla="*/ 2645053 w 5487431"/>
              <a:gd name="connsiteY199" fmla="*/ 236047 h 505330"/>
              <a:gd name="connsiteX200" fmla="*/ 2545344 w 5487431"/>
              <a:gd name="connsiteY200" fmla="*/ 374832 h 505330"/>
              <a:gd name="connsiteX201" fmla="*/ 2685584 w 5487431"/>
              <a:gd name="connsiteY201" fmla="*/ 505331 h 505330"/>
              <a:gd name="connsiteX202" fmla="*/ 2843235 w 5487431"/>
              <a:gd name="connsiteY202" fmla="*/ 449403 h 505330"/>
              <a:gd name="connsiteX203" fmla="*/ 2885097 w 5487431"/>
              <a:gd name="connsiteY203" fmla="*/ 494315 h 505330"/>
              <a:gd name="connsiteX204" fmla="*/ 2994606 w 5487431"/>
              <a:gd name="connsiteY204" fmla="*/ 494315 h 505330"/>
              <a:gd name="connsiteX205" fmla="*/ 2994606 w 5487431"/>
              <a:gd name="connsiteY205" fmla="*/ 490831 h 505330"/>
              <a:gd name="connsiteX206" fmla="*/ 2905363 w 5487431"/>
              <a:gd name="connsiteY206" fmla="*/ 393474 h 505330"/>
              <a:gd name="connsiteX207" fmla="*/ 2964637 w 5487431"/>
              <a:gd name="connsiteY207" fmla="*/ 258833 h 505330"/>
              <a:gd name="connsiteX208" fmla="*/ 2873300 w 5487431"/>
              <a:gd name="connsiteY208" fmla="*/ 171174 h 505330"/>
              <a:gd name="connsiteX209" fmla="*/ 2789574 w 5487431"/>
              <a:gd name="connsiteY209" fmla="*/ 187745 h 505330"/>
              <a:gd name="connsiteX210" fmla="*/ 2788147 w 5487431"/>
              <a:gd name="connsiteY210" fmla="*/ 185015 h 505330"/>
              <a:gd name="connsiteX211" fmla="*/ 2863500 w 5487431"/>
              <a:gd name="connsiteY211" fmla="*/ 93873 h 505330"/>
              <a:gd name="connsiteX212" fmla="*/ 2732204 w 5487431"/>
              <a:gd name="connsiteY212" fmla="*/ 0 h 50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5487431" h="505330">
                <a:moveTo>
                  <a:pt x="542692" y="463149"/>
                </a:moveTo>
                <a:cubicBezTo>
                  <a:pt x="488937" y="463149"/>
                  <a:pt x="458967" y="412776"/>
                  <a:pt x="458967" y="321634"/>
                </a:cubicBezTo>
                <a:cubicBezTo>
                  <a:pt x="458967" y="229080"/>
                  <a:pt x="488937" y="180119"/>
                  <a:pt x="542692" y="180119"/>
                </a:cubicBezTo>
                <a:cubicBezTo>
                  <a:pt x="596448" y="180119"/>
                  <a:pt x="626417" y="229833"/>
                  <a:pt x="626417" y="321634"/>
                </a:cubicBezTo>
                <a:cubicBezTo>
                  <a:pt x="626322" y="414189"/>
                  <a:pt x="596352" y="463149"/>
                  <a:pt x="542692" y="463149"/>
                </a:cubicBezTo>
                <a:moveTo>
                  <a:pt x="542692" y="142174"/>
                </a:moveTo>
                <a:cubicBezTo>
                  <a:pt x="433183" y="142174"/>
                  <a:pt x="372482" y="222959"/>
                  <a:pt x="372482" y="321634"/>
                </a:cubicBezTo>
                <a:cubicBezTo>
                  <a:pt x="372482" y="420309"/>
                  <a:pt x="433183" y="501094"/>
                  <a:pt x="542692" y="501094"/>
                </a:cubicBezTo>
                <a:cubicBezTo>
                  <a:pt x="652201" y="501094"/>
                  <a:pt x="712902" y="420309"/>
                  <a:pt x="712902" y="321634"/>
                </a:cubicBezTo>
                <a:cubicBezTo>
                  <a:pt x="712902" y="222959"/>
                  <a:pt x="652201" y="142174"/>
                  <a:pt x="542692" y="142174"/>
                </a:cubicBezTo>
                <a:moveTo>
                  <a:pt x="1303641" y="142174"/>
                </a:moveTo>
                <a:cubicBezTo>
                  <a:pt x="1251979" y="142174"/>
                  <a:pt x="1223436" y="164301"/>
                  <a:pt x="1207357" y="192547"/>
                </a:cubicBezTo>
                <a:lnTo>
                  <a:pt x="1203170" y="192547"/>
                </a:lnTo>
                <a:lnTo>
                  <a:pt x="1203170" y="149048"/>
                </a:lnTo>
                <a:lnTo>
                  <a:pt x="1120872" y="149048"/>
                </a:lnTo>
                <a:lnTo>
                  <a:pt x="1120872" y="494221"/>
                </a:lnTo>
                <a:lnTo>
                  <a:pt x="1203170" y="494221"/>
                </a:lnTo>
                <a:lnTo>
                  <a:pt x="1203170" y="271261"/>
                </a:lnTo>
                <a:cubicBezTo>
                  <a:pt x="1203170" y="220229"/>
                  <a:pt x="1229715" y="190476"/>
                  <a:pt x="1272244" y="190476"/>
                </a:cubicBezTo>
                <a:cubicBezTo>
                  <a:pt x="1313440" y="190476"/>
                  <a:pt x="1331518" y="217404"/>
                  <a:pt x="1331518" y="258173"/>
                </a:cubicBezTo>
                <a:lnTo>
                  <a:pt x="1331518" y="494221"/>
                </a:lnTo>
                <a:lnTo>
                  <a:pt x="1413816" y="494221"/>
                </a:lnTo>
                <a:lnTo>
                  <a:pt x="1413816" y="257420"/>
                </a:lnTo>
                <a:cubicBezTo>
                  <a:pt x="1413911" y="186333"/>
                  <a:pt x="1376234" y="142174"/>
                  <a:pt x="1303641" y="142174"/>
                </a:cubicBezTo>
                <a:moveTo>
                  <a:pt x="1600771" y="142174"/>
                </a:moveTo>
                <a:cubicBezTo>
                  <a:pt x="1524752" y="142174"/>
                  <a:pt x="1467571" y="173905"/>
                  <a:pt x="1467571" y="241602"/>
                </a:cubicBezTo>
                <a:cubicBezTo>
                  <a:pt x="1467571" y="298943"/>
                  <a:pt x="1507341" y="330014"/>
                  <a:pt x="1551962" y="341030"/>
                </a:cubicBezTo>
                <a:lnTo>
                  <a:pt x="1621702" y="358260"/>
                </a:lnTo>
                <a:cubicBezTo>
                  <a:pt x="1658712" y="367205"/>
                  <a:pt x="1675457" y="380387"/>
                  <a:pt x="1675457" y="409387"/>
                </a:cubicBezTo>
                <a:cubicBezTo>
                  <a:pt x="1675457" y="444601"/>
                  <a:pt x="1650340" y="464656"/>
                  <a:pt x="1606384" y="464656"/>
                </a:cubicBezTo>
                <a:cubicBezTo>
                  <a:pt x="1558908" y="464656"/>
                  <a:pt x="1534551" y="441870"/>
                  <a:pt x="1526845" y="384624"/>
                </a:cubicBezTo>
                <a:lnTo>
                  <a:pt x="1452919" y="405338"/>
                </a:lnTo>
                <a:cubicBezTo>
                  <a:pt x="1457106" y="464750"/>
                  <a:pt x="1512954" y="501282"/>
                  <a:pt x="1597345" y="501282"/>
                </a:cubicBezTo>
                <a:cubicBezTo>
                  <a:pt x="1691536" y="501282"/>
                  <a:pt x="1742438" y="457782"/>
                  <a:pt x="1742438" y="388767"/>
                </a:cubicBezTo>
                <a:cubicBezTo>
                  <a:pt x="1742438" y="323894"/>
                  <a:pt x="1697055" y="296965"/>
                  <a:pt x="1649674" y="285196"/>
                </a:cubicBezTo>
                <a:lnTo>
                  <a:pt x="1582693" y="268625"/>
                </a:lnTo>
                <a:cubicBezTo>
                  <a:pt x="1549203" y="260339"/>
                  <a:pt x="1534551" y="245180"/>
                  <a:pt x="1534551" y="223054"/>
                </a:cubicBezTo>
                <a:cubicBezTo>
                  <a:pt x="1534551" y="195466"/>
                  <a:pt x="1558242" y="178895"/>
                  <a:pt x="1593825" y="178895"/>
                </a:cubicBezTo>
                <a:cubicBezTo>
                  <a:pt x="1635688" y="178895"/>
                  <a:pt x="1661471" y="201680"/>
                  <a:pt x="1664992" y="245180"/>
                </a:cubicBezTo>
                <a:lnTo>
                  <a:pt x="1734731" y="224466"/>
                </a:lnTo>
                <a:cubicBezTo>
                  <a:pt x="1726358" y="175976"/>
                  <a:pt x="1678216" y="142174"/>
                  <a:pt x="1600771" y="142174"/>
                </a:cubicBezTo>
                <a:moveTo>
                  <a:pt x="1946803" y="463149"/>
                </a:moveTo>
                <a:cubicBezTo>
                  <a:pt x="1893048" y="463149"/>
                  <a:pt x="1863078" y="412776"/>
                  <a:pt x="1863078" y="321634"/>
                </a:cubicBezTo>
                <a:cubicBezTo>
                  <a:pt x="1863078" y="229080"/>
                  <a:pt x="1893048" y="180119"/>
                  <a:pt x="1946803" y="180119"/>
                </a:cubicBezTo>
                <a:cubicBezTo>
                  <a:pt x="2000559" y="180119"/>
                  <a:pt x="2030529" y="229833"/>
                  <a:pt x="2030529" y="321634"/>
                </a:cubicBezTo>
                <a:cubicBezTo>
                  <a:pt x="2030529" y="414189"/>
                  <a:pt x="2000464" y="463149"/>
                  <a:pt x="1946803" y="463149"/>
                </a:cubicBezTo>
                <a:moveTo>
                  <a:pt x="1946803" y="142174"/>
                </a:moveTo>
                <a:cubicBezTo>
                  <a:pt x="1837294" y="142174"/>
                  <a:pt x="1776594" y="222959"/>
                  <a:pt x="1776594" y="321634"/>
                </a:cubicBezTo>
                <a:cubicBezTo>
                  <a:pt x="1776594" y="420309"/>
                  <a:pt x="1837294" y="501094"/>
                  <a:pt x="1946803" y="501094"/>
                </a:cubicBezTo>
                <a:cubicBezTo>
                  <a:pt x="2056312" y="501094"/>
                  <a:pt x="2117013" y="420309"/>
                  <a:pt x="2117013" y="321634"/>
                </a:cubicBezTo>
                <a:cubicBezTo>
                  <a:pt x="2117013" y="222959"/>
                  <a:pt x="2056312" y="142174"/>
                  <a:pt x="1946803" y="142174"/>
                </a:cubicBezTo>
                <a:moveTo>
                  <a:pt x="2348590" y="142174"/>
                </a:moveTo>
                <a:cubicBezTo>
                  <a:pt x="2296927" y="142174"/>
                  <a:pt x="2268385" y="164301"/>
                  <a:pt x="2252306" y="192547"/>
                </a:cubicBezTo>
                <a:lnTo>
                  <a:pt x="2248119" y="192547"/>
                </a:lnTo>
                <a:lnTo>
                  <a:pt x="2248119" y="149048"/>
                </a:lnTo>
                <a:lnTo>
                  <a:pt x="2165821" y="149048"/>
                </a:lnTo>
                <a:lnTo>
                  <a:pt x="2165821" y="494221"/>
                </a:lnTo>
                <a:lnTo>
                  <a:pt x="2248119" y="494221"/>
                </a:lnTo>
                <a:lnTo>
                  <a:pt x="2248119" y="271261"/>
                </a:lnTo>
                <a:cubicBezTo>
                  <a:pt x="2248119" y="220229"/>
                  <a:pt x="2274664" y="190476"/>
                  <a:pt x="2317193" y="190476"/>
                </a:cubicBezTo>
                <a:cubicBezTo>
                  <a:pt x="2358389" y="190476"/>
                  <a:pt x="2376466" y="217404"/>
                  <a:pt x="2376466" y="258173"/>
                </a:cubicBezTo>
                <a:lnTo>
                  <a:pt x="2376466" y="494221"/>
                </a:lnTo>
                <a:lnTo>
                  <a:pt x="2458764" y="494221"/>
                </a:lnTo>
                <a:lnTo>
                  <a:pt x="2458764" y="257420"/>
                </a:lnTo>
                <a:cubicBezTo>
                  <a:pt x="2458764" y="186333"/>
                  <a:pt x="2421088" y="142174"/>
                  <a:pt x="2348590" y="142174"/>
                </a:cubicBezTo>
                <a:moveTo>
                  <a:pt x="3571359" y="463149"/>
                </a:moveTo>
                <a:cubicBezTo>
                  <a:pt x="3517604" y="463149"/>
                  <a:pt x="3487634" y="412776"/>
                  <a:pt x="3487634" y="321634"/>
                </a:cubicBezTo>
                <a:cubicBezTo>
                  <a:pt x="3487634" y="229080"/>
                  <a:pt x="3517604" y="180119"/>
                  <a:pt x="3571359" y="180119"/>
                </a:cubicBezTo>
                <a:cubicBezTo>
                  <a:pt x="3625115" y="180119"/>
                  <a:pt x="3655085" y="229833"/>
                  <a:pt x="3655085" y="321634"/>
                </a:cubicBezTo>
                <a:cubicBezTo>
                  <a:pt x="3655085" y="414189"/>
                  <a:pt x="3625020" y="463149"/>
                  <a:pt x="3571359" y="463149"/>
                </a:cubicBezTo>
                <a:moveTo>
                  <a:pt x="3571359" y="142174"/>
                </a:moveTo>
                <a:cubicBezTo>
                  <a:pt x="3461850" y="142174"/>
                  <a:pt x="3401150" y="222959"/>
                  <a:pt x="3401150" y="321634"/>
                </a:cubicBezTo>
                <a:cubicBezTo>
                  <a:pt x="3401150" y="420309"/>
                  <a:pt x="3461850" y="501094"/>
                  <a:pt x="3571359" y="501094"/>
                </a:cubicBezTo>
                <a:cubicBezTo>
                  <a:pt x="3680868" y="501094"/>
                  <a:pt x="3741569" y="420309"/>
                  <a:pt x="3741569" y="321634"/>
                </a:cubicBezTo>
                <a:cubicBezTo>
                  <a:pt x="3741569" y="222959"/>
                  <a:pt x="3680868" y="142174"/>
                  <a:pt x="3571359" y="142174"/>
                </a:cubicBezTo>
                <a:moveTo>
                  <a:pt x="4332308" y="142174"/>
                </a:moveTo>
                <a:cubicBezTo>
                  <a:pt x="4280646" y="142174"/>
                  <a:pt x="4252103" y="164301"/>
                  <a:pt x="4236024" y="192547"/>
                </a:cubicBezTo>
                <a:lnTo>
                  <a:pt x="4231838" y="192547"/>
                </a:lnTo>
                <a:lnTo>
                  <a:pt x="4231838" y="149048"/>
                </a:lnTo>
                <a:lnTo>
                  <a:pt x="4149539" y="149048"/>
                </a:lnTo>
                <a:lnTo>
                  <a:pt x="4149539" y="494221"/>
                </a:lnTo>
                <a:lnTo>
                  <a:pt x="4231838" y="494221"/>
                </a:lnTo>
                <a:lnTo>
                  <a:pt x="4231838" y="271261"/>
                </a:lnTo>
                <a:cubicBezTo>
                  <a:pt x="4231838" y="220229"/>
                  <a:pt x="4258383" y="190476"/>
                  <a:pt x="4300911" y="190476"/>
                </a:cubicBezTo>
                <a:cubicBezTo>
                  <a:pt x="4342108" y="190476"/>
                  <a:pt x="4360185" y="217404"/>
                  <a:pt x="4360185" y="258173"/>
                </a:cubicBezTo>
                <a:lnTo>
                  <a:pt x="4360185" y="494221"/>
                </a:lnTo>
                <a:lnTo>
                  <a:pt x="4442483" y="494221"/>
                </a:lnTo>
                <a:lnTo>
                  <a:pt x="4442483" y="257420"/>
                </a:lnTo>
                <a:cubicBezTo>
                  <a:pt x="4442578" y="186333"/>
                  <a:pt x="4404902" y="142174"/>
                  <a:pt x="4332308" y="142174"/>
                </a:cubicBezTo>
                <a:moveTo>
                  <a:pt x="4629533" y="142174"/>
                </a:moveTo>
                <a:cubicBezTo>
                  <a:pt x="4553514" y="142174"/>
                  <a:pt x="4496334" y="173905"/>
                  <a:pt x="4496334" y="241602"/>
                </a:cubicBezTo>
                <a:cubicBezTo>
                  <a:pt x="4496334" y="298943"/>
                  <a:pt x="4536103" y="330014"/>
                  <a:pt x="4580725" y="341030"/>
                </a:cubicBezTo>
                <a:lnTo>
                  <a:pt x="4650464" y="358260"/>
                </a:lnTo>
                <a:cubicBezTo>
                  <a:pt x="4687475" y="367205"/>
                  <a:pt x="4704220" y="380387"/>
                  <a:pt x="4704220" y="409387"/>
                </a:cubicBezTo>
                <a:cubicBezTo>
                  <a:pt x="4704220" y="444601"/>
                  <a:pt x="4679102" y="464656"/>
                  <a:pt x="4635146" y="464656"/>
                </a:cubicBezTo>
                <a:cubicBezTo>
                  <a:pt x="4587670" y="464656"/>
                  <a:pt x="4563314" y="441870"/>
                  <a:pt x="4555607" y="384624"/>
                </a:cubicBezTo>
                <a:lnTo>
                  <a:pt x="4481682" y="405338"/>
                </a:lnTo>
                <a:cubicBezTo>
                  <a:pt x="4485868" y="464750"/>
                  <a:pt x="4541716" y="501282"/>
                  <a:pt x="4626108" y="501282"/>
                </a:cubicBezTo>
                <a:cubicBezTo>
                  <a:pt x="4720299" y="501282"/>
                  <a:pt x="4771200" y="457782"/>
                  <a:pt x="4771200" y="388767"/>
                </a:cubicBezTo>
                <a:cubicBezTo>
                  <a:pt x="4771200" y="323894"/>
                  <a:pt x="4725817" y="296965"/>
                  <a:pt x="4678436" y="285196"/>
                </a:cubicBezTo>
                <a:lnTo>
                  <a:pt x="4611456" y="268625"/>
                </a:lnTo>
                <a:cubicBezTo>
                  <a:pt x="4577966" y="260339"/>
                  <a:pt x="4563314" y="245180"/>
                  <a:pt x="4563314" y="223054"/>
                </a:cubicBezTo>
                <a:cubicBezTo>
                  <a:pt x="4563314" y="195466"/>
                  <a:pt x="4587004" y="178895"/>
                  <a:pt x="4622588" y="178895"/>
                </a:cubicBezTo>
                <a:cubicBezTo>
                  <a:pt x="4664450" y="178895"/>
                  <a:pt x="4690234" y="201680"/>
                  <a:pt x="4693754" y="245180"/>
                </a:cubicBezTo>
                <a:lnTo>
                  <a:pt x="4763493" y="224466"/>
                </a:lnTo>
                <a:cubicBezTo>
                  <a:pt x="4755026" y="175976"/>
                  <a:pt x="4706884" y="142174"/>
                  <a:pt x="4629533" y="142174"/>
                </a:cubicBezTo>
                <a:moveTo>
                  <a:pt x="4975471" y="463149"/>
                </a:moveTo>
                <a:cubicBezTo>
                  <a:pt x="4921715" y="463149"/>
                  <a:pt x="4891745" y="412776"/>
                  <a:pt x="4891745" y="321634"/>
                </a:cubicBezTo>
                <a:cubicBezTo>
                  <a:pt x="4891745" y="229080"/>
                  <a:pt x="4921715" y="180119"/>
                  <a:pt x="4975471" y="180119"/>
                </a:cubicBezTo>
                <a:cubicBezTo>
                  <a:pt x="5029226" y="180119"/>
                  <a:pt x="5059196" y="229833"/>
                  <a:pt x="5059196" y="321634"/>
                </a:cubicBezTo>
                <a:cubicBezTo>
                  <a:pt x="5059196" y="414189"/>
                  <a:pt x="5029131" y="463149"/>
                  <a:pt x="4975471" y="463149"/>
                </a:cubicBezTo>
                <a:moveTo>
                  <a:pt x="4975471" y="142174"/>
                </a:moveTo>
                <a:cubicBezTo>
                  <a:pt x="4865962" y="142174"/>
                  <a:pt x="4805261" y="222959"/>
                  <a:pt x="4805261" y="321634"/>
                </a:cubicBezTo>
                <a:cubicBezTo>
                  <a:pt x="4805261" y="420309"/>
                  <a:pt x="4865962" y="501094"/>
                  <a:pt x="4975471" y="501094"/>
                </a:cubicBezTo>
                <a:cubicBezTo>
                  <a:pt x="5084980" y="501094"/>
                  <a:pt x="5145680" y="420309"/>
                  <a:pt x="5145680" y="321634"/>
                </a:cubicBezTo>
                <a:cubicBezTo>
                  <a:pt x="5145680" y="222959"/>
                  <a:pt x="5084980" y="142174"/>
                  <a:pt x="4975471" y="142174"/>
                </a:cubicBezTo>
                <a:moveTo>
                  <a:pt x="5377257" y="142174"/>
                </a:moveTo>
                <a:cubicBezTo>
                  <a:pt x="5325595" y="142174"/>
                  <a:pt x="5297052" y="164301"/>
                  <a:pt x="5280973" y="192547"/>
                </a:cubicBezTo>
                <a:lnTo>
                  <a:pt x="5276787" y="192547"/>
                </a:lnTo>
                <a:lnTo>
                  <a:pt x="5276787" y="149048"/>
                </a:lnTo>
                <a:lnTo>
                  <a:pt x="5194488" y="149048"/>
                </a:lnTo>
                <a:lnTo>
                  <a:pt x="5194488" y="494221"/>
                </a:lnTo>
                <a:lnTo>
                  <a:pt x="5276787" y="494221"/>
                </a:lnTo>
                <a:lnTo>
                  <a:pt x="5276787" y="271261"/>
                </a:lnTo>
                <a:cubicBezTo>
                  <a:pt x="5276787" y="220229"/>
                  <a:pt x="5303331" y="190476"/>
                  <a:pt x="5345860" y="190476"/>
                </a:cubicBezTo>
                <a:cubicBezTo>
                  <a:pt x="5387057" y="190476"/>
                  <a:pt x="5405134" y="217404"/>
                  <a:pt x="5405134" y="258173"/>
                </a:cubicBezTo>
                <a:lnTo>
                  <a:pt x="5405134" y="494221"/>
                </a:lnTo>
                <a:lnTo>
                  <a:pt x="5487432" y="494221"/>
                </a:lnTo>
                <a:lnTo>
                  <a:pt x="5487432" y="257420"/>
                </a:lnTo>
                <a:cubicBezTo>
                  <a:pt x="5487432" y="186333"/>
                  <a:pt x="5449755" y="142174"/>
                  <a:pt x="5377257" y="142174"/>
                </a:cubicBezTo>
                <a:moveTo>
                  <a:pt x="323674" y="11016"/>
                </a:moveTo>
                <a:lnTo>
                  <a:pt x="237190" y="11016"/>
                </a:lnTo>
                <a:lnTo>
                  <a:pt x="237190" y="367864"/>
                </a:lnTo>
                <a:cubicBezTo>
                  <a:pt x="237190" y="425864"/>
                  <a:pt x="214831" y="460325"/>
                  <a:pt x="161837" y="460325"/>
                </a:cubicBezTo>
                <a:cubicBezTo>
                  <a:pt x="109509" y="460325"/>
                  <a:pt x="86484" y="423698"/>
                  <a:pt x="86484" y="360897"/>
                </a:cubicBezTo>
                <a:lnTo>
                  <a:pt x="86484" y="294612"/>
                </a:lnTo>
                <a:lnTo>
                  <a:pt x="0" y="315985"/>
                </a:lnTo>
                <a:lnTo>
                  <a:pt x="0" y="345644"/>
                </a:lnTo>
                <a:cubicBezTo>
                  <a:pt x="0" y="436033"/>
                  <a:pt x="45383" y="505143"/>
                  <a:pt x="161837" y="505143"/>
                </a:cubicBezTo>
                <a:cubicBezTo>
                  <a:pt x="278291" y="505143"/>
                  <a:pt x="323674" y="436127"/>
                  <a:pt x="323674" y="345644"/>
                </a:cubicBezTo>
                <a:lnTo>
                  <a:pt x="323674" y="11016"/>
                </a:lnTo>
                <a:moveTo>
                  <a:pt x="844008" y="11016"/>
                </a:moveTo>
                <a:lnTo>
                  <a:pt x="761710" y="11016"/>
                </a:lnTo>
                <a:lnTo>
                  <a:pt x="761710" y="494221"/>
                </a:lnTo>
                <a:lnTo>
                  <a:pt x="844008" y="494221"/>
                </a:lnTo>
                <a:lnTo>
                  <a:pt x="844008" y="271261"/>
                </a:lnTo>
                <a:cubicBezTo>
                  <a:pt x="844008" y="220229"/>
                  <a:pt x="870553" y="190476"/>
                  <a:pt x="913081" y="190476"/>
                </a:cubicBezTo>
                <a:cubicBezTo>
                  <a:pt x="954278" y="190476"/>
                  <a:pt x="972355" y="217404"/>
                  <a:pt x="972355" y="258173"/>
                </a:cubicBezTo>
                <a:lnTo>
                  <a:pt x="972355" y="494221"/>
                </a:lnTo>
                <a:lnTo>
                  <a:pt x="1054653" y="494221"/>
                </a:lnTo>
                <a:lnTo>
                  <a:pt x="1054653" y="257420"/>
                </a:lnTo>
                <a:cubicBezTo>
                  <a:pt x="1054653" y="186333"/>
                  <a:pt x="1016977" y="142174"/>
                  <a:pt x="944478" y="142174"/>
                </a:cubicBezTo>
                <a:cubicBezTo>
                  <a:pt x="892816" y="142174"/>
                  <a:pt x="864273" y="164301"/>
                  <a:pt x="848194" y="192547"/>
                </a:cubicBezTo>
                <a:lnTo>
                  <a:pt x="844008" y="192547"/>
                </a:lnTo>
                <a:lnTo>
                  <a:pt x="844008" y="11016"/>
                </a:lnTo>
                <a:moveTo>
                  <a:pt x="3352342" y="11016"/>
                </a:moveTo>
                <a:lnTo>
                  <a:pt x="3265857" y="11016"/>
                </a:lnTo>
                <a:lnTo>
                  <a:pt x="3265857" y="367864"/>
                </a:lnTo>
                <a:cubicBezTo>
                  <a:pt x="3265857" y="425864"/>
                  <a:pt x="3243499" y="460325"/>
                  <a:pt x="3190504" y="460325"/>
                </a:cubicBezTo>
                <a:cubicBezTo>
                  <a:pt x="3138176" y="460325"/>
                  <a:pt x="3115152" y="423698"/>
                  <a:pt x="3115152" y="360897"/>
                </a:cubicBezTo>
                <a:lnTo>
                  <a:pt x="3115152" y="294612"/>
                </a:lnTo>
                <a:lnTo>
                  <a:pt x="3028667" y="315985"/>
                </a:lnTo>
                <a:lnTo>
                  <a:pt x="3028667" y="345644"/>
                </a:lnTo>
                <a:cubicBezTo>
                  <a:pt x="3028667" y="436033"/>
                  <a:pt x="3074050" y="505143"/>
                  <a:pt x="3190504" y="505143"/>
                </a:cubicBezTo>
                <a:cubicBezTo>
                  <a:pt x="3306959" y="505143"/>
                  <a:pt x="3352342" y="436127"/>
                  <a:pt x="3352342" y="345644"/>
                </a:cubicBezTo>
                <a:lnTo>
                  <a:pt x="3352342" y="11016"/>
                </a:lnTo>
                <a:moveTo>
                  <a:pt x="3872675" y="11016"/>
                </a:moveTo>
                <a:lnTo>
                  <a:pt x="3790377" y="11016"/>
                </a:lnTo>
                <a:lnTo>
                  <a:pt x="3790377" y="494221"/>
                </a:lnTo>
                <a:lnTo>
                  <a:pt x="3872675" y="494221"/>
                </a:lnTo>
                <a:lnTo>
                  <a:pt x="3872675" y="271261"/>
                </a:lnTo>
                <a:cubicBezTo>
                  <a:pt x="3872675" y="220229"/>
                  <a:pt x="3899220" y="190476"/>
                  <a:pt x="3941749" y="190476"/>
                </a:cubicBezTo>
                <a:cubicBezTo>
                  <a:pt x="3982945" y="190476"/>
                  <a:pt x="4001022" y="217404"/>
                  <a:pt x="4001022" y="258173"/>
                </a:cubicBezTo>
                <a:lnTo>
                  <a:pt x="4001022" y="494221"/>
                </a:lnTo>
                <a:lnTo>
                  <a:pt x="4083320" y="494221"/>
                </a:lnTo>
                <a:lnTo>
                  <a:pt x="4083320" y="257420"/>
                </a:lnTo>
                <a:cubicBezTo>
                  <a:pt x="4083320" y="186333"/>
                  <a:pt x="4045644" y="142174"/>
                  <a:pt x="3973146" y="142174"/>
                </a:cubicBezTo>
                <a:cubicBezTo>
                  <a:pt x="3921483" y="142174"/>
                  <a:pt x="3892941" y="164301"/>
                  <a:pt x="3876861" y="192547"/>
                </a:cubicBezTo>
                <a:lnTo>
                  <a:pt x="3872675" y="192547"/>
                </a:lnTo>
                <a:lnTo>
                  <a:pt x="3872675" y="11016"/>
                </a:lnTo>
                <a:moveTo>
                  <a:pt x="2730110" y="454864"/>
                </a:moveTo>
                <a:cubicBezTo>
                  <a:pt x="2663130" y="454864"/>
                  <a:pt x="2622029" y="401007"/>
                  <a:pt x="2622029" y="343761"/>
                </a:cubicBezTo>
                <a:cubicBezTo>
                  <a:pt x="2622029" y="307887"/>
                  <a:pt x="2638108" y="274745"/>
                  <a:pt x="2664557" y="256102"/>
                </a:cubicBezTo>
                <a:lnTo>
                  <a:pt x="2822208" y="426617"/>
                </a:lnTo>
                <a:cubicBezTo>
                  <a:pt x="2792904" y="443848"/>
                  <a:pt x="2760080" y="454864"/>
                  <a:pt x="2730110" y="454864"/>
                </a:cubicBezTo>
                <a:moveTo>
                  <a:pt x="2883575" y="369936"/>
                </a:moveTo>
                <a:lnTo>
                  <a:pt x="2746856" y="220794"/>
                </a:lnTo>
                <a:cubicBezTo>
                  <a:pt x="2771307" y="211096"/>
                  <a:pt x="2794998" y="207706"/>
                  <a:pt x="2814502" y="207706"/>
                </a:cubicBezTo>
                <a:cubicBezTo>
                  <a:pt x="2871016" y="207706"/>
                  <a:pt x="2905838" y="240190"/>
                  <a:pt x="2905838" y="296118"/>
                </a:cubicBezTo>
                <a:cubicBezTo>
                  <a:pt x="2905934" y="320975"/>
                  <a:pt x="2898893" y="346491"/>
                  <a:pt x="2883575" y="369936"/>
                </a:cubicBezTo>
                <a:moveTo>
                  <a:pt x="2728017" y="200833"/>
                </a:moveTo>
                <a:lnTo>
                  <a:pt x="2698047" y="167690"/>
                </a:lnTo>
                <a:cubicBezTo>
                  <a:pt x="2671503" y="138691"/>
                  <a:pt x="2663891" y="120707"/>
                  <a:pt x="2663891" y="99334"/>
                </a:cubicBezTo>
                <a:cubicBezTo>
                  <a:pt x="2663891" y="59318"/>
                  <a:pt x="2689675" y="36532"/>
                  <a:pt x="2730110" y="36532"/>
                </a:cubicBezTo>
                <a:cubicBezTo>
                  <a:pt x="2771307" y="36532"/>
                  <a:pt x="2795664" y="59977"/>
                  <a:pt x="2795664" y="102817"/>
                </a:cubicBezTo>
                <a:cubicBezTo>
                  <a:pt x="2795664" y="142174"/>
                  <a:pt x="2776159" y="179460"/>
                  <a:pt x="2728017" y="200833"/>
                </a:cubicBezTo>
                <a:moveTo>
                  <a:pt x="2732204" y="0"/>
                </a:moveTo>
                <a:cubicBezTo>
                  <a:pt x="2635920" y="0"/>
                  <a:pt x="2588539" y="53198"/>
                  <a:pt x="2588539" y="119389"/>
                </a:cubicBezTo>
                <a:cubicBezTo>
                  <a:pt x="2588539" y="155262"/>
                  <a:pt x="2603857" y="191229"/>
                  <a:pt x="2644387" y="234635"/>
                </a:cubicBezTo>
                <a:lnTo>
                  <a:pt x="2645053" y="236047"/>
                </a:lnTo>
                <a:cubicBezTo>
                  <a:pt x="2576741" y="268531"/>
                  <a:pt x="2545344" y="320975"/>
                  <a:pt x="2545344" y="374832"/>
                </a:cubicBezTo>
                <a:cubicBezTo>
                  <a:pt x="2545344" y="445919"/>
                  <a:pt x="2600432" y="505331"/>
                  <a:pt x="2685584" y="505331"/>
                </a:cubicBezTo>
                <a:cubicBezTo>
                  <a:pt x="2734392" y="505331"/>
                  <a:pt x="2791573" y="485276"/>
                  <a:pt x="2843235" y="449403"/>
                </a:cubicBezTo>
                <a:lnTo>
                  <a:pt x="2885097" y="494315"/>
                </a:lnTo>
                <a:lnTo>
                  <a:pt x="2994606" y="494315"/>
                </a:lnTo>
                <a:lnTo>
                  <a:pt x="2994606" y="490831"/>
                </a:lnTo>
                <a:lnTo>
                  <a:pt x="2905363" y="393474"/>
                </a:lnTo>
                <a:cubicBezTo>
                  <a:pt x="2943039" y="349316"/>
                  <a:pt x="2964637" y="301014"/>
                  <a:pt x="2964637" y="258833"/>
                </a:cubicBezTo>
                <a:cubicBezTo>
                  <a:pt x="2964637" y="206388"/>
                  <a:pt x="2929053" y="171174"/>
                  <a:pt x="2873300" y="171174"/>
                </a:cubicBezTo>
                <a:cubicBezTo>
                  <a:pt x="2843996" y="171174"/>
                  <a:pt x="2811172" y="179460"/>
                  <a:pt x="2789574" y="187745"/>
                </a:cubicBezTo>
                <a:lnTo>
                  <a:pt x="2788147" y="185015"/>
                </a:lnTo>
                <a:cubicBezTo>
                  <a:pt x="2841142" y="156674"/>
                  <a:pt x="2863500" y="130499"/>
                  <a:pt x="2863500" y="93873"/>
                </a:cubicBezTo>
                <a:cubicBezTo>
                  <a:pt x="2863310" y="41428"/>
                  <a:pt x="2815929" y="0"/>
                  <a:pt x="2732204" y="0"/>
                </a:cubicBezTo>
              </a:path>
            </a:pathLst>
          </a:custGeom>
          <a:solidFill>
            <a:schemeClr val="bg1"/>
          </a:solidFill>
          <a:ln w="9509" cap="flat">
            <a:noFill/>
            <a:prstDash val="solid"/>
            <a:miter/>
          </a:ln>
        </p:spPr>
        <p:txBody>
          <a:bodyPr rtlCol="0" anchor="ctr"/>
          <a:lstStyle/>
          <a:p>
            <a:endParaRPr lang="en-GB"/>
          </a:p>
        </p:txBody>
      </p:sp>
    </p:spTree>
    <p:extLst>
      <p:ext uri="{BB962C8B-B14F-4D97-AF65-F5344CB8AC3E}">
        <p14:creationId xmlns:p14="http://schemas.microsoft.com/office/powerpoint/2010/main" val="36495031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Panel Images - Long titles ">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F71E3-AC39-2207-0CC4-1E2486610795}"/>
              </a:ext>
            </a:extLst>
          </p:cNvPr>
          <p:cNvSpPr>
            <a:spLocks noGrp="1"/>
          </p:cNvSpPr>
          <p:nvPr>
            <p:ph type="ctrTitle" hasCustomPrompt="1"/>
          </p:nvPr>
        </p:nvSpPr>
        <p:spPr>
          <a:xfrm>
            <a:off x="285979" y="266955"/>
            <a:ext cx="8518155" cy="2946145"/>
          </a:xfrm>
        </p:spPr>
        <p:txBody>
          <a:bodyPr wrap="square" anchor="t">
            <a:normAutofit/>
          </a:bodyPr>
          <a:lstStyle>
            <a:lvl1pPr algn="l">
              <a:lnSpc>
                <a:spcPct val="80000"/>
              </a:lnSpc>
              <a:defRPr sz="7000" b="0" i="0" spc="0" baseline="0">
                <a:solidFill>
                  <a:schemeClr val="bg1"/>
                </a:solidFill>
                <a:latin typeface="+mj-lt"/>
              </a:defRPr>
            </a:lvl1pPr>
          </a:lstStyle>
          <a:p>
            <a:r>
              <a:rPr lang="en-GB"/>
              <a:t>Longer titles will shrink automatically</a:t>
            </a:r>
            <a:br>
              <a:rPr lang="en-GB"/>
            </a:br>
            <a:endParaRPr lang="en-GB"/>
          </a:p>
        </p:txBody>
      </p:sp>
      <p:sp>
        <p:nvSpPr>
          <p:cNvPr id="9" name="Subtitle 2">
            <a:extLst>
              <a:ext uri="{FF2B5EF4-FFF2-40B4-BE49-F238E27FC236}">
                <a16:creationId xmlns:a16="http://schemas.microsoft.com/office/drawing/2014/main" id="{52CA5BFA-B5A6-B786-4C05-6FD9C9E49AB2}"/>
              </a:ext>
            </a:extLst>
          </p:cNvPr>
          <p:cNvSpPr>
            <a:spLocks noGrp="1"/>
          </p:cNvSpPr>
          <p:nvPr>
            <p:ph type="subTitle" idx="1" hasCustomPrompt="1"/>
          </p:nvPr>
        </p:nvSpPr>
        <p:spPr>
          <a:xfrm>
            <a:off x="284806" y="4889500"/>
            <a:ext cx="2795587" cy="865834"/>
          </a:xfrm>
        </p:spPr>
        <p:txBody>
          <a:bodyPr anchor="b"/>
          <a:lstStyle>
            <a:lvl1pPr marL="0" indent="0" algn="l">
              <a:lnSpc>
                <a:spcPct val="100000"/>
              </a:lnSpc>
              <a:spcBef>
                <a:spcPts val="0"/>
              </a:spcBef>
              <a:spcAft>
                <a:spcPts val="0"/>
              </a:spcAft>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pporting details. Delete if not required.</a:t>
            </a:r>
          </a:p>
        </p:txBody>
      </p:sp>
      <p:sp>
        <p:nvSpPr>
          <p:cNvPr id="5" name="Picture Placeholder 3">
            <a:extLst>
              <a:ext uri="{FF2B5EF4-FFF2-40B4-BE49-F238E27FC236}">
                <a16:creationId xmlns:a16="http://schemas.microsoft.com/office/drawing/2014/main" id="{12805BBD-74C7-DA61-6F6B-3B684DEF9D0F}"/>
              </a:ext>
            </a:extLst>
          </p:cNvPr>
          <p:cNvSpPr txBox="1">
            <a:spLocks/>
          </p:cNvSpPr>
          <p:nvPr userDrawn="1"/>
        </p:nvSpPr>
        <p:spPr>
          <a:xfrm>
            <a:off x="9150578" y="1"/>
            <a:ext cx="3041422" cy="3428999"/>
          </a:xfrm>
          <a:prstGeom prst="rect">
            <a:avLst/>
          </a:prstGeom>
          <a:solidFill>
            <a:srgbClr val="F6F3F2"/>
          </a:solidFill>
        </p:spPr>
        <p:txBody>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lang="en-US" sz="1800" b="0" i="0" kern="1200" dirty="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8568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a:lstStyle>
          <a:p>
            <a:pPr>
              <a:defRPr/>
            </a:pPr>
            <a:r>
              <a:rPr lang="en-US"/>
              <a:t>Click the icon to add a photo or illustration.</a:t>
            </a:r>
          </a:p>
        </p:txBody>
      </p:sp>
      <p:sp>
        <p:nvSpPr>
          <p:cNvPr id="6" name="Picture Placeholder 3">
            <a:extLst>
              <a:ext uri="{FF2B5EF4-FFF2-40B4-BE49-F238E27FC236}">
                <a16:creationId xmlns:a16="http://schemas.microsoft.com/office/drawing/2014/main" id="{1CA0C032-7A97-1BEF-7516-760655826D94}"/>
              </a:ext>
            </a:extLst>
          </p:cNvPr>
          <p:cNvSpPr txBox="1">
            <a:spLocks/>
          </p:cNvSpPr>
          <p:nvPr userDrawn="1"/>
        </p:nvSpPr>
        <p:spPr>
          <a:xfrm>
            <a:off x="5083403" y="3429000"/>
            <a:ext cx="3041422" cy="2479675"/>
          </a:xfrm>
          <a:prstGeom prst="rect">
            <a:avLst/>
          </a:prstGeom>
          <a:solidFill>
            <a:srgbClr val="F6F3F2"/>
          </a:solidFill>
        </p:spPr>
        <p:txBody>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lang="en-US" sz="1800" b="0" i="0" kern="1200" dirty="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8568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a:lstStyle>
          <a:p>
            <a:pPr>
              <a:defRPr/>
            </a:pPr>
            <a:r>
              <a:rPr lang="en-US"/>
              <a:t>Click the icon to add a photo or illustration.</a:t>
            </a:r>
          </a:p>
        </p:txBody>
      </p:sp>
      <p:sp>
        <p:nvSpPr>
          <p:cNvPr id="7" name="Graphic 2">
            <a:extLst>
              <a:ext uri="{FF2B5EF4-FFF2-40B4-BE49-F238E27FC236}">
                <a16:creationId xmlns:a16="http://schemas.microsoft.com/office/drawing/2014/main" id="{76E2EBF3-E47D-58C8-6929-CAE0CAEF897D}"/>
              </a:ext>
            </a:extLst>
          </p:cNvPr>
          <p:cNvSpPr>
            <a:spLocks noChangeAspect="1"/>
          </p:cNvSpPr>
          <p:nvPr userDrawn="1"/>
        </p:nvSpPr>
        <p:spPr>
          <a:xfrm>
            <a:off x="290513" y="6377853"/>
            <a:ext cx="2034000" cy="187309"/>
          </a:xfrm>
          <a:custGeom>
            <a:avLst/>
            <a:gdLst>
              <a:gd name="connsiteX0" fmla="*/ 542692 w 5487431"/>
              <a:gd name="connsiteY0" fmla="*/ 463149 h 505330"/>
              <a:gd name="connsiteX1" fmla="*/ 458967 w 5487431"/>
              <a:gd name="connsiteY1" fmla="*/ 321634 h 505330"/>
              <a:gd name="connsiteX2" fmla="*/ 542692 w 5487431"/>
              <a:gd name="connsiteY2" fmla="*/ 180119 h 505330"/>
              <a:gd name="connsiteX3" fmla="*/ 626417 w 5487431"/>
              <a:gd name="connsiteY3" fmla="*/ 321634 h 505330"/>
              <a:gd name="connsiteX4" fmla="*/ 542692 w 5487431"/>
              <a:gd name="connsiteY4" fmla="*/ 463149 h 505330"/>
              <a:gd name="connsiteX5" fmla="*/ 542692 w 5487431"/>
              <a:gd name="connsiteY5" fmla="*/ 142174 h 505330"/>
              <a:gd name="connsiteX6" fmla="*/ 372482 w 5487431"/>
              <a:gd name="connsiteY6" fmla="*/ 321634 h 505330"/>
              <a:gd name="connsiteX7" fmla="*/ 542692 w 5487431"/>
              <a:gd name="connsiteY7" fmla="*/ 501094 h 505330"/>
              <a:gd name="connsiteX8" fmla="*/ 712902 w 5487431"/>
              <a:gd name="connsiteY8" fmla="*/ 321634 h 505330"/>
              <a:gd name="connsiteX9" fmla="*/ 542692 w 5487431"/>
              <a:gd name="connsiteY9" fmla="*/ 142174 h 505330"/>
              <a:gd name="connsiteX10" fmla="*/ 1303641 w 5487431"/>
              <a:gd name="connsiteY10" fmla="*/ 142174 h 505330"/>
              <a:gd name="connsiteX11" fmla="*/ 1207357 w 5487431"/>
              <a:gd name="connsiteY11" fmla="*/ 192547 h 505330"/>
              <a:gd name="connsiteX12" fmla="*/ 1203170 w 5487431"/>
              <a:gd name="connsiteY12" fmla="*/ 192547 h 505330"/>
              <a:gd name="connsiteX13" fmla="*/ 1203170 w 5487431"/>
              <a:gd name="connsiteY13" fmla="*/ 149048 h 505330"/>
              <a:gd name="connsiteX14" fmla="*/ 1120872 w 5487431"/>
              <a:gd name="connsiteY14" fmla="*/ 149048 h 505330"/>
              <a:gd name="connsiteX15" fmla="*/ 1120872 w 5487431"/>
              <a:gd name="connsiteY15" fmla="*/ 494221 h 505330"/>
              <a:gd name="connsiteX16" fmla="*/ 1203170 w 5487431"/>
              <a:gd name="connsiteY16" fmla="*/ 494221 h 505330"/>
              <a:gd name="connsiteX17" fmla="*/ 1203170 w 5487431"/>
              <a:gd name="connsiteY17" fmla="*/ 271261 h 505330"/>
              <a:gd name="connsiteX18" fmla="*/ 1272244 w 5487431"/>
              <a:gd name="connsiteY18" fmla="*/ 190476 h 505330"/>
              <a:gd name="connsiteX19" fmla="*/ 1331518 w 5487431"/>
              <a:gd name="connsiteY19" fmla="*/ 258173 h 505330"/>
              <a:gd name="connsiteX20" fmla="*/ 1331518 w 5487431"/>
              <a:gd name="connsiteY20" fmla="*/ 494221 h 505330"/>
              <a:gd name="connsiteX21" fmla="*/ 1413816 w 5487431"/>
              <a:gd name="connsiteY21" fmla="*/ 494221 h 505330"/>
              <a:gd name="connsiteX22" fmla="*/ 1413816 w 5487431"/>
              <a:gd name="connsiteY22" fmla="*/ 257420 h 505330"/>
              <a:gd name="connsiteX23" fmla="*/ 1303641 w 5487431"/>
              <a:gd name="connsiteY23" fmla="*/ 142174 h 505330"/>
              <a:gd name="connsiteX24" fmla="*/ 1600771 w 5487431"/>
              <a:gd name="connsiteY24" fmla="*/ 142174 h 505330"/>
              <a:gd name="connsiteX25" fmla="*/ 1467571 w 5487431"/>
              <a:gd name="connsiteY25" fmla="*/ 241602 h 505330"/>
              <a:gd name="connsiteX26" fmla="*/ 1551962 w 5487431"/>
              <a:gd name="connsiteY26" fmla="*/ 341030 h 505330"/>
              <a:gd name="connsiteX27" fmla="*/ 1621702 w 5487431"/>
              <a:gd name="connsiteY27" fmla="*/ 358260 h 505330"/>
              <a:gd name="connsiteX28" fmla="*/ 1675457 w 5487431"/>
              <a:gd name="connsiteY28" fmla="*/ 409387 h 505330"/>
              <a:gd name="connsiteX29" fmla="*/ 1606384 w 5487431"/>
              <a:gd name="connsiteY29" fmla="*/ 464656 h 505330"/>
              <a:gd name="connsiteX30" fmla="*/ 1526845 w 5487431"/>
              <a:gd name="connsiteY30" fmla="*/ 384624 h 505330"/>
              <a:gd name="connsiteX31" fmla="*/ 1452919 w 5487431"/>
              <a:gd name="connsiteY31" fmla="*/ 405338 h 505330"/>
              <a:gd name="connsiteX32" fmla="*/ 1597345 w 5487431"/>
              <a:gd name="connsiteY32" fmla="*/ 501282 h 505330"/>
              <a:gd name="connsiteX33" fmla="*/ 1742438 w 5487431"/>
              <a:gd name="connsiteY33" fmla="*/ 388767 h 505330"/>
              <a:gd name="connsiteX34" fmla="*/ 1649674 w 5487431"/>
              <a:gd name="connsiteY34" fmla="*/ 285196 h 505330"/>
              <a:gd name="connsiteX35" fmla="*/ 1582693 w 5487431"/>
              <a:gd name="connsiteY35" fmla="*/ 268625 h 505330"/>
              <a:gd name="connsiteX36" fmla="*/ 1534551 w 5487431"/>
              <a:gd name="connsiteY36" fmla="*/ 223054 h 505330"/>
              <a:gd name="connsiteX37" fmla="*/ 1593825 w 5487431"/>
              <a:gd name="connsiteY37" fmla="*/ 178895 h 505330"/>
              <a:gd name="connsiteX38" fmla="*/ 1664992 w 5487431"/>
              <a:gd name="connsiteY38" fmla="*/ 245180 h 505330"/>
              <a:gd name="connsiteX39" fmla="*/ 1734731 w 5487431"/>
              <a:gd name="connsiteY39" fmla="*/ 224466 h 505330"/>
              <a:gd name="connsiteX40" fmla="*/ 1600771 w 5487431"/>
              <a:gd name="connsiteY40" fmla="*/ 142174 h 505330"/>
              <a:gd name="connsiteX41" fmla="*/ 1946803 w 5487431"/>
              <a:gd name="connsiteY41" fmla="*/ 463149 h 505330"/>
              <a:gd name="connsiteX42" fmla="*/ 1863078 w 5487431"/>
              <a:gd name="connsiteY42" fmla="*/ 321634 h 505330"/>
              <a:gd name="connsiteX43" fmla="*/ 1946803 w 5487431"/>
              <a:gd name="connsiteY43" fmla="*/ 180119 h 505330"/>
              <a:gd name="connsiteX44" fmla="*/ 2030529 w 5487431"/>
              <a:gd name="connsiteY44" fmla="*/ 321634 h 505330"/>
              <a:gd name="connsiteX45" fmla="*/ 1946803 w 5487431"/>
              <a:gd name="connsiteY45" fmla="*/ 463149 h 505330"/>
              <a:gd name="connsiteX46" fmla="*/ 1946803 w 5487431"/>
              <a:gd name="connsiteY46" fmla="*/ 142174 h 505330"/>
              <a:gd name="connsiteX47" fmla="*/ 1776594 w 5487431"/>
              <a:gd name="connsiteY47" fmla="*/ 321634 h 505330"/>
              <a:gd name="connsiteX48" fmla="*/ 1946803 w 5487431"/>
              <a:gd name="connsiteY48" fmla="*/ 501094 h 505330"/>
              <a:gd name="connsiteX49" fmla="*/ 2117013 w 5487431"/>
              <a:gd name="connsiteY49" fmla="*/ 321634 h 505330"/>
              <a:gd name="connsiteX50" fmla="*/ 1946803 w 5487431"/>
              <a:gd name="connsiteY50" fmla="*/ 142174 h 505330"/>
              <a:gd name="connsiteX51" fmla="*/ 2348590 w 5487431"/>
              <a:gd name="connsiteY51" fmla="*/ 142174 h 505330"/>
              <a:gd name="connsiteX52" fmla="*/ 2252306 w 5487431"/>
              <a:gd name="connsiteY52" fmla="*/ 192547 h 505330"/>
              <a:gd name="connsiteX53" fmla="*/ 2248119 w 5487431"/>
              <a:gd name="connsiteY53" fmla="*/ 192547 h 505330"/>
              <a:gd name="connsiteX54" fmla="*/ 2248119 w 5487431"/>
              <a:gd name="connsiteY54" fmla="*/ 149048 h 505330"/>
              <a:gd name="connsiteX55" fmla="*/ 2165821 w 5487431"/>
              <a:gd name="connsiteY55" fmla="*/ 149048 h 505330"/>
              <a:gd name="connsiteX56" fmla="*/ 2165821 w 5487431"/>
              <a:gd name="connsiteY56" fmla="*/ 494221 h 505330"/>
              <a:gd name="connsiteX57" fmla="*/ 2248119 w 5487431"/>
              <a:gd name="connsiteY57" fmla="*/ 494221 h 505330"/>
              <a:gd name="connsiteX58" fmla="*/ 2248119 w 5487431"/>
              <a:gd name="connsiteY58" fmla="*/ 271261 h 505330"/>
              <a:gd name="connsiteX59" fmla="*/ 2317193 w 5487431"/>
              <a:gd name="connsiteY59" fmla="*/ 190476 h 505330"/>
              <a:gd name="connsiteX60" fmla="*/ 2376466 w 5487431"/>
              <a:gd name="connsiteY60" fmla="*/ 258173 h 505330"/>
              <a:gd name="connsiteX61" fmla="*/ 2376466 w 5487431"/>
              <a:gd name="connsiteY61" fmla="*/ 494221 h 505330"/>
              <a:gd name="connsiteX62" fmla="*/ 2458764 w 5487431"/>
              <a:gd name="connsiteY62" fmla="*/ 494221 h 505330"/>
              <a:gd name="connsiteX63" fmla="*/ 2458764 w 5487431"/>
              <a:gd name="connsiteY63" fmla="*/ 257420 h 505330"/>
              <a:gd name="connsiteX64" fmla="*/ 2348590 w 5487431"/>
              <a:gd name="connsiteY64" fmla="*/ 142174 h 505330"/>
              <a:gd name="connsiteX65" fmla="*/ 3571359 w 5487431"/>
              <a:gd name="connsiteY65" fmla="*/ 463149 h 505330"/>
              <a:gd name="connsiteX66" fmla="*/ 3487634 w 5487431"/>
              <a:gd name="connsiteY66" fmla="*/ 321634 h 505330"/>
              <a:gd name="connsiteX67" fmla="*/ 3571359 w 5487431"/>
              <a:gd name="connsiteY67" fmla="*/ 180119 h 505330"/>
              <a:gd name="connsiteX68" fmla="*/ 3655085 w 5487431"/>
              <a:gd name="connsiteY68" fmla="*/ 321634 h 505330"/>
              <a:gd name="connsiteX69" fmla="*/ 3571359 w 5487431"/>
              <a:gd name="connsiteY69" fmla="*/ 463149 h 505330"/>
              <a:gd name="connsiteX70" fmla="*/ 3571359 w 5487431"/>
              <a:gd name="connsiteY70" fmla="*/ 142174 h 505330"/>
              <a:gd name="connsiteX71" fmla="*/ 3401150 w 5487431"/>
              <a:gd name="connsiteY71" fmla="*/ 321634 h 505330"/>
              <a:gd name="connsiteX72" fmla="*/ 3571359 w 5487431"/>
              <a:gd name="connsiteY72" fmla="*/ 501094 h 505330"/>
              <a:gd name="connsiteX73" fmla="*/ 3741569 w 5487431"/>
              <a:gd name="connsiteY73" fmla="*/ 321634 h 505330"/>
              <a:gd name="connsiteX74" fmla="*/ 3571359 w 5487431"/>
              <a:gd name="connsiteY74" fmla="*/ 142174 h 505330"/>
              <a:gd name="connsiteX75" fmla="*/ 4332308 w 5487431"/>
              <a:gd name="connsiteY75" fmla="*/ 142174 h 505330"/>
              <a:gd name="connsiteX76" fmla="*/ 4236024 w 5487431"/>
              <a:gd name="connsiteY76" fmla="*/ 192547 h 505330"/>
              <a:gd name="connsiteX77" fmla="*/ 4231838 w 5487431"/>
              <a:gd name="connsiteY77" fmla="*/ 192547 h 505330"/>
              <a:gd name="connsiteX78" fmla="*/ 4231838 w 5487431"/>
              <a:gd name="connsiteY78" fmla="*/ 149048 h 505330"/>
              <a:gd name="connsiteX79" fmla="*/ 4149539 w 5487431"/>
              <a:gd name="connsiteY79" fmla="*/ 149048 h 505330"/>
              <a:gd name="connsiteX80" fmla="*/ 4149539 w 5487431"/>
              <a:gd name="connsiteY80" fmla="*/ 494221 h 505330"/>
              <a:gd name="connsiteX81" fmla="*/ 4231838 w 5487431"/>
              <a:gd name="connsiteY81" fmla="*/ 494221 h 505330"/>
              <a:gd name="connsiteX82" fmla="*/ 4231838 w 5487431"/>
              <a:gd name="connsiteY82" fmla="*/ 271261 h 505330"/>
              <a:gd name="connsiteX83" fmla="*/ 4300911 w 5487431"/>
              <a:gd name="connsiteY83" fmla="*/ 190476 h 505330"/>
              <a:gd name="connsiteX84" fmla="*/ 4360185 w 5487431"/>
              <a:gd name="connsiteY84" fmla="*/ 258173 h 505330"/>
              <a:gd name="connsiteX85" fmla="*/ 4360185 w 5487431"/>
              <a:gd name="connsiteY85" fmla="*/ 494221 h 505330"/>
              <a:gd name="connsiteX86" fmla="*/ 4442483 w 5487431"/>
              <a:gd name="connsiteY86" fmla="*/ 494221 h 505330"/>
              <a:gd name="connsiteX87" fmla="*/ 4442483 w 5487431"/>
              <a:gd name="connsiteY87" fmla="*/ 257420 h 505330"/>
              <a:gd name="connsiteX88" fmla="*/ 4332308 w 5487431"/>
              <a:gd name="connsiteY88" fmla="*/ 142174 h 505330"/>
              <a:gd name="connsiteX89" fmla="*/ 4629533 w 5487431"/>
              <a:gd name="connsiteY89" fmla="*/ 142174 h 505330"/>
              <a:gd name="connsiteX90" fmla="*/ 4496334 w 5487431"/>
              <a:gd name="connsiteY90" fmla="*/ 241602 h 505330"/>
              <a:gd name="connsiteX91" fmla="*/ 4580725 w 5487431"/>
              <a:gd name="connsiteY91" fmla="*/ 341030 h 505330"/>
              <a:gd name="connsiteX92" fmla="*/ 4650464 w 5487431"/>
              <a:gd name="connsiteY92" fmla="*/ 358260 h 505330"/>
              <a:gd name="connsiteX93" fmla="*/ 4704220 w 5487431"/>
              <a:gd name="connsiteY93" fmla="*/ 409387 h 505330"/>
              <a:gd name="connsiteX94" fmla="*/ 4635146 w 5487431"/>
              <a:gd name="connsiteY94" fmla="*/ 464656 h 505330"/>
              <a:gd name="connsiteX95" fmla="*/ 4555607 w 5487431"/>
              <a:gd name="connsiteY95" fmla="*/ 384624 h 505330"/>
              <a:gd name="connsiteX96" fmla="*/ 4481682 w 5487431"/>
              <a:gd name="connsiteY96" fmla="*/ 405338 h 505330"/>
              <a:gd name="connsiteX97" fmla="*/ 4626108 w 5487431"/>
              <a:gd name="connsiteY97" fmla="*/ 501282 h 505330"/>
              <a:gd name="connsiteX98" fmla="*/ 4771200 w 5487431"/>
              <a:gd name="connsiteY98" fmla="*/ 388767 h 505330"/>
              <a:gd name="connsiteX99" fmla="*/ 4678436 w 5487431"/>
              <a:gd name="connsiteY99" fmla="*/ 285196 h 505330"/>
              <a:gd name="connsiteX100" fmla="*/ 4611456 w 5487431"/>
              <a:gd name="connsiteY100" fmla="*/ 268625 h 505330"/>
              <a:gd name="connsiteX101" fmla="*/ 4563314 w 5487431"/>
              <a:gd name="connsiteY101" fmla="*/ 223054 h 505330"/>
              <a:gd name="connsiteX102" fmla="*/ 4622588 w 5487431"/>
              <a:gd name="connsiteY102" fmla="*/ 178895 h 505330"/>
              <a:gd name="connsiteX103" fmla="*/ 4693754 w 5487431"/>
              <a:gd name="connsiteY103" fmla="*/ 245180 h 505330"/>
              <a:gd name="connsiteX104" fmla="*/ 4763493 w 5487431"/>
              <a:gd name="connsiteY104" fmla="*/ 224466 h 505330"/>
              <a:gd name="connsiteX105" fmla="*/ 4629533 w 5487431"/>
              <a:gd name="connsiteY105" fmla="*/ 142174 h 505330"/>
              <a:gd name="connsiteX106" fmla="*/ 4975471 w 5487431"/>
              <a:gd name="connsiteY106" fmla="*/ 463149 h 505330"/>
              <a:gd name="connsiteX107" fmla="*/ 4891745 w 5487431"/>
              <a:gd name="connsiteY107" fmla="*/ 321634 h 505330"/>
              <a:gd name="connsiteX108" fmla="*/ 4975471 w 5487431"/>
              <a:gd name="connsiteY108" fmla="*/ 180119 h 505330"/>
              <a:gd name="connsiteX109" fmla="*/ 5059196 w 5487431"/>
              <a:gd name="connsiteY109" fmla="*/ 321634 h 505330"/>
              <a:gd name="connsiteX110" fmla="*/ 4975471 w 5487431"/>
              <a:gd name="connsiteY110" fmla="*/ 463149 h 505330"/>
              <a:gd name="connsiteX111" fmla="*/ 4975471 w 5487431"/>
              <a:gd name="connsiteY111" fmla="*/ 142174 h 505330"/>
              <a:gd name="connsiteX112" fmla="*/ 4805261 w 5487431"/>
              <a:gd name="connsiteY112" fmla="*/ 321634 h 505330"/>
              <a:gd name="connsiteX113" fmla="*/ 4975471 w 5487431"/>
              <a:gd name="connsiteY113" fmla="*/ 501094 h 505330"/>
              <a:gd name="connsiteX114" fmla="*/ 5145680 w 5487431"/>
              <a:gd name="connsiteY114" fmla="*/ 321634 h 505330"/>
              <a:gd name="connsiteX115" fmla="*/ 4975471 w 5487431"/>
              <a:gd name="connsiteY115" fmla="*/ 142174 h 505330"/>
              <a:gd name="connsiteX116" fmla="*/ 5377257 w 5487431"/>
              <a:gd name="connsiteY116" fmla="*/ 142174 h 505330"/>
              <a:gd name="connsiteX117" fmla="*/ 5280973 w 5487431"/>
              <a:gd name="connsiteY117" fmla="*/ 192547 h 505330"/>
              <a:gd name="connsiteX118" fmla="*/ 5276787 w 5487431"/>
              <a:gd name="connsiteY118" fmla="*/ 192547 h 505330"/>
              <a:gd name="connsiteX119" fmla="*/ 5276787 w 5487431"/>
              <a:gd name="connsiteY119" fmla="*/ 149048 h 505330"/>
              <a:gd name="connsiteX120" fmla="*/ 5194488 w 5487431"/>
              <a:gd name="connsiteY120" fmla="*/ 149048 h 505330"/>
              <a:gd name="connsiteX121" fmla="*/ 5194488 w 5487431"/>
              <a:gd name="connsiteY121" fmla="*/ 494221 h 505330"/>
              <a:gd name="connsiteX122" fmla="*/ 5276787 w 5487431"/>
              <a:gd name="connsiteY122" fmla="*/ 494221 h 505330"/>
              <a:gd name="connsiteX123" fmla="*/ 5276787 w 5487431"/>
              <a:gd name="connsiteY123" fmla="*/ 271261 h 505330"/>
              <a:gd name="connsiteX124" fmla="*/ 5345860 w 5487431"/>
              <a:gd name="connsiteY124" fmla="*/ 190476 h 505330"/>
              <a:gd name="connsiteX125" fmla="*/ 5405134 w 5487431"/>
              <a:gd name="connsiteY125" fmla="*/ 258173 h 505330"/>
              <a:gd name="connsiteX126" fmla="*/ 5405134 w 5487431"/>
              <a:gd name="connsiteY126" fmla="*/ 494221 h 505330"/>
              <a:gd name="connsiteX127" fmla="*/ 5487432 w 5487431"/>
              <a:gd name="connsiteY127" fmla="*/ 494221 h 505330"/>
              <a:gd name="connsiteX128" fmla="*/ 5487432 w 5487431"/>
              <a:gd name="connsiteY128" fmla="*/ 257420 h 505330"/>
              <a:gd name="connsiteX129" fmla="*/ 5377257 w 5487431"/>
              <a:gd name="connsiteY129" fmla="*/ 142174 h 505330"/>
              <a:gd name="connsiteX130" fmla="*/ 323674 w 5487431"/>
              <a:gd name="connsiteY130" fmla="*/ 11016 h 505330"/>
              <a:gd name="connsiteX131" fmla="*/ 237190 w 5487431"/>
              <a:gd name="connsiteY131" fmla="*/ 11016 h 505330"/>
              <a:gd name="connsiteX132" fmla="*/ 237190 w 5487431"/>
              <a:gd name="connsiteY132" fmla="*/ 367864 h 505330"/>
              <a:gd name="connsiteX133" fmla="*/ 161837 w 5487431"/>
              <a:gd name="connsiteY133" fmla="*/ 460325 h 505330"/>
              <a:gd name="connsiteX134" fmla="*/ 86484 w 5487431"/>
              <a:gd name="connsiteY134" fmla="*/ 360897 h 505330"/>
              <a:gd name="connsiteX135" fmla="*/ 86484 w 5487431"/>
              <a:gd name="connsiteY135" fmla="*/ 294612 h 505330"/>
              <a:gd name="connsiteX136" fmla="*/ 0 w 5487431"/>
              <a:gd name="connsiteY136" fmla="*/ 315985 h 505330"/>
              <a:gd name="connsiteX137" fmla="*/ 0 w 5487431"/>
              <a:gd name="connsiteY137" fmla="*/ 345644 h 505330"/>
              <a:gd name="connsiteX138" fmla="*/ 161837 w 5487431"/>
              <a:gd name="connsiteY138" fmla="*/ 505143 h 505330"/>
              <a:gd name="connsiteX139" fmla="*/ 323674 w 5487431"/>
              <a:gd name="connsiteY139" fmla="*/ 345644 h 505330"/>
              <a:gd name="connsiteX140" fmla="*/ 323674 w 5487431"/>
              <a:gd name="connsiteY140" fmla="*/ 11016 h 505330"/>
              <a:gd name="connsiteX141" fmla="*/ 844008 w 5487431"/>
              <a:gd name="connsiteY141" fmla="*/ 11016 h 505330"/>
              <a:gd name="connsiteX142" fmla="*/ 761710 w 5487431"/>
              <a:gd name="connsiteY142" fmla="*/ 11016 h 505330"/>
              <a:gd name="connsiteX143" fmla="*/ 761710 w 5487431"/>
              <a:gd name="connsiteY143" fmla="*/ 494221 h 505330"/>
              <a:gd name="connsiteX144" fmla="*/ 844008 w 5487431"/>
              <a:gd name="connsiteY144" fmla="*/ 494221 h 505330"/>
              <a:gd name="connsiteX145" fmla="*/ 844008 w 5487431"/>
              <a:gd name="connsiteY145" fmla="*/ 271261 h 505330"/>
              <a:gd name="connsiteX146" fmla="*/ 913081 w 5487431"/>
              <a:gd name="connsiteY146" fmla="*/ 190476 h 505330"/>
              <a:gd name="connsiteX147" fmla="*/ 972355 w 5487431"/>
              <a:gd name="connsiteY147" fmla="*/ 258173 h 505330"/>
              <a:gd name="connsiteX148" fmla="*/ 972355 w 5487431"/>
              <a:gd name="connsiteY148" fmla="*/ 494221 h 505330"/>
              <a:gd name="connsiteX149" fmla="*/ 1054653 w 5487431"/>
              <a:gd name="connsiteY149" fmla="*/ 494221 h 505330"/>
              <a:gd name="connsiteX150" fmla="*/ 1054653 w 5487431"/>
              <a:gd name="connsiteY150" fmla="*/ 257420 h 505330"/>
              <a:gd name="connsiteX151" fmla="*/ 944478 w 5487431"/>
              <a:gd name="connsiteY151" fmla="*/ 142174 h 505330"/>
              <a:gd name="connsiteX152" fmla="*/ 848194 w 5487431"/>
              <a:gd name="connsiteY152" fmla="*/ 192547 h 505330"/>
              <a:gd name="connsiteX153" fmla="*/ 844008 w 5487431"/>
              <a:gd name="connsiteY153" fmla="*/ 192547 h 505330"/>
              <a:gd name="connsiteX154" fmla="*/ 844008 w 5487431"/>
              <a:gd name="connsiteY154" fmla="*/ 11016 h 505330"/>
              <a:gd name="connsiteX155" fmla="*/ 3352342 w 5487431"/>
              <a:gd name="connsiteY155" fmla="*/ 11016 h 505330"/>
              <a:gd name="connsiteX156" fmla="*/ 3265857 w 5487431"/>
              <a:gd name="connsiteY156" fmla="*/ 11016 h 505330"/>
              <a:gd name="connsiteX157" fmla="*/ 3265857 w 5487431"/>
              <a:gd name="connsiteY157" fmla="*/ 367864 h 505330"/>
              <a:gd name="connsiteX158" fmla="*/ 3190504 w 5487431"/>
              <a:gd name="connsiteY158" fmla="*/ 460325 h 505330"/>
              <a:gd name="connsiteX159" fmla="*/ 3115152 w 5487431"/>
              <a:gd name="connsiteY159" fmla="*/ 360897 h 505330"/>
              <a:gd name="connsiteX160" fmla="*/ 3115152 w 5487431"/>
              <a:gd name="connsiteY160" fmla="*/ 294612 h 505330"/>
              <a:gd name="connsiteX161" fmla="*/ 3028667 w 5487431"/>
              <a:gd name="connsiteY161" fmla="*/ 315985 h 505330"/>
              <a:gd name="connsiteX162" fmla="*/ 3028667 w 5487431"/>
              <a:gd name="connsiteY162" fmla="*/ 345644 h 505330"/>
              <a:gd name="connsiteX163" fmla="*/ 3190504 w 5487431"/>
              <a:gd name="connsiteY163" fmla="*/ 505143 h 505330"/>
              <a:gd name="connsiteX164" fmla="*/ 3352342 w 5487431"/>
              <a:gd name="connsiteY164" fmla="*/ 345644 h 505330"/>
              <a:gd name="connsiteX165" fmla="*/ 3352342 w 5487431"/>
              <a:gd name="connsiteY165" fmla="*/ 11016 h 505330"/>
              <a:gd name="connsiteX166" fmla="*/ 3872675 w 5487431"/>
              <a:gd name="connsiteY166" fmla="*/ 11016 h 505330"/>
              <a:gd name="connsiteX167" fmla="*/ 3790377 w 5487431"/>
              <a:gd name="connsiteY167" fmla="*/ 11016 h 505330"/>
              <a:gd name="connsiteX168" fmla="*/ 3790377 w 5487431"/>
              <a:gd name="connsiteY168" fmla="*/ 494221 h 505330"/>
              <a:gd name="connsiteX169" fmla="*/ 3872675 w 5487431"/>
              <a:gd name="connsiteY169" fmla="*/ 494221 h 505330"/>
              <a:gd name="connsiteX170" fmla="*/ 3872675 w 5487431"/>
              <a:gd name="connsiteY170" fmla="*/ 271261 h 505330"/>
              <a:gd name="connsiteX171" fmla="*/ 3941749 w 5487431"/>
              <a:gd name="connsiteY171" fmla="*/ 190476 h 505330"/>
              <a:gd name="connsiteX172" fmla="*/ 4001022 w 5487431"/>
              <a:gd name="connsiteY172" fmla="*/ 258173 h 505330"/>
              <a:gd name="connsiteX173" fmla="*/ 4001022 w 5487431"/>
              <a:gd name="connsiteY173" fmla="*/ 494221 h 505330"/>
              <a:gd name="connsiteX174" fmla="*/ 4083320 w 5487431"/>
              <a:gd name="connsiteY174" fmla="*/ 494221 h 505330"/>
              <a:gd name="connsiteX175" fmla="*/ 4083320 w 5487431"/>
              <a:gd name="connsiteY175" fmla="*/ 257420 h 505330"/>
              <a:gd name="connsiteX176" fmla="*/ 3973146 w 5487431"/>
              <a:gd name="connsiteY176" fmla="*/ 142174 h 505330"/>
              <a:gd name="connsiteX177" fmla="*/ 3876861 w 5487431"/>
              <a:gd name="connsiteY177" fmla="*/ 192547 h 505330"/>
              <a:gd name="connsiteX178" fmla="*/ 3872675 w 5487431"/>
              <a:gd name="connsiteY178" fmla="*/ 192547 h 505330"/>
              <a:gd name="connsiteX179" fmla="*/ 3872675 w 5487431"/>
              <a:gd name="connsiteY179" fmla="*/ 11016 h 505330"/>
              <a:gd name="connsiteX180" fmla="*/ 2730110 w 5487431"/>
              <a:gd name="connsiteY180" fmla="*/ 454864 h 505330"/>
              <a:gd name="connsiteX181" fmla="*/ 2622029 w 5487431"/>
              <a:gd name="connsiteY181" fmla="*/ 343761 h 505330"/>
              <a:gd name="connsiteX182" fmla="*/ 2664557 w 5487431"/>
              <a:gd name="connsiteY182" fmla="*/ 256102 h 505330"/>
              <a:gd name="connsiteX183" fmla="*/ 2822208 w 5487431"/>
              <a:gd name="connsiteY183" fmla="*/ 426617 h 505330"/>
              <a:gd name="connsiteX184" fmla="*/ 2730110 w 5487431"/>
              <a:gd name="connsiteY184" fmla="*/ 454864 h 505330"/>
              <a:gd name="connsiteX185" fmla="*/ 2883575 w 5487431"/>
              <a:gd name="connsiteY185" fmla="*/ 369936 h 505330"/>
              <a:gd name="connsiteX186" fmla="*/ 2746856 w 5487431"/>
              <a:gd name="connsiteY186" fmla="*/ 220794 h 505330"/>
              <a:gd name="connsiteX187" fmla="*/ 2814502 w 5487431"/>
              <a:gd name="connsiteY187" fmla="*/ 207706 h 505330"/>
              <a:gd name="connsiteX188" fmla="*/ 2905838 w 5487431"/>
              <a:gd name="connsiteY188" fmla="*/ 296118 h 505330"/>
              <a:gd name="connsiteX189" fmla="*/ 2883575 w 5487431"/>
              <a:gd name="connsiteY189" fmla="*/ 369936 h 505330"/>
              <a:gd name="connsiteX190" fmla="*/ 2728017 w 5487431"/>
              <a:gd name="connsiteY190" fmla="*/ 200833 h 505330"/>
              <a:gd name="connsiteX191" fmla="*/ 2698047 w 5487431"/>
              <a:gd name="connsiteY191" fmla="*/ 167690 h 505330"/>
              <a:gd name="connsiteX192" fmla="*/ 2663891 w 5487431"/>
              <a:gd name="connsiteY192" fmla="*/ 99334 h 505330"/>
              <a:gd name="connsiteX193" fmla="*/ 2730110 w 5487431"/>
              <a:gd name="connsiteY193" fmla="*/ 36532 h 505330"/>
              <a:gd name="connsiteX194" fmla="*/ 2795664 w 5487431"/>
              <a:gd name="connsiteY194" fmla="*/ 102817 h 505330"/>
              <a:gd name="connsiteX195" fmla="*/ 2728017 w 5487431"/>
              <a:gd name="connsiteY195" fmla="*/ 200833 h 505330"/>
              <a:gd name="connsiteX196" fmla="*/ 2732204 w 5487431"/>
              <a:gd name="connsiteY196" fmla="*/ 0 h 505330"/>
              <a:gd name="connsiteX197" fmla="*/ 2588539 w 5487431"/>
              <a:gd name="connsiteY197" fmla="*/ 119389 h 505330"/>
              <a:gd name="connsiteX198" fmla="*/ 2644387 w 5487431"/>
              <a:gd name="connsiteY198" fmla="*/ 234635 h 505330"/>
              <a:gd name="connsiteX199" fmla="*/ 2645053 w 5487431"/>
              <a:gd name="connsiteY199" fmla="*/ 236047 h 505330"/>
              <a:gd name="connsiteX200" fmla="*/ 2545344 w 5487431"/>
              <a:gd name="connsiteY200" fmla="*/ 374832 h 505330"/>
              <a:gd name="connsiteX201" fmla="*/ 2685584 w 5487431"/>
              <a:gd name="connsiteY201" fmla="*/ 505331 h 505330"/>
              <a:gd name="connsiteX202" fmla="*/ 2843235 w 5487431"/>
              <a:gd name="connsiteY202" fmla="*/ 449403 h 505330"/>
              <a:gd name="connsiteX203" fmla="*/ 2885097 w 5487431"/>
              <a:gd name="connsiteY203" fmla="*/ 494315 h 505330"/>
              <a:gd name="connsiteX204" fmla="*/ 2994606 w 5487431"/>
              <a:gd name="connsiteY204" fmla="*/ 494315 h 505330"/>
              <a:gd name="connsiteX205" fmla="*/ 2994606 w 5487431"/>
              <a:gd name="connsiteY205" fmla="*/ 490831 h 505330"/>
              <a:gd name="connsiteX206" fmla="*/ 2905363 w 5487431"/>
              <a:gd name="connsiteY206" fmla="*/ 393474 h 505330"/>
              <a:gd name="connsiteX207" fmla="*/ 2964637 w 5487431"/>
              <a:gd name="connsiteY207" fmla="*/ 258833 h 505330"/>
              <a:gd name="connsiteX208" fmla="*/ 2873300 w 5487431"/>
              <a:gd name="connsiteY208" fmla="*/ 171174 h 505330"/>
              <a:gd name="connsiteX209" fmla="*/ 2789574 w 5487431"/>
              <a:gd name="connsiteY209" fmla="*/ 187745 h 505330"/>
              <a:gd name="connsiteX210" fmla="*/ 2788147 w 5487431"/>
              <a:gd name="connsiteY210" fmla="*/ 185015 h 505330"/>
              <a:gd name="connsiteX211" fmla="*/ 2863500 w 5487431"/>
              <a:gd name="connsiteY211" fmla="*/ 93873 h 505330"/>
              <a:gd name="connsiteX212" fmla="*/ 2732204 w 5487431"/>
              <a:gd name="connsiteY212" fmla="*/ 0 h 50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5487431" h="505330">
                <a:moveTo>
                  <a:pt x="542692" y="463149"/>
                </a:moveTo>
                <a:cubicBezTo>
                  <a:pt x="488937" y="463149"/>
                  <a:pt x="458967" y="412776"/>
                  <a:pt x="458967" y="321634"/>
                </a:cubicBezTo>
                <a:cubicBezTo>
                  <a:pt x="458967" y="229080"/>
                  <a:pt x="488937" y="180119"/>
                  <a:pt x="542692" y="180119"/>
                </a:cubicBezTo>
                <a:cubicBezTo>
                  <a:pt x="596448" y="180119"/>
                  <a:pt x="626417" y="229833"/>
                  <a:pt x="626417" y="321634"/>
                </a:cubicBezTo>
                <a:cubicBezTo>
                  <a:pt x="626322" y="414189"/>
                  <a:pt x="596352" y="463149"/>
                  <a:pt x="542692" y="463149"/>
                </a:cubicBezTo>
                <a:moveTo>
                  <a:pt x="542692" y="142174"/>
                </a:moveTo>
                <a:cubicBezTo>
                  <a:pt x="433183" y="142174"/>
                  <a:pt x="372482" y="222959"/>
                  <a:pt x="372482" y="321634"/>
                </a:cubicBezTo>
                <a:cubicBezTo>
                  <a:pt x="372482" y="420309"/>
                  <a:pt x="433183" y="501094"/>
                  <a:pt x="542692" y="501094"/>
                </a:cubicBezTo>
                <a:cubicBezTo>
                  <a:pt x="652201" y="501094"/>
                  <a:pt x="712902" y="420309"/>
                  <a:pt x="712902" y="321634"/>
                </a:cubicBezTo>
                <a:cubicBezTo>
                  <a:pt x="712902" y="222959"/>
                  <a:pt x="652201" y="142174"/>
                  <a:pt x="542692" y="142174"/>
                </a:cubicBezTo>
                <a:moveTo>
                  <a:pt x="1303641" y="142174"/>
                </a:moveTo>
                <a:cubicBezTo>
                  <a:pt x="1251979" y="142174"/>
                  <a:pt x="1223436" y="164301"/>
                  <a:pt x="1207357" y="192547"/>
                </a:cubicBezTo>
                <a:lnTo>
                  <a:pt x="1203170" y="192547"/>
                </a:lnTo>
                <a:lnTo>
                  <a:pt x="1203170" y="149048"/>
                </a:lnTo>
                <a:lnTo>
                  <a:pt x="1120872" y="149048"/>
                </a:lnTo>
                <a:lnTo>
                  <a:pt x="1120872" y="494221"/>
                </a:lnTo>
                <a:lnTo>
                  <a:pt x="1203170" y="494221"/>
                </a:lnTo>
                <a:lnTo>
                  <a:pt x="1203170" y="271261"/>
                </a:lnTo>
                <a:cubicBezTo>
                  <a:pt x="1203170" y="220229"/>
                  <a:pt x="1229715" y="190476"/>
                  <a:pt x="1272244" y="190476"/>
                </a:cubicBezTo>
                <a:cubicBezTo>
                  <a:pt x="1313440" y="190476"/>
                  <a:pt x="1331518" y="217404"/>
                  <a:pt x="1331518" y="258173"/>
                </a:cubicBezTo>
                <a:lnTo>
                  <a:pt x="1331518" y="494221"/>
                </a:lnTo>
                <a:lnTo>
                  <a:pt x="1413816" y="494221"/>
                </a:lnTo>
                <a:lnTo>
                  <a:pt x="1413816" y="257420"/>
                </a:lnTo>
                <a:cubicBezTo>
                  <a:pt x="1413911" y="186333"/>
                  <a:pt x="1376234" y="142174"/>
                  <a:pt x="1303641" y="142174"/>
                </a:cubicBezTo>
                <a:moveTo>
                  <a:pt x="1600771" y="142174"/>
                </a:moveTo>
                <a:cubicBezTo>
                  <a:pt x="1524752" y="142174"/>
                  <a:pt x="1467571" y="173905"/>
                  <a:pt x="1467571" y="241602"/>
                </a:cubicBezTo>
                <a:cubicBezTo>
                  <a:pt x="1467571" y="298943"/>
                  <a:pt x="1507341" y="330014"/>
                  <a:pt x="1551962" y="341030"/>
                </a:cubicBezTo>
                <a:lnTo>
                  <a:pt x="1621702" y="358260"/>
                </a:lnTo>
                <a:cubicBezTo>
                  <a:pt x="1658712" y="367205"/>
                  <a:pt x="1675457" y="380387"/>
                  <a:pt x="1675457" y="409387"/>
                </a:cubicBezTo>
                <a:cubicBezTo>
                  <a:pt x="1675457" y="444601"/>
                  <a:pt x="1650340" y="464656"/>
                  <a:pt x="1606384" y="464656"/>
                </a:cubicBezTo>
                <a:cubicBezTo>
                  <a:pt x="1558908" y="464656"/>
                  <a:pt x="1534551" y="441870"/>
                  <a:pt x="1526845" y="384624"/>
                </a:cubicBezTo>
                <a:lnTo>
                  <a:pt x="1452919" y="405338"/>
                </a:lnTo>
                <a:cubicBezTo>
                  <a:pt x="1457106" y="464750"/>
                  <a:pt x="1512954" y="501282"/>
                  <a:pt x="1597345" y="501282"/>
                </a:cubicBezTo>
                <a:cubicBezTo>
                  <a:pt x="1691536" y="501282"/>
                  <a:pt x="1742438" y="457782"/>
                  <a:pt x="1742438" y="388767"/>
                </a:cubicBezTo>
                <a:cubicBezTo>
                  <a:pt x="1742438" y="323894"/>
                  <a:pt x="1697055" y="296965"/>
                  <a:pt x="1649674" y="285196"/>
                </a:cubicBezTo>
                <a:lnTo>
                  <a:pt x="1582693" y="268625"/>
                </a:lnTo>
                <a:cubicBezTo>
                  <a:pt x="1549203" y="260339"/>
                  <a:pt x="1534551" y="245180"/>
                  <a:pt x="1534551" y="223054"/>
                </a:cubicBezTo>
                <a:cubicBezTo>
                  <a:pt x="1534551" y="195466"/>
                  <a:pt x="1558242" y="178895"/>
                  <a:pt x="1593825" y="178895"/>
                </a:cubicBezTo>
                <a:cubicBezTo>
                  <a:pt x="1635688" y="178895"/>
                  <a:pt x="1661471" y="201680"/>
                  <a:pt x="1664992" y="245180"/>
                </a:cubicBezTo>
                <a:lnTo>
                  <a:pt x="1734731" y="224466"/>
                </a:lnTo>
                <a:cubicBezTo>
                  <a:pt x="1726358" y="175976"/>
                  <a:pt x="1678216" y="142174"/>
                  <a:pt x="1600771" y="142174"/>
                </a:cubicBezTo>
                <a:moveTo>
                  <a:pt x="1946803" y="463149"/>
                </a:moveTo>
                <a:cubicBezTo>
                  <a:pt x="1893048" y="463149"/>
                  <a:pt x="1863078" y="412776"/>
                  <a:pt x="1863078" y="321634"/>
                </a:cubicBezTo>
                <a:cubicBezTo>
                  <a:pt x="1863078" y="229080"/>
                  <a:pt x="1893048" y="180119"/>
                  <a:pt x="1946803" y="180119"/>
                </a:cubicBezTo>
                <a:cubicBezTo>
                  <a:pt x="2000559" y="180119"/>
                  <a:pt x="2030529" y="229833"/>
                  <a:pt x="2030529" y="321634"/>
                </a:cubicBezTo>
                <a:cubicBezTo>
                  <a:pt x="2030529" y="414189"/>
                  <a:pt x="2000464" y="463149"/>
                  <a:pt x="1946803" y="463149"/>
                </a:cubicBezTo>
                <a:moveTo>
                  <a:pt x="1946803" y="142174"/>
                </a:moveTo>
                <a:cubicBezTo>
                  <a:pt x="1837294" y="142174"/>
                  <a:pt x="1776594" y="222959"/>
                  <a:pt x="1776594" y="321634"/>
                </a:cubicBezTo>
                <a:cubicBezTo>
                  <a:pt x="1776594" y="420309"/>
                  <a:pt x="1837294" y="501094"/>
                  <a:pt x="1946803" y="501094"/>
                </a:cubicBezTo>
                <a:cubicBezTo>
                  <a:pt x="2056312" y="501094"/>
                  <a:pt x="2117013" y="420309"/>
                  <a:pt x="2117013" y="321634"/>
                </a:cubicBezTo>
                <a:cubicBezTo>
                  <a:pt x="2117013" y="222959"/>
                  <a:pt x="2056312" y="142174"/>
                  <a:pt x="1946803" y="142174"/>
                </a:cubicBezTo>
                <a:moveTo>
                  <a:pt x="2348590" y="142174"/>
                </a:moveTo>
                <a:cubicBezTo>
                  <a:pt x="2296927" y="142174"/>
                  <a:pt x="2268385" y="164301"/>
                  <a:pt x="2252306" y="192547"/>
                </a:cubicBezTo>
                <a:lnTo>
                  <a:pt x="2248119" y="192547"/>
                </a:lnTo>
                <a:lnTo>
                  <a:pt x="2248119" y="149048"/>
                </a:lnTo>
                <a:lnTo>
                  <a:pt x="2165821" y="149048"/>
                </a:lnTo>
                <a:lnTo>
                  <a:pt x="2165821" y="494221"/>
                </a:lnTo>
                <a:lnTo>
                  <a:pt x="2248119" y="494221"/>
                </a:lnTo>
                <a:lnTo>
                  <a:pt x="2248119" y="271261"/>
                </a:lnTo>
                <a:cubicBezTo>
                  <a:pt x="2248119" y="220229"/>
                  <a:pt x="2274664" y="190476"/>
                  <a:pt x="2317193" y="190476"/>
                </a:cubicBezTo>
                <a:cubicBezTo>
                  <a:pt x="2358389" y="190476"/>
                  <a:pt x="2376466" y="217404"/>
                  <a:pt x="2376466" y="258173"/>
                </a:cubicBezTo>
                <a:lnTo>
                  <a:pt x="2376466" y="494221"/>
                </a:lnTo>
                <a:lnTo>
                  <a:pt x="2458764" y="494221"/>
                </a:lnTo>
                <a:lnTo>
                  <a:pt x="2458764" y="257420"/>
                </a:lnTo>
                <a:cubicBezTo>
                  <a:pt x="2458764" y="186333"/>
                  <a:pt x="2421088" y="142174"/>
                  <a:pt x="2348590" y="142174"/>
                </a:cubicBezTo>
                <a:moveTo>
                  <a:pt x="3571359" y="463149"/>
                </a:moveTo>
                <a:cubicBezTo>
                  <a:pt x="3517604" y="463149"/>
                  <a:pt x="3487634" y="412776"/>
                  <a:pt x="3487634" y="321634"/>
                </a:cubicBezTo>
                <a:cubicBezTo>
                  <a:pt x="3487634" y="229080"/>
                  <a:pt x="3517604" y="180119"/>
                  <a:pt x="3571359" y="180119"/>
                </a:cubicBezTo>
                <a:cubicBezTo>
                  <a:pt x="3625115" y="180119"/>
                  <a:pt x="3655085" y="229833"/>
                  <a:pt x="3655085" y="321634"/>
                </a:cubicBezTo>
                <a:cubicBezTo>
                  <a:pt x="3655085" y="414189"/>
                  <a:pt x="3625020" y="463149"/>
                  <a:pt x="3571359" y="463149"/>
                </a:cubicBezTo>
                <a:moveTo>
                  <a:pt x="3571359" y="142174"/>
                </a:moveTo>
                <a:cubicBezTo>
                  <a:pt x="3461850" y="142174"/>
                  <a:pt x="3401150" y="222959"/>
                  <a:pt x="3401150" y="321634"/>
                </a:cubicBezTo>
                <a:cubicBezTo>
                  <a:pt x="3401150" y="420309"/>
                  <a:pt x="3461850" y="501094"/>
                  <a:pt x="3571359" y="501094"/>
                </a:cubicBezTo>
                <a:cubicBezTo>
                  <a:pt x="3680868" y="501094"/>
                  <a:pt x="3741569" y="420309"/>
                  <a:pt x="3741569" y="321634"/>
                </a:cubicBezTo>
                <a:cubicBezTo>
                  <a:pt x="3741569" y="222959"/>
                  <a:pt x="3680868" y="142174"/>
                  <a:pt x="3571359" y="142174"/>
                </a:cubicBezTo>
                <a:moveTo>
                  <a:pt x="4332308" y="142174"/>
                </a:moveTo>
                <a:cubicBezTo>
                  <a:pt x="4280646" y="142174"/>
                  <a:pt x="4252103" y="164301"/>
                  <a:pt x="4236024" y="192547"/>
                </a:cubicBezTo>
                <a:lnTo>
                  <a:pt x="4231838" y="192547"/>
                </a:lnTo>
                <a:lnTo>
                  <a:pt x="4231838" y="149048"/>
                </a:lnTo>
                <a:lnTo>
                  <a:pt x="4149539" y="149048"/>
                </a:lnTo>
                <a:lnTo>
                  <a:pt x="4149539" y="494221"/>
                </a:lnTo>
                <a:lnTo>
                  <a:pt x="4231838" y="494221"/>
                </a:lnTo>
                <a:lnTo>
                  <a:pt x="4231838" y="271261"/>
                </a:lnTo>
                <a:cubicBezTo>
                  <a:pt x="4231838" y="220229"/>
                  <a:pt x="4258383" y="190476"/>
                  <a:pt x="4300911" y="190476"/>
                </a:cubicBezTo>
                <a:cubicBezTo>
                  <a:pt x="4342108" y="190476"/>
                  <a:pt x="4360185" y="217404"/>
                  <a:pt x="4360185" y="258173"/>
                </a:cubicBezTo>
                <a:lnTo>
                  <a:pt x="4360185" y="494221"/>
                </a:lnTo>
                <a:lnTo>
                  <a:pt x="4442483" y="494221"/>
                </a:lnTo>
                <a:lnTo>
                  <a:pt x="4442483" y="257420"/>
                </a:lnTo>
                <a:cubicBezTo>
                  <a:pt x="4442578" y="186333"/>
                  <a:pt x="4404902" y="142174"/>
                  <a:pt x="4332308" y="142174"/>
                </a:cubicBezTo>
                <a:moveTo>
                  <a:pt x="4629533" y="142174"/>
                </a:moveTo>
                <a:cubicBezTo>
                  <a:pt x="4553514" y="142174"/>
                  <a:pt x="4496334" y="173905"/>
                  <a:pt x="4496334" y="241602"/>
                </a:cubicBezTo>
                <a:cubicBezTo>
                  <a:pt x="4496334" y="298943"/>
                  <a:pt x="4536103" y="330014"/>
                  <a:pt x="4580725" y="341030"/>
                </a:cubicBezTo>
                <a:lnTo>
                  <a:pt x="4650464" y="358260"/>
                </a:lnTo>
                <a:cubicBezTo>
                  <a:pt x="4687475" y="367205"/>
                  <a:pt x="4704220" y="380387"/>
                  <a:pt x="4704220" y="409387"/>
                </a:cubicBezTo>
                <a:cubicBezTo>
                  <a:pt x="4704220" y="444601"/>
                  <a:pt x="4679102" y="464656"/>
                  <a:pt x="4635146" y="464656"/>
                </a:cubicBezTo>
                <a:cubicBezTo>
                  <a:pt x="4587670" y="464656"/>
                  <a:pt x="4563314" y="441870"/>
                  <a:pt x="4555607" y="384624"/>
                </a:cubicBezTo>
                <a:lnTo>
                  <a:pt x="4481682" y="405338"/>
                </a:lnTo>
                <a:cubicBezTo>
                  <a:pt x="4485868" y="464750"/>
                  <a:pt x="4541716" y="501282"/>
                  <a:pt x="4626108" y="501282"/>
                </a:cubicBezTo>
                <a:cubicBezTo>
                  <a:pt x="4720299" y="501282"/>
                  <a:pt x="4771200" y="457782"/>
                  <a:pt x="4771200" y="388767"/>
                </a:cubicBezTo>
                <a:cubicBezTo>
                  <a:pt x="4771200" y="323894"/>
                  <a:pt x="4725817" y="296965"/>
                  <a:pt x="4678436" y="285196"/>
                </a:cubicBezTo>
                <a:lnTo>
                  <a:pt x="4611456" y="268625"/>
                </a:lnTo>
                <a:cubicBezTo>
                  <a:pt x="4577966" y="260339"/>
                  <a:pt x="4563314" y="245180"/>
                  <a:pt x="4563314" y="223054"/>
                </a:cubicBezTo>
                <a:cubicBezTo>
                  <a:pt x="4563314" y="195466"/>
                  <a:pt x="4587004" y="178895"/>
                  <a:pt x="4622588" y="178895"/>
                </a:cubicBezTo>
                <a:cubicBezTo>
                  <a:pt x="4664450" y="178895"/>
                  <a:pt x="4690234" y="201680"/>
                  <a:pt x="4693754" y="245180"/>
                </a:cubicBezTo>
                <a:lnTo>
                  <a:pt x="4763493" y="224466"/>
                </a:lnTo>
                <a:cubicBezTo>
                  <a:pt x="4755026" y="175976"/>
                  <a:pt x="4706884" y="142174"/>
                  <a:pt x="4629533" y="142174"/>
                </a:cubicBezTo>
                <a:moveTo>
                  <a:pt x="4975471" y="463149"/>
                </a:moveTo>
                <a:cubicBezTo>
                  <a:pt x="4921715" y="463149"/>
                  <a:pt x="4891745" y="412776"/>
                  <a:pt x="4891745" y="321634"/>
                </a:cubicBezTo>
                <a:cubicBezTo>
                  <a:pt x="4891745" y="229080"/>
                  <a:pt x="4921715" y="180119"/>
                  <a:pt x="4975471" y="180119"/>
                </a:cubicBezTo>
                <a:cubicBezTo>
                  <a:pt x="5029226" y="180119"/>
                  <a:pt x="5059196" y="229833"/>
                  <a:pt x="5059196" y="321634"/>
                </a:cubicBezTo>
                <a:cubicBezTo>
                  <a:pt x="5059196" y="414189"/>
                  <a:pt x="5029131" y="463149"/>
                  <a:pt x="4975471" y="463149"/>
                </a:cubicBezTo>
                <a:moveTo>
                  <a:pt x="4975471" y="142174"/>
                </a:moveTo>
                <a:cubicBezTo>
                  <a:pt x="4865962" y="142174"/>
                  <a:pt x="4805261" y="222959"/>
                  <a:pt x="4805261" y="321634"/>
                </a:cubicBezTo>
                <a:cubicBezTo>
                  <a:pt x="4805261" y="420309"/>
                  <a:pt x="4865962" y="501094"/>
                  <a:pt x="4975471" y="501094"/>
                </a:cubicBezTo>
                <a:cubicBezTo>
                  <a:pt x="5084980" y="501094"/>
                  <a:pt x="5145680" y="420309"/>
                  <a:pt x="5145680" y="321634"/>
                </a:cubicBezTo>
                <a:cubicBezTo>
                  <a:pt x="5145680" y="222959"/>
                  <a:pt x="5084980" y="142174"/>
                  <a:pt x="4975471" y="142174"/>
                </a:cubicBezTo>
                <a:moveTo>
                  <a:pt x="5377257" y="142174"/>
                </a:moveTo>
                <a:cubicBezTo>
                  <a:pt x="5325595" y="142174"/>
                  <a:pt x="5297052" y="164301"/>
                  <a:pt x="5280973" y="192547"/>
                </a:cubicBezTo>
                <a:lnTo>
                  <a:pt x="5276787" y="192547"/>
                </a:lnTo>
                <a:lnTo>
                  <a:pt x="5276787" y="149048"/>
                </a:lnTo>
                <a:lnTo>
                  <a:pt x="5194488" y="149048"/>
                </a:lnTo>
                <a:lnTo>
                  <a:pt x="5194488" y="494221"/>
                </a:lnTo>
                <a:lnTo>
                  <a:pt x="5276787" y="494221"/>
                </a:lnTo>
                <a:lnTo>
                  <a:pt x="5276787" y="271261"/>
                </a:lnTo>
                <a:cubicBezTo>
                  <a:pt x="5276787" y="220229"/>
                  <a:pt x="5303331" y="190476"/>
                  <a:pt x="5345860" y="190476"/>
                </a:cubicBezTo>
                <a:cubicBezTo>
                  <a:pt x="5387057" y="190476"/>
                  <a:pt x="5405134" y="217404"/>
                  <a:pt x="5405134" y="258173"/>
                </a:cubicBezTo>
                <a:lnTo>
                  <a:pt x="5405134" y="494221"/>
                </a:lnTo>
                <a:lnTo>
                  <a:pt x="5487432" y="494221"/>
                </a:lnTo>
                <a:lnTo>
                  <a:pt x="5487432" y="257420"/>
                </a:lnTo>
                <a:cubicBezTo>
                  <a:pt x="5487432" y="186333"/>
                  <a:pt x="5449755" y="142174"/>
                  <a:pt x="5377257" y="142174"/>
                </a:cubicBezTo>
                <a:moveTo>
                  <a:pt x="323674" y="11016"/>
                </a:moveTo>
                <a:lnTo>
                  <a:pt x="237190" y="11016"/>
                </a:lnTo>
                <a:lnTo>
                  <a:pt x="237190" y="367864"/>
                </a:lnTo>
                <a:cubicBezTo>
                  <a:pt x="237190" y="425864"/>
                  <a:pt x="214831" y="460325"/>
                  <a:pt x="161837" y="460325"/>
                </a:cubicBezTo>
                <a:cubicBezTo>
                  <a:pt x="109509" y="460325"/>
                  <a:pt x="86484" y="423698"/>
                  <a:pt x="86484" y="360897"/>
                </a:cubicBezTo>
                <a:lnTo>
                  <a:pt x="86484" y="294612"/>
                </a:lnTo>
                <a:lnTo>
                  <a:pt x="0" y="315985"/>
                </a:lnTo>
                <a:lnTo>
                  <a:pt x="0" y="345644"/>
                </a:lnTo>
                <a:cubicBezTo>
                  <a:pt x="0" y="436033"/>
                  <a:pt x="45383" y="505143"/>
                  <a:pt x="161837" y="505143"/>
                </a:cubicBezTo>
                <a:cubicBezTo>
                  <a:pt x="278291" y="505143"/>
                  <a:pt x="323674" y="436127"/>
                  <a:pt x="323674" y="345644"/>
                </a:cubicBezTo>
                <a:lnTo>
                  <a:pt x="323674" y="11016"/>
                </a:lnTo>
                <a:moveTo>
                  <a:pt x="844008" y="11016"/>
                </a:moveTo>
                <a:lnTo>
                  <a:pt x="761710" y="11016"/>
                </a:lnTo>
                <a:lnTo>
                  <a:pt x="761710" y="494221"/>
                </a:lnTo>
                <a:lnTo>
                  <a:pt x="844008" y="494221"/>
                </a:lnTo>
                <a:lnTo>
                  <a:pt x="844008" y="271261"/>
                </a:lnTo>
                <a:cubicBezTo>
                  <a:pt x="844008" y="220229"/>
                  <a:pt x="870553" y="190476"/>
                  <a:pt x="913081" y="190476"/>
                </a:cubicBezTo>
                <a:cubicBezTo>
                  <a:pt x="954278" y="190476"/>
                  <a:pt x="972355" y="217404"/>
                  <a:pt x="972355" y="258173"/>
                </a:cubicBezTo>
                <a:lnTo>
                  <a:pt x="972355" y="494221"/>
                </a:lnTo>
                <a:lnTo>
                  <a:pt x="1054653" y="494221"/>
                </a:lnTo>
                <a:lnTo>
                  <a:pt x="1054653" y="257420"/>
                </a:lnTo>
                <a:cubicBezTo>
                  <a:pt x="1054653" y="186333"/>
                  <a:pt x="1016977" y="142174"/>
                  <a:pt x="944478" y="142174"/>
                </a:cubicBezTo>
                <a:cubicBezTo>
                  <a:pt x="892816" y="142174"/>
                  <a:pt x="864273" y="164301"/>
                  <a:pt x="848194" y="192547"/>
                </a:cubicBezTo>
                <a:lnTo>
                  <a:pt x="844008" y="192547"/>
                </a:lnTo>
                <a:lnTo>
                  <a:pt x="844008" y="11016"/>
                </a:lnTo>
                <a:moveTo>
                  <a:pt x="3352342" y="11016"/>
                </a:moveTo>
                <a:lnTo>
                  <a:pt x="3265857" y="11016"/>
                </a:lnTo>
                <a:lnTo>
                  <a:pt x="3265857" y="367864"/>
                </a:lnTo>
                <a:cubicBezTo>
                  <a:pt x="3265857" y="425864"/>
                  <a:pt x="3243499" y="460325"/>
                  <a:pt x="3190504" y="460325"/>
                </a:cubicBezTo>
                <a:cubicBezTo>
                  <a:pt x="3138176" y="460325"/>
                  <a:pt x="3115152" y="423698"/>
                  <a:pt x="3115152" y="360897"/>
                </a:cubicBezTo>
                <a:lnTo>
                  <a:pt x="3115152" y="294612"/>
                </a:lnTo>
                <a:lnTo>
                  <a:pt x="3028667" y="315985"/>
                </a:lnTo>
                <a:lnTo>
                  <a:pt x="3028667" y="345644"/>
                </a:lnTo>
                <a:cubicBezTo>
                  <a:pt x="3028667" y="436033"/>
                  <a:pt x="3074050" y="505143"/>
                  <a:pt x="3190504" y="505143"/>
                </a:cubicBezTo>
                <a:cubicBezTo>
                  <a:pt x="3306959" y="505143"/>
                  <a:pt x="3352342" y="436127"/>
                  <a:pt x="3352342" y="345644"/>
                </a:cubicBezTo>
                <a:lnTo>
                  <a:pt x="3352342" y="11016"/>
                </a:lnTo>
                <a:moveTo>
                  <a:pt x="3872675" y="11016"/>
                </a:moveTo>
                <a:lnTo>
                  <a:pt x="3790377" y="11016"/>
                </a:lnTo>
                <a:lnTo>
                  <a:pt x="3790377" y="494221"/>
                </a:lnTo>
                <a:lnTo>
                  <a:pt x="3872675" y="494221"/>
                </a:lnTo>
                <a:lnTo>
                  <a:pt x="3872675" y="271261"/>
                </a:lnTo>
                <a:cubicBezTo>
                  <a:pt x="3872675" y="220229"/>
                  <a:pt x="3899220" y="190476"/>
                  <a:pt x="3941749" y="190476"/>
                </a:cubicBezTo>
                <a:cubicBezTo>
                  <a:pt x="3982945" y="190476"/>
                  <a:pt x="4001022" y="217404"/>
                  <a:pt x="4001022" y="258173"/>
                </a:cubicBezTo>
                <a:lnTo>
                  <a:pt x="4001022" y="494221"/>
                </a:lnTo>
                <a:lnTo>
                  <a:pt x="4083320" y="494221"/>
                </a:lnTo>
                <a:lnTo>
                  <a:pt x="4083320" y="257420"/>
                </a:lnTo>
                <a:cubicBezTo>
                  <a:pt x="4083320" y="186333"/>
                  <a:pt x="4045644" y="142174"/>
                  <a:pt x="3973146" y="142174"/>
                </a:cubicBezTo>
                <a:cubicBezTo>
                  <a:pt x="3921483" y="142174"/>
                  <a:pt x="3892941" y="164301"/>
                  <a:pt x="3876861" y="192547"/>
                </a:cubicBezTo>
                <a:lnTo>
                  <a:pt x="3872675" y="192547"/>
                </a:lnTo>
                <a:lnTo>
                  <a:pt x="3872675" y="11016"/>
                </a:lnTo>
                <a:moveTo>
                  <a:pt x="2730110" y="454864"/>
                </a:moveTo>
                <a:cubicBezTo>
                  <a:pt x="2663130" y="454864"/>
                  <a:pt x="2622029" y="401007"/>
                  <a:pt x="2622029" y="343761"/>
                </a:cubicBezTo>
                <a:cubicBezTo>
                  <a:pt x="2622029" y="307887"/>
                  <a:pt x="2638108" y="274745"/>
                  <a:pt x="2664557" y="256102"/>
                </a:cubicBezTo>
                <a:lnTo>
                  <a:pt x="2822208" y="426617"/>
                </a:lnTo>
                <a:cubicBezTo>
                  <a:pt x="2792904" y="443848"/>
                  <a:pt x="2760080" y="454864"/>
                  <a:pt x="2730110" y="454864"/>
                </a:cubicBezTo>
                <a:moveTo>
                  <a:pt x="2883575" y="369936"/>
                </a:moveTo>
                <a:lnTo>
                  <a:pt x="2746856" y="220794"/>
                </a:lnTo>
                <a:cubicBezTo>
                  <a:pt x="2771307" y="211096"/>
                  <a:pt x="2794998" y="207706"/>
                  <a:pt x="2814502" y="207706"/>
                </a:cubicBezTo>
                <a:cubicBezTo>
                  <a:pt x="2871016" y="207706"/>
                  <a:pt x="2905838" y="240190"/>
                  <a:pt x="2905838" y="296118"/>
                </a:cubicBezTo>
                <a:cubicBezTo>
                  <a:pt x="2905934" y="320975"/>
                  <a:pt x="2898893" y="346491"/>
                  <a:pt x="2883575" y="369936"/>
                </a:cubicBezTo>
                <a:moveTo>
                  <a:pt x="2728017" y="200833"/>
                </a:moveTo>
                <a:lnTo>
                  <a:pt x="2698047" y="167690"/>
                </a:lnTo>
                <a:cubicBezTo>
                  <a:pt x="2671503" y="138691"/>
                  <a:pt x="2663891" y="120707"/>
                  <a:pt x="2663891" y="99334"/>
                </a:cubicBezTo>
                <a:cubicBezTo>
                  <a:pt x="2663891" y="59318"/>
                  <a:pt x="2689675" y="36532"/>
                  <a:pt x="2730110" y="36532"/>
                </a:cubicBezTo>
                <a:cubicBezTo>
                  <a:pt x="2771307" y="36532"/>
                  <a:pt x="2795664" y="59977"/>
                  <a:pt x="2795664" y="102817"/>
                </a:cubicBezTo>
                <a:cubicBezTo>
                  <a:pt x="2795664" y="142174"/>
                  <a:pt x="2776159" y="179460"/>
                  <a:pt x="2728017" y="200833"/>
                </a:cubicBezTo>
                <a:moveTo>
                  <a:pt x="2732204" y="0"/>
                </a:moveTo>
                <a:cubicBezTo>
                  <a:pt x="2635920" y="0"/>
                  <a:pt x="2588539" y="53198"/>
                  <a:pt x="2588539" y="119389"/>
                </a:cubicBezTo>
                <a:cubicBezTo>
                  <a:pt x="2588539" y="155262"/>
                  <a:pt x="2603857" y="191229"/>
                  <a:pt x="2644387" y="234635"/>
                </a:cubicBezTo>
                <a:lnTo>
                  <a:pt x="2645053" y="236047"/>
                </a:lnTo>
                <a:cubicBezTo>
                  <a:pt x="2576741" y="268531"/>
                  <a:pt x="2545344" y="320975"/>
                  <a:pt x="2545344" y="374832"/>
                </a:cubicBezTo>
                <a:cubicBezTo>
                  <a:pt x="2545344" y="445919"/>
                  <a:pt x="2600432" y="505331"/>
                  <a:pt x="2685584" y="505331"/>
                </a:cubicBezTo>
                <a:cubicBezTo>
                  <a:pt x="2734392" y="505331"/>
                  <a:pt x="2791573" y="485276"/>
                  <a:pt x="2843235" y="449403"/>
                </a:cubicBezTo>
                <a:lnTo>
                  <a:pt x="2885097" y="494315"/>
                </a:lnTo>
                <a:lnTo>
                  <a:pt x="2994606" y="494315"/>
                </a:lnTo>
                <a:lnTo>
                  <a:pt x="2994606" y="490831"/>
                </a:lnTo>
                <a:lnTo>
                  <a:pt x="2905363" y="393474"/>
                </a:lnTo>
                <a:cubicBezTo>
                  <a:pt x="2943039" y="349316"/>
                  <a:pt x="2964637" y="301014"/>
                  <a:pt x="2964637" y="258833"/>
                </a:cubicBezTo>
                <a:cubicBezTo>
                  <a:pt x="2964637" y="206388"/>
                  <a:pt x="2929053" y="171174"/>
                  <a:pt x="2873300" y="171174"/>
                </a:cubicBezTo>
                <a:cubicBezTo>
                  <a:pt x="2843996" y="171174"/>
                  <a:pt x="2811172" y="179460"/>
                  <a:pt x="2789574" y="187745"/>
                </a:cubicBezTo>
                <a:lnTo>
                  <a:pt x="2788147" y="185015"/>
                </a:lnTo>
                <a:cubicBezTo>
                  <a:pt x="2841142" y="156674"/>
                  <a:pt x="2863500" y="130499"/>
                  <a:pt x="2863500" y="93873"/>
                </a:cubicBezTo>
                <a:cubicBezTo>
                  <a:pt x="2863310" y="41428"/>
                  <a:pt x="2815929" y="0"/>
                  <a:pt x="2732204" y="0"/>
                </a:cubicBezTo>
              </a:path>
            </a:pathLst>
          </a:custGeom>
          <a:solidFill>
            <a:schemeClr val="bg1"/>
          </a:solidFill>
          <a:ln w="9509" cap="flat">
            <a:noFill/>
            <a:prstDash val="solid"/>
            <a:miter/>
          </a:ln>
        </p:spPr>
        <p:txBody>
          <a:bodyPr rtlCol="0" anchor="ctr"/>
          <a:lstStyle/>
          <a:p>
            <a:endParaRPr lang="en-GB"/>
          </a:p>
        </p:txBody>
      </p:sp>
    </p:spTree>
    <p:extLst>
      <p:ext uri="{BB962C8B-B14F-4D97-AF65-F5344CB8AC3E}">
        <p14:creationId xmlns:p14="http://schemas.microsoft.com/office/powerpoint/2010/main" val="20657204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with Panel Images - Long titles [Accessible Version]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F71E3-AC39-2207-0CC4-1E2486610795}"/>
              </a:ext>
            </a:extLst>
          </p:cNvPr>
          <p:cNvSpPr>
            <a:spLocks noGrp="1"/>
          </p:cNvSpPr>
          <p:nvPr>
            <p:ph type="ctrTitle" hasCustomPrompt="1"/>
          </p:nvPr>
        </p:nvSpPr>
        <p:spPr>
          <a:xfrm>
            <a:off x="285979" y="266955"/>
            <a:ext cx="8518155" cy="2946145"/>
          </a:xfrm>
        </p:spPr>
        <p:txBody>
          <a:bodyPr wrap="square" anchor="t">
            <a:normAutofit/>
          </a:bodyPr>
          <a:lstStyle>
            <a:lvl1pPr algn="l">
              <a:lnSpc>
                <a:spcPct val="80000"/>
              </a:lnSpc>
              <a:defRPr sz="7000" b="0" i="0" spc="0" baseline="0">
                <a:solidFill>
                  <a:schemeClr val="accent1"/>
                </a:solidFill>
                <a:latin typeface="+mj-lt"/>
              </a:defRPr>
            </a:lvl1pPr>
          </a:lstStyle>
          <a:p>
            <a:r>
              <a:rPr lang="en-GB"/>
              <a:t>Longer titles will shrink automatically</a:t>
            </a:r>
            <a:br>
              <a:rPr lang="en-GB"/>
            </a:br>
            <a:endParaRPr lang="en-GB"/>
          </a:p>
        </p:txBody>
      </p:sp>
      <p:sp>
        <p:nvSpPr>
          <p:cNvPr id="9" name="Subtitle 2">
            <a:extLst>
              <a:ext uri="{FF2B5EF4-FFF2-40B4-BE49-F238E27FC236}">
                <a16:creationId xmlns:a16="http://schemas.microsoft.com/office/drawing/2014/main" id="{52CA5BFA-B5A6-B786-4C05-6FD9C9E49AB2}"/>
              </a:ext>
            </a:extLst>
          </p:cNvPr>
          <p:cNvSpPr>
            <a:spLocks noGrp="1"/>
          </p:cNvSpPr>
          <p:nvPr>
            <p:ph type="subTitle" idx="1" hasCustomPrompt="1"/>
          </p:nvPr>
        </p:nvSpPr>
        <p:spPr>
          <a:xfrm>
            <a:off x="284806" y="4889500"/>
            <a:ext cx="2795587" cy="865834"/>
          </a:xfrm>
        </p:spPr>
        <p:txBody>
          <a:bodyPr anchor="b"/>
          <a:lstStyle>
            <a:lvl1pPr marL="0" indent="0" algn="l">
              <a:lnSpc>
                <a:spcPct val="100000"/>
              </a:lnSpc>
              <a:spcBef>
                <a:spcPts val="0"/>
              </a:spcBef>
              <a:spcAft>
                <a:spcPts val="0"/>
              </a:spcAft>
              <a:buNone/>
              <a:defRPr sz="1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pporting details. Delete if not required.</a:t>
            </a:r>
          </a:p>
        </p:txBody>
      </p:sp>
      <p:sp>
        <p:nvSpPr>
          <p:cNvPr id="5" name="Picture Placeholder 3">
            <a:extLst>
              <a:ext uri="{FF2B5EF4-FFF2-40B4-BE49-F238E27FC236}">
                <a16:creationId xmlns:a16="http://schemas.microsoft.com/office/drawing/2014/main" id="{C04121E7-08DD-C793-86E0-65E3A5A388B9}"/>
              </a:ext>
            </a:extLst>
          </p:cNvPr>
          <p:cNvSpPr txBox="1">
            <a:spLocks/>
          </p:cNvSpPr>
          <p:nvPr userDrawn="1"/>
        </p:nvSpPr>
        <p:spPr>
          <a:xfrm>
            <a:off x="9150578" y="1"/>
            <a:ext cx="3041422" cy="3428999"/>
          </a:xfrm>
          <a:prstGeom prst="rect">
            <a:avLst/>
          </a:prstGeom>
          <a:solidFill>
            <a:srgbClr val="F6F3F2"/>
          </a:solidFill>
        </p:spPr>
        <p:txBody>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lang="en-US" sz="1800" b="0" i="0" kern="1200" dirty="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8568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a:lstStyle>
          <a:p>
            <a:pPr>
              <a:defRPr/>
            </a:pPr>
            <a:r>
              <a:rPr lang="en-US"/>
              <a:t>Click the icon to add a photo or illustration.</a:t>
            </a:r>
          </a:p>
        </p:txBody>
      </p:sp>
      <p:sp>
        <p:nvSpPr>
          <p:cNvPr id="6" name="Picture Placeholder 3">
            <a:extLst>
              <a:ext uri="{FF2B5EF4-FFF2-40B4-BE49-F238E27FC236}">
                <a16:creationId xmlns:a16="http://schemas.microsoft.com/office/drawing/2014/main" id="{44491B2F-D44C-0066-95F1-F250C57C0960}"/>
              </a:ext>
            </a:extLst>
          </p:cNvPr>
          <p:cNvSpPr txBox="1">
            <a:spLocks/>
          </p:cNvSpPr>
          <p:nvPr userDrawn="1"/>
        </p:nvSpPr>
        <p:spPr>
          <a:xfrm>
            <a:off x="5083403" y="3429000"/>
            <a:ext cx="3041422" cy="2479675"/>
          </a:xfrm>
          <a:prstGeom prst="rect">
            <a:avLst/>
          </a:prstGeom>
          <a:solidFill>
            <a:srgbClr val="F6F3F2"/>
          </a:solidFill>
        </p:spPr>
        <p:txBody>
          <a:bodyPr/>
          <a:lst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lang="en-US" sz="1800" b="0" i="0" kern="1200" dirty="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8568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a:lstStyle>
          <a:p>
            <a:pPr>
              <a:defRPr/>
            </a:pPr>
            <a:r>
              <a:rPr lang="en-US"/>
              <a:t>Click the icon to add a photo or illustration.</a:t>
            </a:r>
          </a:p>
        </p:txBody>
      </p:sp>
      <p:sp>
        <p:nvSpPr>
          <p:cNvPr id="7" name="Graphic 2">
            <a:extLst>
              <a:ext uri="{FF2B5EF4-FFF2-40B4-BE49-F238E27FC236}">
                <a16:creationId xmlns:a16="http://schemas.microsoft.com/office/drawing/2014/main" id="{6FE39920-28CC-4C37-EC19-6F2C7A632392}"/>
              </a:ext>
            </a:extLst>
          </p:cNvPr>
          <p:cNvSpPr>
            <a:spLocks noChangeAspect="1"/>
          </p:cNvSpPr>
          <p:nvPr userDrawn="1"/>
        </p:nvSpPr>
        <p:spPr>
          <a:xfrm>
            <a:off x="290513" y="6377853"/>
            <a:ext cx="2034000" cy="187309"/>
          </a:xfrm>
          <a:custGeom>
            <a:avLst/>
            <a:gdLst>
              <a:gd name="connsiteX0" fmla="*/ 542692 w 5487431"/>
              <a:gd name="connsiteY0" fmla="*/ 463149 h 505330"/>
              <a:gd name="connsiteX1" fmla="*/ 458967 w 5487431"/>
              <a:gd name="connsiteY1" fmla="*/ 321634 h 505330"/>
              <a:gd name="connsiteX2" fmla="*/ 542692 w 5487431"/>
              <a:gd name="connsiteY2" fmla="*/ 180119 h 505330"/>
              <a:gd name="connsiteX3" fmla="*/ 626417 w 5487431"/>
              <a:gd name="connsiteY3" fmla="*/ 321634 h 505330"/>
              <a:gd name="connsiteX4" fmla="*/ 542692 w 5487431"/>
              <a:gd name="connsiteY4" fmla="*/ 463149 h 505330"/>
              <a:gd name="connsiteX5" fmla="*/ 542692 w 5487431"/>
              <a:gd name="connsiteY5" fmla="*/ 142174 h 505330"/>
              <a:gd name="connsiteX6" fmla="*/ 372482 w 5487431"/>
              <a:gd name="connsiteY6" fmla="*/ 321634 h 505330"/>
              <a:gd name="connsiteX7" fmla="*/ 542692 w 5487431"/>
              <a:gd name="connsiteY7" fmla="*/ 501094 h 505330"/>
              <a:gd name="connsiteX8" fmla="*/ 712902 w 5487431"/>
              <a:gd name="connsiteY8" fmla="*/ 321634 h 505330"/>
              <a:gd name="connsiteX9" fmla="*/ 542692 w 5487431"/>
              <a:gd name="connsiteY9" fmla="*/ 142174 h 505330"/>
              <a:gd name="connsiteX10" fmla="*/ 1303641 w 5487431"/>
              <a:gd name="connsiteY10" fmla="*/ 142174 h 505330"/>
              <a:gd name="connsiteX11" fmla="*/ 1207357 w 5487431"/>
              <a:gd name="connsiteY11" fmla="*/ 192547 h 505330"/>
              <a:gd name="connsiteX12" fmla="*/ 1203170 w 5487431"/>
              <a:gd name="connsiteY12" fmla="*/ 192547 h 505330"/>
              <a:gd name="connsiteX13" fmla="*/ 1203170 w 5487431"/>
              <a:gd name="connsiteY13" fmla="*/ 149048 h 505330"/>
              <a:gd name="connsiteX14" fmla="*/ 1120872 w 5487431"/>
              <a:gd name="connsiteY14" fmla="*/ 149048 h 505330"/>
              <a:gd name="connsiteX15" fmla="*/ 1120872 w 5487431"/>
              <a:gd name="connsiteY15" fmla="*/ 494221 h 505330"/>
              <a:gd name="connsiteX16" fmla="*/ 1203170 w 5487431"/>
              <a:gd name="connsiteY16" fmla="*/ 494221 h 505330"/>
              <a:gd name="connsiteX17" fmla="*/ 1203170 w 5487431"/>
              <a:gd name="connsiteY17" fmla="*/ 271261 h 505330"/>
              <a:gd name="connsiteX18" fmla="*/ 1272244 w 5487431"/>
              <a:gd name="connsiteY18" fmla="*/ 190476 h 505330"/>
              <a:gd name="connsiteX19" fmla="*/ 1331518 w 5487431"/>
              <a:gd name="connsiteY19" fmla="*/ 258173 h 505330"/>
              <a:gd name="connsiteX20" fmla="*/ 1331518 w 5487431"/>
              <a:gd name="connsiteY20" fmla="*/ 494221 h 505330"/>
              <a:gd name="connsiteX21" fmla="*/ 1413816 w 5487431"/>
              <a:gd name="connsiteY21" fmla="*/ 494221 h 505330"/>
              <a:gd name="connsiteX22" fmla="*/ 1413816 w 5487431"/>
              <a:gd name="connsiteY22" fmla="*/ 257420 h 505330"/>
              <a:gd name="connsiteX23" fmla="*/ 1303641 w 5487431"/>
              <a:gd name="connsiteY23" fmla="*/ 142174 h 505330"/>
              <a:gd name="connsiteX24" fmla="*/ 1600771 w 5487431"/>
              <a:gd name="connsiteY24" fmla="*/ 142174 h 505330"/>
              <a:gd name="connsiteX25" fmla="*/ 1467571 w 5487431"/>
              <a:gd name="connsiteY25" fmla="*/ 241602 h 505330"/>
              <a:gd name="connsiteX26" fmla="*/ 1551962 w 5487431"/>
              <a:gd name="connsiteY26" fmla="*/ 341030 h 505330"/>
              <a:gd name="connsiteX27" fmla="*/ 1621702 w 5487431"/>
              <a:gd name="connsiteY27" fmla="*/ 358260 h 505330"/>
              <a:gd name="connsiteX28" fmla="*/ 1675457 w 5487431"/>
              <a:gd name="connsiteY28" fmla="*/ 409387 h 505330"/>
              <a:gd name="connsiteX29" fmla="*/ 1606384 w 5487431"/>
              <a:gd name="connsiteY29" fmla="*/ 464656 h 505330"/>
              <a:gd name="connsiteX30" fmla="*/ 1526845 w 5487431"/>
              <a:gd name="connsiteY30" fmla="*/ 384624 h 505330"/>
              <a:gd name="connsiteX31" fmla="*/ 1452919 w 5487431"/>
              <a:gd name="connsiteY31" fmla="*/ 405338 h 505330"/>
              <a:gd name="connsiteX32" fmla="*/ 1597345 w 5487431"/>
              <a:gd name="connsiteY32" fmla="*/ 501282 h 505330"/>
              <a:gd name="connsiteX33" fmla="*/ 1742438 w 5487431"/>
              <a:gd name="connsiteY33" fmla="*/ 388767 h 505330"/>
              <a:gd name="connsiteX34" fmla="*/ 1649674 w 5487431"/>
              <a:gd name="connsiteY34" fmla="*/ 285196 h 505330"/>
              <a:gd name="connsiteX35" fmla="*/ 1582693 w 5487431"/>
              <a:gd name="connsiteY35" fmla="*/ 268625 h 505330"/>
              <a:gd name="connsiteX36" fmla="*/ 1534551 w 5487431"/>
              <a:gd name="connsiteY36" fmla="*/ 223054 h 505330"/>
              <a:gd name="connsiteX37" fmla="*/ 1593825 w 5487431"/>
              <a:gd name="connsiteY37" fmla="*/ 178895 h 505330"/>
              <a:gd name="connsiteX38" fmla="*/ 1664992 w 5487431"/>
              <a:gd name="connsiteY38" fmla="*/ 245180 h 505330"/>
              <a:gd name="connsiteX39" fmla="*/ 1734731 w 5487431"/>
              <a:gd name="connsiteY39" fmla="*/ 224466 h 505330"/>
              <a:gd name="connsiteX40" fmla="*/ 1600771 w 5487431"/>
              <a:gd name="connsiteY40" fmla="*/ 142174 h 505330"/>
              <a:gd name="connsiteX41" fmla="*/ 1946803 w 5487431"/>
              <a:gd name="connsiteY41" fmla="*/ 463149 h 505330"/>
              <a:gd name="connsiteX42" fmla="*/ 1863078 w 5487431"/>
              <a:gd name="connsiteY42" fmla="*/ 321634 h 505330"/>
              <a:gd name="connsiteX43" fmla="*/ 1946803 w 5487431"/>
              <a:gd name="connsiteY43" fmla="*/ 180119 h 505330"/>
              <a:gd name="connsiteX44" fmla="*/ 2030529 w 5487431"/>
              <a:gd name="connsiteY44" fmla="*/ 321634 h 505330"/>
              <a:gd name="connsiteX45" fmla="*/ 1946803 w 5487431"/>
              <a:gd name="connsiteY45" fmla="*/ 463149 h 505330"/>
              <a:gd name="connsiteX46" fmla="*/ 1946803 w 5487431"/>
              <a:gd name="connsiteY46" fmla="*/ 142174 h 505330"/>
              <a:gd name="connsiteX47" fmla="*/ 1776594 w 5487431"/>
              <a:gd name="connsiteY47" fmla="*/ 321634 h 505330"/>
              <a:gd name="connsiteX48" fmla="*/ 1946803 w 5487431"/>
              <a:gd name="connsiteY48" fmla="*/ 501094 h 505330"/>
              <a:gd name="connsiteX49" fmla="*/ 2117013 w 5487431"/>
              <a:gd name="connsiteY49" fmla="*/ 321634 h 505330"/>
              <a:gd name="connsiteX50" fmla="*/ 1946803 w 5487431"/>
              <a:gd name="connsiteY50" fmla="*/ 142174 h 505330"/>
              <a:gd name="connsiteX51" fmla="*/ 2348590 w 5487431"/>
              <a:gd name="connsiteY51" fmla="*/ 142174 h 505330"/>
              <a:gd name="connsiteX52" fmla="*/ 2252306 w 5487431"/>
              <a:gd name="connsiteY52" fmla="*/ 192547 h 505330"/>
              <a:gd name="connsiteX53" fmla="*/ 2248119 w 5487431"/>
              <a:gd name="connsiteY53" fmla="*/ 192547 h 505330"/>
              <a:gd name="connsiteX54" fmla="*/ 2248119 w 5487431"/>
              <a:gd name="connsiteY54" fmla="*/ 149048 h 505330"/>
              <a:gd name="connsiteX55" fmla="*/ 2165821 w 5487431"/>
              <a:gd name="connsiteY55" fmla="*/ 149048 h 505330"/>
              <a:gd name="connsiteX56" fmla="*/ 2165821 w 5487431"/>
              <a:gd name="connsiteY56" fmla="*/ 494221 h 505330"/>
              <a:gd name="connsiteX57" fmla="*/ 2248119 w 5487431"/>
              <a:gd name="connsiteY57" fmla="*/ 494221 h 505330"/>
              <a:gd name="connsiteX58" fmla="*/ 2248119 w 5487431"/>
              <a:gd name="connsiteY58" fmla="*/ 271261 h 505330"/>
              <a:gd name="connsiteX59" fmla="*/ 2317193 w 5487431"/>
              <a:gd name="connsiteY59" fmla="*/ 190476 h 505330"/>
              <a:gd name="connsiteX60" fmla="*/ 2376466 w 5487431"/>
              <a:gd name="connsiteY60" fmla="*/ 258173 h 505330"/>
              <a:gd name="connsiteX61" fmla="*/ 2376466 w 5487431"/>
              <a:gd name="connsiteY61" fmla="*/ 494221 h 505330"/>
              <a:gd name="connsiteX62" fmla="*/ 2458764 w 5487431"/>
              <a:gd name="connsiteY62" fmla="*/ 494221 h 505330"/>
              <a:gd name="connsiteX63" fmla="*/ 2458764 w 5487431"/>
              <a:gd name="connsiteY63" fmla="*/ 257420 h 505330"/>
              <a:gd name="connsiteX64" fmla="*/ 2348590 w 5487431"/>
              <a:gd name="connsiteY64" fmla="*/ 142174 h 505330"/>
              <a:gd name="connsiteX65" fmla="*/ 3571359 w 5487431"/>
              <a:gd name="connsiteY65" fmla="*/ 463149 h 505330"/>
              <a:gd name="connsiteX66" fmla="*/ 3487634 w 5487431"/>
              <a:gd name="connsiteY66" fmla="*/ 321634 h 505330"/>
              <a:gd name="connsiteX67" fmla="*/ 3571359 w 5487431"/>
              <a:gd name="connsiteY67" fmla="*/ 180119 h 505330"/>
              <a:gd name="connsiteX68" fmla="*/ 3655085 w 5487431"/>
              <a:gd name="connsiteY68" fmla="*/ 321634 h 505330"/>
              <a:gd name="connsiteX69" fmla="*/ 3571359 w 5487431"/>
              <a:gd name="connsiteY69" fmla="*/ 463149 h 505330"/>
              <a:gd name="connsiteX70" fmla="*/ 3571359 w 5487431"/>
              <a:gd name="connsiteY70" fmla="*/ 142174 h 505330"/>
              <a:gd name="connsiteX71" fmla="*/ 3401150 w 5487431"/>
              <a:gd name="connsiteY71" fmla="*/ 321634 h 505330"/>
              <a:gd name="connsiteX72" fmla="*/ 3571359 w 5487431"/>
              <a:gd name="connsiteY72" fmla="*/ 501094 h 505330"/>
              <a:gd name="connsiteX73" fmla="*/ 3741569 w 5487431"/>
              <a:gd name="connsiteY73" fmla="*/ 321634 h 505330"/>
              <a:gd name="connsiteX74" fmla="*/ 3571359 w 5487431"/>
              <a:gd name="connsiteY74" fmla="*/ 142174 h 505330"/>
              <a:gd name="connsiteX75" fmla="*/ 4332308 w 5487431"/>
              <a:gd name="connsiteY75" fmla="*/ 142174 h 505330"/>
              <a:gd name="connsiteX76" fmla="*/ 4236024 w 5487431"/>
              <a:gd name="connsiteY76" fmla="*/ 192547 h 505330"/>
              <a:gd name="connsiteX77" fmla="*/ 4231838 w 5487431"/>
              <a:gd name="connsiteY77" fmla="*/ 192547 h 505330"/>
              <a:gd name="connsiteX78" fmla="*/ 4231838 w 5487431"/>
              <a:gd name="connsiteY78" fmla="*/ 149048 h 505330"/>
              <a:gd name="connsiteX79" fmla="*/ 4149539 w 5487431"/>
              <a:gd name="connsiteY79" fmla="*/ 149048 h 505330"/>
              <a:gd name="connsiteX80" fmla="*/ 4149539 w 5487431"/>
              <a:gd name="connsiteY80" fmla="*/ 494221 h 505330"/>
              <a:gd name="connsiteX81" fmla="*/ 4231838 w 5487431"/>
              <a:gd name="connsiteY81" fmla="*/ 494221 h 505330"/>
              <a:gd name="connsiteX82" fmla="*/ 4231838 w 5487431"/>
              <a:gd name="connsiteY82" fmla="*/ 271261 h 505330"/>
              <a:gd name="connsiteX83" fmla="*/ 4300911 w 5487431"/>
              <a:gd name="connsiteY83" fmla="*/ 190476 h 505330"/>
              <a:gd name="connsiteX84" fmla="*/ 4360185 w 5487431"/>
              <a:gd name="connsiteY84" fmla="*/ 258173 h 505330"/>
              <a:gd name="connsiteX85" fmla="*/ 4360185 w 5487431"/>
              <a:gd name="connsiteY85" fmla="*/ 494221 h 505330"/>
              <a:gd name="connsiteX86" fmla="*/ 4442483 w 5487431"/>
              <a:gd name="connsiteY86" fmla="*/ 494221 h 505330"/>
              <a:gd name="connsiteX87" fmla="*/ 4442483 w 5487431"/>
              <a:gd name="connsiteY87" fmla="*/ 257420 h 505330"/>
              <a:gd name="connsiteX88" fmla="*/ 4332308 w 5487431"/>
              <a:gd name="connsiteY88" fmla="*/ 142174 h 505330"/>
              <a:gd name="connsiteX89" fmla="*/ 4629533 w 5487431"/>
              <a:gd name="connsiteY89" fmla="*/ 142174 h 505330"/>
              <a:gd name="connsiteX90" fmla="*/ 4496334 w 5487431"/>
              <a:gd name="connsiteY90" fmla="*/ 241602 h 505330"/>
              <a:gd name="connsiteX91" fmla="*/ 4580725 w 5487431"/>
              <a:gd name="connsiteY91" fmla="*/ 341030 h 505330"/>
              <a:gd name="connsiteX92" fmla="*/ 4650464 w 5487431"/>
              <a:gd name="connsiteY92" fmla="*/ 358260 h 505330"/>
              <a:gd name="connsiteX93" fmla="*/ 4704220 w 5487431"/>
              <a:gd name="connsiteY93" fmla="*/ 409387 h 505330"/>
              <a:gd name="connsiteX94" fmla="*/ 4635146 w 5487431"/>
              <a:gd name="connsiteY94" fmla="*/ 464656 h 505330"/>
              <a:gd name="connsiteX95" fmla="*/ 4555607 w 5487431"/>
              <a:gd name="connsiteY95" fmla="*/ 384624 h 505330"/>
              <a:gd name="connsiteX96" fmla="*/ 4481682 w 5487431"/>
              <a:gd name="connsiteY96" fmla="*/ 405338 h 505330"/>
              <a:gd name="connsiteX97" fmla="*/ 4626108 w 5487431"/>
              <a:gd name="connsiteY97" fmla="*/ 501282 h 505330"/>
              <a:gd name="connsiteX98" fmla="*/ 4771200 w 5487431"/>
              <a:gd name="connsiteY98" fmla="*/ 388767 h 505330"/>
              <a:gd name="connsiteX99" fmla="*/ 4678436 w 5487431"/>
              <a:gd name="connsiteY99" fmla="*/ 285196 h 505330"/>
              <a:gd name="connsiteX100" fmla="*/ 4611456 w 5487431"/>
              <a:gd name="connsiteY100" fmla="*/ 268625 h 505330"/>
              <a:gd name="connsiteX101" fmla="*/ 4563314 w 5487431"/>
              <a:gd name="connsiteY101" fmla="*/ 223054 h 505330"/>
              <a:gd name="connsiteX102" fmla="*/ 4622588 w 5487431"/>
              <a:gd name="connsiteY102" fmla="*/ 178895 h 505330"/>
              <a:gd name="connsiteX103" fmla="*/ 4693754 w 5487431"/>
              <a:gd name="connsiteY103" fmla="*/ 245180 h 505330"/>
              <a:gd name="connsiteX104" fmla="*/ 4763493 w 5487431"/>
              <a:gd name="connsiteY104" fmla="*/ 224466 h 505330"/>
              <a:gd name="connsiteX105" fmla="*/ 4629533 w 5487431"/>
              <a:gd name="connsiteY105" fmla="*/ 142174 h 505330"/>
              <a:gd name="connsiteX106" fmla="*/ 4975471 w 5487431"/>
              <a:gd name="connsiteY106" fmla="*/ 463149 h 505330"/>
              <a:gd name="connsiteX107" fmla="*/ 4891745 w 5487431"/>
              <a:gd name="connsiteY107" fmla="*/ 321634 h 505330"/>
              <a:gd name="connsiteX108" fmla="*/ 4975471 w 5487431"/>
              <a:gd name="connsiteY108" fmla="*/ 180119 h 505330"/>
              <a:gd name="connsiteX109" fmla="*/ 5059196 w 5487431"/>
              <a:gd name="connsiteY109" fmla="*/ 321634 h 505330"/>
              <a:gd name="connsiteX110" fmla="*/ 4975471 w 5487431"/>
              <a:gd name="connsiteY110" fmla="*/ 463149 h 505330"/>
              <a:gd name="connsiteX111" fmla="*/ 4975471 w 5487431"/>
              <a:gd name="connsiteY111" fmla="*/ 142174 h 505330"/>
              <a:gd name="connsiteX112" fmla="*/ 4805261 w 5487431"/>
              <a:gd name="connsiteY112" fmla="*/ 321634 h 505330"/>
              <a:gd name="connsiteX113" fmla="*/ 4975471 w 5487431"/>
              <a:gd name="connsiteY113" fmla="*/ 501094 h 505330"/>
              <a:gd name="connsiteX114" fmla="*/ 5145680 w 5487431"/>
              <a:gd name="connsiteY114" fmla="*/ 321634 h 505330"/>
              <a:gd name="connsiteX115" fmla="*/ 4975471 w 5487431"/>
              <a:gd name="connsiteY115" fmla="*/ 142174 h 505330"/>
              <a:gd name="connsiteX116" fmla="*/ 5377257 w 5487431"/>
              <a:gd name="connsiteY116" fmla="*/ 142174 h 505330"/>
              <a:gd name="connsiteX117" fmla="*/ 5280973 w 5487431"/>
              <a:gd name="connsiteY117" fmla="*/ 192547 h 505330"/>
              <a:gd name="connsiteX118" fmla="*/ 5276787 w 5487431"/>
              <a:gd name="connsiteY118" fmla="*/ 192547 h 505330"/>
              <a:gd name="connsiteX119" fmla="*/ 5276787 w 5487431"/>
              <a:gd name="connsiteY119" fmla="*/ 149048 h 505330"/>
              <a:gd name="connsiteX120" fmla="*/ 5194488 w 5487431"/>
              <a:gd name="connsiteY120" fmla="*/ 149048 h 505330"/>
              <a:gd name="connsiteX121" fmla="*/ 5194488 w 5487431"/>
              <a:gd name="connsiteY121" fmla="*/ 494221 h 505330"/>
              <a:gd name="connsiteX122" fmla="*/ 5276787 w 5487431"/>
              <a:gd name="connsiteY122" fmla="*/ 494221 h 505330"/>
              <a:gd name="connsiteX123" fmla="*/ 5276787 w 5487431"/>
              <a:gd name="connsiteY123" fmla="*/ 271261 h 505330"/>
              <a:gd name="connsiteX124" fmla="*/ 5345860 w 5487431"/>
              <a:gd name="connsiteY124" fmla="*/ 190476 h 505330"/>
              <a:gd name="connsiteX125" fmla="*/ 5405134 w 5487431"/>
              <a:gd name="connsiteY125" fmla="*/ 258173 h 505330"/>
              <a:gd name="connsiteX126" fmla="*/ 5405134 w 5487431"/>
              <a:gd name="connsiteY126" fmla="*/ 494221 h 505330"/>
              <a:gd name="connsiteX127" fmla="*/ 5487432 w 5487431"/>
              <a:gd name="connsiteY127" fmla="*/ 494221 h 505330"/>
              <a:gd name="connsiteX128" fmla="*/ 5487432 w 5487431"/>
              <a:gd name="connsiteY128" fmla="*/ 257420 h 505330"/>
              <a:gd name="connsiteX129" fmla="*/ 5377257 w 5487431"/>
              <a:gd name="connsiteY129" fmla="*/ 142174 h 505330"/>
              <a:gd name="connsiteX130" fmla="*/ 323674 w 5487431"/>
              <a:gd name="connsiteY130" fmla="*/ 11016 h 505330"/>
              <a:gd name="connsiteX131" fmla="*/ 237190 w 5487431"/>
              <a:gd name="connsiteY131" fmla="*/ 11016 h 505330"/>
              <a:gd name="connsiteX132" fmla="*/ 237190 w 5487431"/>
              <a:gd name="connsiteY132" fmla="*/ 367864 h 505330"/>
              <a:gd name="connsiteX133" fmla="*/ 161837 w 5487431"/>
              <a:gd name="connsiteY133" fmla="*/ 460325 h 505330"/>
              <a:gd name="connsiteX134" fmla="*/ 86484 w 5487431"/>
              <a:gd name="connsiteY134" fmla="*/ 360897 h 505330"/>
              <a:gd name="connsiteX135" fmla="*/ 86484 w 5487431"/>
              <a:gd name="connsiteY135" fmla="*/ 294612 h 505330"/>
              <a:gd name="connsiteX136" fmla="*/ 0 w 5487431"/>
              <a:gd name="connsiteY136" fmla="*/ 315985 h 505330"/>
              <a:gd name="connsiteX137" fmla="*/ 0 w 5487431"/>
              <a:gd name="connsiteY137" fmla="*/ 345644 h 505330"/>
              <a:gd name="connsiteX138" fmla="*/ 161837 w 5487431"/>
              <a:gd name="connsiteY138" fmla="*/ 505143 h 505330"/>
              <a:gd name="connsiteX139" fmla="*/ 323674 w 5487431"/>
              <a:gd name="connsiteY139" fmla="*/ 345644 h 505330"/>
              <a:gd name="connsiteX140" fmla="*/ 323674 w 5487431"/>
              <a:gd name="connsiteY140" fmla="*/ 11016 h 505330"/>
              <a:gd name="connsiteX141" fmla="*/ 844008 w 5487431"/>
              <a:gd name="connsiteY141" fmla="*/ 11016 h 505330"/>
              <a:gd name="connsiteX142" fmla="*/ 761710 w 5487431"/>
              <a:gd name="connsiteY142" fmla="*/ 11016 h 505330"/>
              <a:gd name="connsiteX143" fmla="*/ 761710 w 5487431"/>
              <a:gd name="connsiteY143" fmla="*/ 494221 h 505330"/>
              <a:gd name="connsiteX144" fmla="*/ 844008 w 5487431"/>
              <a:gd name="connsiteY144" fmla="*/ 494221 h 505330"/>
              <a:gd name="connsiteX145" fmla="*/ 844008 w 5487431"/>
              <a:gd name="connsiteY145" fmla="*/ 271261 h 505330"/>
              <a:gd name="connsiteX146" fmla="*/ 913081 w 5487431"/>
              <a:gd name="connsiteY146" fmla="*/ 190476 h 505330"/>
              <a:gd name="connsiteX147" fmla="*/ 972355 w 5487431"/>
              <a:gd name="connsiteY147" fmla="*/ 258173 h 505330"/>
              <a:gd name="connsiteX148" fmla="*/ 972355 w 5487431"/>
              <a:gd name="connsiteY148" fmla="*/ 494221 h 505330"/>
              <a:gd name="connsiteX149" fmla="*/ 1054653 w 5487431"/>
              <a:gd name="connsiteY149" fmla="*/ 494221 h 505330"/>
              <a:gd name="connsiteX150" fmla="*/ 1054653 w 5487431"/>
              <a:gd name="connsiteY150" fmla="*/ 257420 h 505330"/>
              <a:gd name="connsiteX151" fmla="*/ 944478 w 5487431"/>
              <a:gd name="connsiteY151" fmla="*/ 142174 h 505330"/>
              <a:gd name="connsiteX152" fmla="*/ 848194 w 5487431"/>
              <a:gd name="connsiteY152" fmla="*/ 192547 h 505330"/>
              <a:gd name="connsiteX153" fmla="*/ 844008 w 5487431"/>
              <a:gd name="connsiteY153" fmla="*/ 192547 h 505330"/>
              <a:gd name="connsiteX154" fmla="*/ 844008 w 5487431"/>
              <a:gd name="connsiteY154" fmla="*/ 11016 h 505330"/>
              <a:gd name="connsiteX155" fmla="*/ 3352342 w 5487431"/>
              <a:gd name="connsiteY155" fmla="*/ 11016 h 505330"/>
              <a:gd name="connsiteX156" fmla="*/ 3265857 w 5487431"/>
              <a:gd name="connsiteY156" fmla="*/ 11016 h 505330"/>
              <a:gd name="connsiteX157" fmla="*/ 3265857 w 5487431"/>
              <a:gd name="connsiteY157" fmla="*/ 367864 h 505330"/>
              <a:gd name="connsiteX158" fmla="*/ 3190504 w 5487431"/>
              <a:gd name="connsiteY158" fmla="*/ 460325 h 505330"/>
              <a:gd name="connsiteX159" fmla="*/ 3115152 w 5487431"/>
              <a:gd name="connsiteY159" fmla="*/ 360897 h 505330"/>
              <a:gd name="connsiteX160" fmla="*/ 3115152 w 5487431"/>
              <a:gd name="connsiteY160" fmla="*/ 294612 h 505330"/>
              <a:gd name="connsiteX161" fmla="*/ 3028667 w 5487431"/>
              <a:gd name="connsiteY161" fmla="*/ 315985 h 505330"/>
              <a:gd name="connsiteX162" fmla="*/ 3028667 w 5487431"/>
              <a:gd name="connsiteY162" fmla="*/ 345644 h 505330"/>
              <a:gd name="connsiteX163" fmla="*/ 3190504 w 5487431"/>
              <a:gd name="connsiteY163" fmla="*/ 505143 h 505330"/>
              <a:gd name="connsiteX164" fmla="*/ 3352342 w 5487431"/>
              <a:gd name="connsiteY164" fmla="*/ 345644 h 505330"/>
              <a:gd name="connsiteX165" fmla="*/ 3352342 w 5487431"/>
              <a:gd name="connsiteY165" fmla="*/ 11016 h 505330"/>
              <a:gd name="connsiteX166" fmla="*/ 3872675 w 5487431"/>
              <a:gd name="connsiteY166" fmla="*/ 11016 h 505330"/>
              <a:gd name="connsiteX167" fmla="*/ 3790377 w 5487431"/>
              <a:gd name="connsiteY167" fmla="*/ 11016 h 505330"/>
              <a:gd name="connsiteX168" fmla="*/ 3790377 w 5487431"/>
              <a:gd name="connsiteY168" fmla="*/ 494221 h 505330"/>
              <a:gd name="connsiteX169" fmla="*/ 3872675 w 5487431"/>
              <a:gd name="connsiteY169" fmla="*/ 494221 h 505330"/>
              <a:gd name="connsiteX170" fmla="*/ 3872675 w 5487431"/>
              <a:gd name="connsiteY170" fmla="*/ 271261 h 505330"/>
              <a:gd name="connsiteX171" fmla="*/ 3941749 w 5487431"/>
              <a:gd name="connsiteY171" fmla="*/ 190476 h 505330"/>
              <a:gd name="connsiteX172" fmla="*/ 4001022 w 5487431"/>
              <a:gd name="connsiteY172" fmla="*/ 258173 h 505330"/>
              <a:gd name="connsiteX173" fmla="*/ 4001022 w 5487431"/>
              <a:gd name="connsiteY173" fmla="*/ 494221 h 505330"/>
              <a:gd name="connsiteX174" fmla="*/ 4083320 w 5487431"/>
              <a:gd name="connsiteY174" fmla="*/ 494221 h 505330"/>
              <a:gd name="connsiteX175" fmla="*/ 4083320 w 5487431"/>
              <a:gd name="connsiteY175" fmla="*/ 257420 h 505330"/>
              <a:gd name="connsiteX176" fmla="*/ 3973146 w 5487431"/>
              <a:gd name="connsiteY176" fmla="*/ 142174 h 505330"/>
              <a:gd name="connsiteX177" fmla="*/ 3876861 w 5487431"/>
              <a:gd name="connsiteY177" fmla="*/ 192547 h 505330"/>
              <a:gd name="connsiteX178" fmla="*/ 3872675 w 5487431"/>
              <a:gd name="connsiteY178" fmla="*/ 192547 h 505330"/>
              <a:gd name="connsiteX179" fmla="*/ 3872675 w 5487431"/>
              <a:gd name="connsiteY179" fmla="*/ 11016 h 505330"/>
              <a:gd name="connsiteX180" fmla="*/ 2730110 w 5487431"/>
              <a:gd name="connsiteY180" fmla="*/ 454864 h 505330"/>
              <a:gd name="connsiteX181" fmla="*/ 2622029 w 5487431"/>
              <a:gd name="connsiteY181" fmla="*/ 343761 h 505330"/>
              <a:gd name="connsiteX182" fmla="*/ 2664557 w 5487431"/>
              <a:gd name="connsiteY182" fmla="*/ 256102 h 505330"/>
              <a:gd name="connsiteX183" fmla="*/ 2822208 w 5487431"/>
              <a:gd name="connsiteY183" fmla="*/ 426617 h 505330"/>
              <a:gd name="connsiteX184" fmla="*/ 2730110 w 5487431"/>
              <a:gd name="connsiteY184" fmla="*/ 454864 h 505330"/>
              <a:gd name="connsiteX185" fmla="*/ 2883575 w 5487431"/>
              <a:gd name="connsiteY185" fmla="*/ 369936 h 505330"/>
              <a:gd name="connsiteX186" fmla="*/ 2746856 w 5487431"/>
              <a:gd name="connsiteY186" fmla="*/ 220794 h 505330"/>
              <a:gd name="connsiteX187" fmla="*/ 2814502 w 5487431"/>
              <a:gd name="connsiteY187" fmla="*/ 207706 h 505330"/>
              <a:gd name="connsiteX188" fmla="*/ 2905838 w 5487431"/>
              <a:gd name="connsiteY188" fmla="*/ 296118 h 505330"/>
              <a:gd name="connsiteX189" fmla="*/ 2883575 w 5487431"/>
              <a:gd name="connsiteY189" fmla="*/ 369936 h 505330"/>
              <a:gd name="connsiteX190" fmla="*/ 2728017 w 5487431"/>
              <a:gd name="connsiteY190" fmla="*/ 200833 h 505330"/>
              <a:gd name="connsiteX191" fmla="*/ 2698047 w 5487431"/>
              <a:gd name="connsiteY191" fmla="*/ 167690 h 505330"/>
              <a:gd name="connsiteX192" fmla="*/ 2663891 w 5487431"/>
              <a:gd name="connsiteY192" fmla="*/ 99334 h 505330"/>
              <a:gd name="connsiteX193" fmla="*/ 2730110 w 5487431"/>
              <a:gd name="connsiteY193" fmla="*/ 36532 h 505330"/>
              <a:gd name="connsiteX194" fmla="*/ 2795664 w 5487431"/>
              <a:gd name="connsiteY194" fmla="*/ 102817 h 505330"/>
              <a:gd name="connsiteX195" fmla="*/ 2728017 w 5487431"/>
              <a:gd name="connsiteY195" fmla="*/ 200833 h 505330"/>
              <a:gd name="connsiteX196" fmla="*/ 2732204 w 5487431"/>
              <a:gd name="connsiteY196" fmla="*/ 0 h 505330"/>
              <a:gd name="connsiteX197" fmla="*/ 2588539 w 5487431"/>
              <a:gd name="connsiteY197" fmla="*/ 119389 h 505330"/>
              <a:gd name="connsiteX198" fmla="*/ 2644387 w 5487431"/>
              <a:gd name="connsiteY198" fmla="*/ 234635 h 505330"/>
              <a:gd name="connsiteX199" fmla="*/ 2645053 w 5487431"/>
              <a:gd name="connsiteY199" fmla="*/ 236047 h 505330"/>
              <a:gd name="connsiteX200" fmla="*/ 2545344 w 5487431"/>
              <a:gd name="connsiteY200" fmla="*/ 374832 h 505330"/>
              <a:gd name="connsiteX201" fmla="*/ 2685584 w 5487431"/>
              <a:gd name="connsiteY201" fmla="*/ 505331 h 505330"/>
              <a:gd name="connsiteX202" fmla="*/ 2843235 w 5487431"/>
              <a:gd name="connsiteY202" fmla="*/ 449403 h 505330"/>
              <a:gd name="connsiteX203" fmla="*/ 2885097 w 5487431"/>
              <a:gd name="connsiteY203" fmla="*/ 494315 h 505330"/>
              <a:gd name="connsiteX204" fmla="*/ 2994606 w 5487431"/>
              <a:gd name="connsiteY204" fmla="*/ 494315 h 505330"/>
              <a:gd name="connsiteX205" fmla="*/ 2994606 w 5487431"/>
              <a:gd name="connsiteY205" fmla="*/ 490831 h 505330"/>
              <a:gd name="connsiteX206" fmla="*/ 2905363 w 5487431"/>
              <a:gd name="connsiteY206" fmla="*/ 393474 h 505330"/>
              <a:gd name="connsiteX207" fmla="*/ 2964637 w 5487431"/>
              <a:gd name="connsiteY207" fmla="*/ 258833 h 505330"/>
              <a:gd name="connsiteX208" fmla="*/ 2873300 w 5487431"/>
              <a:gd name="connsiteY208" fmla="*/ 171174 h 505330"/>
              <a:gd name="connsiteX209" fmla="*/ 2789574 w 5487431"/>
              <a:gd name="connsiteY209" fmla="*/ 187745 h 505330"/>
              <a:gd name="connsiteX210" fmla="*/ 2788147 w 5487431"/>
              <a:gd name="connsiteY210" fmla="*/ 185015 h 505330"/>
              <a:gd name="connsiteX211" fmla="*/ 2863500 w 5487431"/>
              <a:gd name="connsiteY211" fmla="*/ 93873 h 505330"/>
              <a:gd name="connsiteX212" fmla="*/ 2732204 w 5487431"/>
              <a:gd name="connsiteY212" fmla="*/ 0 h 50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5487431" h="505330">
                <a:moveTo>
                  <a:pt x="542692" y="463149"/>
                </a:moveTo>
                <a:cubicBezTo>
                  <a:pt x="488937" y="463149"/>
                  <a:pt x="458967" y="412776"/>
                  <a:pt x="458967" y="321634"/>
                </a:cubicBezTo>
                <a:cubicBezTo>
                  <a:pt x="458967" y="229080"/>
                  <a:pt x="488937" y="180119"/>
                  <a:pt x="542692" y="180119"/>
                </a:cubicBezTo>
                <a:cubicBezTo>
                  <a:pt x="596448" y="180119"/>
                  <a:pt x="626417" y="229833"/>
                  <a:pt x="626417" y="321634"/>
                </a:cubicBezTo>
                <a:cubicBezTo>
                  <a:pt x="626322" y="414189"/>
                  <a:pt x="596352" y="463149"/>
                  <a:pt x="542692" y="463149"/>
                </a:cubicBezTo>
                <a:moveTo>
                  <a:pt x="542692" y="142174"/>
                </a:moveTo>
                <a:cubicBezTo>
                  <a:pt x="433183" y="142174"/>
                  <a:pt x="372482" y="222959"/>
                  <a:pt x="372482" y="321634"/>
                </a:cubicBezTo>
                <a:cubicBezTo>
                  <a:pt x="372482" y="420309"/>
                  <a:pt x="433183" y="501094"/>
                  <a:pt x="542692" y="501094"/>
                </a:cubicBezTo>
                <a:cubicBezTo>
                  <a:pt x="652201" y="501094"/>
                  <a:pt x="712902" y="420309"/>
                  <a:pt x="712902" y="321634"/>
                </a:cubicBezTo>
                <a:cubicBezTo>
                  <a:pt x="712902" y="222959"/>
                  <a:pt x="652201" y="142174"/>
                  <a:pt x="542692" y="142174"/>
                </a:cubicBezTo>
                <a:moveTo>
                  <a:pt x="1303641" y="142174"/>
                </a:moveTo>
                <a:cubicBezTo>
                  <a:pt x="1251979" y="142174"/>
                  <a:pt x="1223436" y="164301"/>
                  <a:pt x="1207357" y="192547"/>
                </a:cubicBezTo>
                <a:lnTo>
                  <a:pt x="1203170" y="192547"/>
                </a:lnTo>
                <a:lnTo>
                  <a:pt x="1203170" y="149048"/>
                </a:lnTo>
                <a:lnTo>
                  <a:pt x="1120872" y="149048"/>
                </a:lnTo>
                <a:lnTo>
                  <a:pt x="1120872" y="494221"/>
                </a:lnTo>
                <a:lnTo>
                  <a:pt x="1203170" y="494221"/>
                </a:lnTo>
                <a:lnTo>
                  <a:pt x="1203170" y="271261"/>
                </a:lnTo>
                <a:cubicBezTo>
                  <a:pt x="1203170" y="220229"/>
                  <a:pt x="1229715" y="190476"/>
                  <a:pt x="1272244" y="190476"/>
                </a:cubicBezTo>
                <a:cubicBezTo>
                  <a:pt x="1313440" y="190476"/>
                  <a:pt x="1331518" y="217404"/>
                  <a:pt x="1331518" y="258173"/>
                </a:cubicBezTo>
                <a:lnTo>
                  <a:pt x="1331518" y="494221"/>
                </a:lnTo>
                <a:lnTo>
                  <a:pt x="1413816" y="494221"/>
                </a:lnTo>
                <a:lnTo>
                  <a:pt x="1413816" y="257420"/>
                </a:lnTo>
                <a:cubicBezTo>
                  <a:pt x="1413911" y="186333"/>
                  <a:pt x="1376234" y="142174"/>
                  <a:pt x="1303641" y="142174"/>
                </a:cubicBezTo>
                <a:moveTo>
                  <a:pt x="1600771" y="142174"/>
                </a:moveTo>
                <a:cubicBezTo>
                  <a:pt x="1524752" y="142174"/>
                  <a:pt x="1467571" y="173905"/>
                  <a:pt x="1467571" y="241602"/>
                </a:cubicBezTo>
                <a:cubicBezTo>
                  <a:pt x="1467571" y="298943"/>
                  <a:pt x="1507341" y="330014"/>
                  <a:pt x="1551962" y="341030"/>
                </a:cubicBezTo>
                <a:lnTo>
                  <a:pt x="1621702" y="358260"/>
                </a:lnTo>
                <a:cubicBezTo>
                  <a:pt x="1658712" y="367205"/>
                  <a:pt x="1675457" y="380387"/>
                  <a:pt x="1675457" y="409387"/>
                </a:cubicBezTo>
                <a:cubicBezTo>
                  <a:pt x="1675457" y="444601"/>
                  <a:pt x="1650340" y="464656"/>
                  <a:pt x="1606384" y="464656"/>
                </a:cubicBezTo>
                <a:cubicBezTo>
                  <a:pt x="1558908" y="464656"/>
                  <a:pt x="1534551" y="441870"/>
                  <a:pt x="1526845" y="384624"/>
                </a:cubicBezTo>
                <a:lnTo>
                  <a:pt x="1452919" y="405338"/>
                </a:lnTo>
                <a:cubicBezTo>
                  <a:pt x="1457106" y="464750"/>
                  <a:pt x="1512954" y="501282"/>
                  <a:pt x="1597345" y="501282"/>
                </a:cubicBezTo>
                <a:cubicBezTo>
                  <a:pt x="1691536" y="501282"/>
                  <a:pt x="1742438" y="457782"/>
                  <a:pt x="1742438" y="388767"/>
                </a:cubicBezTo>
                <a:cubicBezTo>
                  <a:pt x="1742438" y="323894"/>
                  <a:pt x="1697055" y="296965"/>
                  <a:pt x="1649674" y="285196"/>
                </a:cubicBezTo>
                <a:lnTo>
                  <a:pt x="1582693" y="268625"/>
                </a:lnTo>
                <a:cubicBezTo>
                  <a:pt x="1549203" y="260339"/>
                  <a:pt x="1534551" y="245180"/>
                  <a:pt x="1534551" y="223054"/>
                </a:cubicBezTo>
                <a:cubicBezTo>
                  <a:pt x="1534551" y="195466"/>
                  <a:pt x="1558242" y="178895"/>
                  <a:pt x="1593825" y="178895"/>
                </a:cubicBezTo>
                <a:cubicBezTo>
                  <a:pt x="1635688" y="178895"/>
                  <a:pt x="1661471" y="201680"/>
                  <a:pt x="1664992" y="245180"/>
                </a:cubicBezTo>
                <a:lnTo>
                  <a:pt x="1734731" y="224466"/>
                </a:lnTo>
                <a:cubicBezTo>
                  <a:pt x="1726358" y="175976"/>
                  <a:pt x="1678216" y="142174"/>
                  <a:pt x="1600771" y="142174"/>
                </a:cubicBezTo>
                <a:moveTo>
                  <a:pt x="1946803" y="463149"/>
                </a:moveTo>
                <a:cubicBezTo>
                  <a:pt x="1893048" y="463149"/>
                  <a:pt x="1863078" y="412776"/>
                  <a:pt x="1863078" y="321634"/>
                </a:cubicBezTo>
                <a:cubicBezTo>
                  <a:pt x="1863078" y="229080"/>
                  <a:pt x="1893048" y="180119"/>
                  <a:pt x="1946803" y="180119"/>
                </a:cubicBezTo>
                <a:cubicBezTo>
                  <a:pt x="2000559" y="180119"/>
                  <a:pt x="2030529" y="229833"/>
                  <a:pt x="2030529" y="321634"/>
                </a:cubicBezTo>
                <a:cubicBezTo>
                  <a:pt x="2030529" y="414189"/>
                  <a:pt x="2000464" y="463149"/>
                  <a:pt x="1946803" y="463149"/>
                </a:cubicBezTo>
                <a:moveTo>
                  <a:pt x="1946803" y="142174"/>
                </a:moveTo>
                <a:cubicBezTo>
                  <a:pt x="1837294" y="142174"/>
                  <a:pt x="1776594" y="222959"/>
                  <a:pt x="1776594" y="321634"/>
                </a:cubicBezTo>
                <a:cubicBezTo>
                  <a:pt x="1776594" y="420309"/>
                  <a:pt x="1837294" y="501094"/>
                  <a:pt x="1946803" y="501094"/>
                </a:cubicBezTo>
                <a:cubicBezTo>
                  <a:pt x="2056312" y="501094"/>
                  <a:pt x="2117013" y="420309"/>
                  <a:pt x="2117013" y="321634"/>
                </a:cubicBezTo>
                <a:cubicBezTo>
                  <a:pt x="2117013" y="222959"/>
                  <a:pt x="2056312" y="142174"/>
                  <a:pt x="1946803" y="142174"/>
                </a:cubicBezTo>
                <a:moveTo>
                  <a:pt x="2348590" y="142174"/>
                </a:moveTo>
                <a:cubicBezTo>
                  <a:pt x="2296927" y="142174"/>
                  <a:pt x="2268385" y="164301"/>
                  <a:pt x="2252306" y="192547"/>
                </a:cubicBezTo>
                <a:lnTo>
                  <a:pt x="2248119" y="192547"/>
                </a:lnTo>
                <a:lnTo>
                  <a:pt x="2248119" y="149048"/>
                </a:lnTo>
                <a:lnTo>
                  <a:pt x="2165821" y="149048"/>
                </a:lnTo>
                <a:lnTo>
                  <a:pt x="2165821" y="494221"/>
                </a:lnTo>
                <a:lnTo>
                  <a:pt x="2248119" y="494221"/>
                </a:lnTo>
                <a:lnTo>
                  <a:pt x="2248119" y="271261"/>
                </a:lnTo>
                <a:cubicBezTo>
                  <a:pt x="2248119" y="220229"/>
                  <a:pt x="2274664" y="190476"/>
                  <a:pt x="2317193" y="190476"/>
                </a:cubicBezTo>
                <a:cubicBezTo>
                  <a:pt x="2358389" y="190476"/>
                  <a:pt x="2376466" y="217404"/>
                  <a:pt x="2376466" y="258173"/>
                </a:cubicBezTo>
                <a:lnTo>
                  <a:pt x="2376466" y="494221"/>
                </a:lnTo>
                <a:lnTo>
                  <a:pt x="2458764" y="494221"/>
                </a:lnTo>
                <a:lnTo>
                  <a:pt x="2458764" y="257420"/>
                </a:lnTo>
                <a:cubicBezTo>
                  <a:pt x="2458764" y="186333"/>
                  <a:pt x="2421088" y="142174"/>
                  <a:pt x="2348590" y="142174"/>
                </a:cubicBezTo>
                <a:moveTo>
                  <a:pt x="3571359" y="463149"/>
                </a:moveTo>
                <a:cubicBezTo>
                  <a:pt x="3517604" y="463149"/>
                  <a:pt x="3487634" y="412776"/>
                  <a:pt x="3487634" y="321634"/>
                </a:cubicBezTo>
                <a:cubicBezTo>
                  <a:pt x="3487634" y="229080"/>
                  <a:pt x="3517604" y="180119"/>
                  <a:pt x="3571359" y="180119"/>
                </a:cubicBezTo>
                <a:cubicBezTo>
                  <a:pt x="3625115" y="180119"/>
                  <a:pt x="3655085" y="229833"/>
                  <a:pt x="3655085" y="321634"/>
                </a:cubicBezTo>
                <a:cubicBezTo>
                  <a:pt x="3655085" y="414189"/>
                  <a:pt x="3625020" y="463149"/>
                  <a:pt x="3571359" y="463149"/>
                </a:cubicBezTo>
                <a:moveTo>
                  <a:pt x="3571359" y="142174"/>
                </a:moveTo>
                <a:cubicBezTo>
                  <a:pt x="3461850" y="142174"/>
                  <a:pt x="3401150" y="222959"/>
                  <a:pt x="3401150" y="321634"/>
                </a:cubicBezTo>
                <a:cubicBezTo>
                  <a:pt x="3401150" y="420309"/>
                  <a:pt x="3461850" y="501094"/>
                  <a:pt x="3571359" y="501094"/>
                </a:cubicBezTo>
                <a:cubicBezTo>
                  <a:pt x="3680868" y="501094"/>
                  <a:pt x="3741569" y="420309"/>
                  <a:pt x="3741569" y="321634"/>
                </a:cubicBezTo>
                <a:cubicBezTo>
                  <a:pt x="3741569" y="222959"/>
                  <a:pt x="3680868" y="142174"/>
                  <a:pt x="3571359" y="142174"/>
                </a:cubicBezTo>
                <a:moveTo>
                  <a:pt x="4332308" y="142174"/>
                </a:moveTo>
                <a:cubicBezTo>
                  <a:pt x="4280646" y="142174"/>
                  <a:pt x="4252103" y="164301"/>
                  <a:pt x="4236024" y="192547"/>
                </a:cubicBezTo>
                <a:lnTo>
                  <a:pt x="4231838" y="192547"/>
                </a:lnTo>
                <a:lnTo>
                  <a:pt x="4231838" y="149048"/>
                </a:lnTo>
                <a:lnTo>
                  <a:pt x="4149539" y="149048"/>
                </a:lnTo>
                <a:lnTo>
                  <a:pt x="4149539" y="494221"/>
                </a:lnTo>
                <a:lnTo>
                  <a:pt x="4231838" y="494221"/>
                </a:lnTo>
                <a:lnTo>
                  <a:pt x="4231838" y="271261"/>
                </a:lnTo>
                <a:cubicBezTo>
                  <a:pt x="4231838" y="220229"/>
                  <a:pt x="4258383" y="190476"/>
                  <a:pt x="4300911" y="190476"/>
                </a:cubicBezTo>
                <a:cubicBezTo>
                  <a:pt x="4342108" y="190476"/>
                  <a:pt x="4360185" y="217404"/>
                  <a:pt x="4360185" y="258173"/>
                </a:cubicBezTo>
                <a:lnTo>
                  <a:pt x="4360185" y="494221"/>
                </a:lnTo>
                <a:lnTo>
                  <a:pt x="4442483" y="494221"/>
                </a:lnTo>
                <a:lnTo>
                  <a:pt x="4442483" y="257420"/>
                </a:lnTo>
                <a:cubicBezTo>
                  <a:pt x="4442578" y="186333"/>
                  <a:pt x="4404902" y="142174"/>
                  <a:pt x="4332308" y="142174"/>
                </a:cubicBezTo>
                <a:moveTo>
                  <a:pt x="4629533" y="142174"/>
                </a:moveTo>
                <a:cubicBezTo>
                  <a:pt x="4553514" y="142174"/>
                  <a:pt x="4496334" y="173905"/>
                  <a:pt x="4496334" y="241602"/>
                </a:cubicBezTo>
                <a:cubicBezTo>
                  <a:pt x="4496334" y="298943"/>
                  <a:pt x="4536103" y="330014"/>
                  <a:pt x="4580725" y="341030"/>
                </a:cubicBezTo>
                <a:lnTo>
                  <a:pt x="4650464" y="358260"/>
                </a:lnTo>
                <a:cubicBezTo>
                  <a:pt x="4687475" y="367205"/>
                  <a:pt x="4704220" y="380387"/>
                  <a:pt x="4704220" y="409387"/>
                </a:cubicBezTo>
                <a:cubicBezTo>
                  <a:pt x="4704220" y="444601"/>
                  <a:pt x="4679102" y="464656"/>
                  <a:pt x="4635146" y="464656"/>
                </a:cubicBezTo>
                <a:cubicBezTo>
                  <a:pt x="4587670" y="464656"/>
                  <a:pt x="4563314" y="441870"/>
                  <a:pt x="4555607" y="384624"/>
                </a:cubicBezTo>
                <a:lnTo>
                  <a:pt x="4481682" y="405338"/>
                </a:lnTo>
                <a:cubicBezTo>
                  <a:pt x="4485868" y="464750"/>
                  <a:pt x="4541716" y="501282"/>
                  <a:pt x="4626108" y="501282"/>
                </a:cubicBezTo>
                <a:cubicBezTo>
                  <a:pt x="4720299" y="501282"/>
                  <a:pt x="4771200" y="457782"/>
                  <a:pt x="4771200" y="388767"/>
                </a:cubicBezTo>
                <a:cubicBezTo>
                  <a:pt x="4771200" y="323894"/>
                  <a:pt x="4725817" y="296965"/>
                  <a:pt x="4678436" y="285196"/>
                </a:cubicBezTo>
                <a:lnTo>
                  <a:pt x="4611456" y="268625"/>
                </a:lnTo>
                <a:cubicBezTo>
                  <a:pt x="4577966" y="260339"/>
                  <a:pt x="4563314" y="245180"/>
                  <a:pt x="4563314" y="223054"/>
                </a:cubicBezTo>
                <a:cubicBezTo>
                  <a:pt x="4563314" y="195466"/>
                  <a:pt x="4587004" y="178895"/>
                  <a:pt x="4622588" y="178895"/>
                </a:cubicBezTo>
                <a:cubicBezTo>
                  <a:pt x="4664450" y="178895"/>
                  <a:pt x="4690234" y="201680"/>
                  <a:pt x="4693754" y="245180"/>
                </a:cubicBezTo>
                <a:lnTo>
                  <a:pt x="4763493" y="224466"/>
                </a:lnTo>
                <a:cubicBezTo>
                  <a:pt x="4755026" y="175976"/>
                  <a:pt x="4706884" y="142174"/>
                  <a:pt x="4629533" y="142174"/>
                </a:cubicBezTo>
                <a:moveTo>
                  <a:pt x="4975471" y="463149"/>
                </a:moveTo>
                <a:cubicBezTo>
                  <a:pt x="4921715" y="463149"/>
                  <a:pt x="4891745" y="412776"/>
                  <a:pt x="4891745" y="321634"/>
                </a:cubicBezTo>
                <a:cubicBezTo>
                  <a:pt x="4891745" y="229080"/>
                  <a:pt x="4921715" y="180119"/>
                  <a:pt x="4975471" y="180119"/>
                </a:cubicBezTo>
                <a:cubicBezTo>
                  <a:pt x="5029226" y="180119"/>
                  <a:pt x="5059196" y="229833"/>
                  <a:pt x="5059196" y="321634"/>
                </a:cubicBezTo>
                <a:cubicBezTo>
                  <a:pt x="5059196" y="414189"/>
                  <a:pt x="5029131" y="463149"/>
                  <a:pt x="4975471" y="463149"/>
                </a:cubicBezTo>
                <a:moveTo>
                  <a:pt x="4975471" y="142174"/>
                </a:moveTo>
                <a:cubicBezTo>
                  <a:pt x="4865962" y="142174"/>
                  <a:pt x="4805261" y="222959"/>
                  <a:pt x="4805261" y="321634"/>
                </a:cubicBezTo>
                <a:cubicBezTo>
                  <a:pt x="4805261" y="420309"/>
                  <a:pt x="4865962" y="501094"/>
                  <a:pt x="4975471" y="501094"/>
                </a:cubicBezTo>
                <a:cubicBezTo>
                  <a:pt x="5084980" y="501094"/>
                  <a:pt x="5145680" y="420309"/>
                  <a:pt x="5145680" y="321634"/>
                </a:cubicBezTo>
                <a:cubicBezTo>
                  <a:pt x="5145680" y="222959"/>
                  <a:pt x="5084980" y="142174"/>
                  <a:pt x="4975471" y="142174"/>
                </a:cubicBezTo>
                <a:moveTo>
                  <a:pt x="5377257" y="142174"/>
                </a:moveTo>
                <a:cubicBezTo>
                  <a:pt x="5325595" y="142174"/>
                  <a:pt x="5297052" y="164301"/>
                  <a:pt x="5280973" y="192547"/>
                </a:cubicBezTo>
                <a:lnTo>
                  <a:pt x="5276787" y="192547"/>
                </a:lnTo>
                <a:lnTo>
                  <a:pt x="5276787" y="149048"/>
                </a:lnTo>
                <a:lnTo>
                  <a:pt x="5194488" y="149048"/>
                </a:lnTo>
                <a:lnTo>
                  <a:pt x="5194488" y="494221"/>
                </a:lnTo>
                <a:lnTo>
                  <a:pt x="5276787" y="494221"/>
                </a:lnTo>
                <a:lnTo>
                  <a:pt x="5276787" y="271261"/>
                </a:lnTo>
                <a:cubicBezTo>
                  <a:pt x="5276787" y="220229"/>
                  <a:pt x="5303331" y="190476"/>
                  <a:pt x="5345860" y="190476"/>
                </a:cubicBezTo>
                <a:cubicBezTo>
                  <a:pt x="5387057" y="190476"/>
                  <a:pt x="5405134" y="217404"/>
                  <a:pt x="5405134" y="258173"/>
                </a:cubicBezTo>
                <a:lnTo>
                  <a:pt x="5405134" y="494221"/>
                </a:lnTo>
                <a:lnTo>
                  <a:pt x="5487432" y="494221"/>
                </a:lnTo>
                <a:lnTo>
                  <a:pt x="5487432" y="257420"/>
                </a:lnTo>
                <a:cubicBezTo>
                  <a:pt x="5487432" y="186333"/>
                  <a:pt x="5449755" y="142174"/>
                  <a:pt x="5377257" y="142174"/>
                </a:cubicBezTo>
                <a:moveTo>
                  <a:pt x="323674" y="11016"/>
                </a:moveTo>
                <a:lnTo>
                  <a:pt x="237190" y="11016"/>
                </a:lnTo>
                <a:lnTo>
                  <a:pt x="237190" y="367864"/>
                </a:lnTo>
                <a:cubicBezTo>
                  <a:pt x="237190" y="425864"/>
                  <a:pt x="214831" y="460325"/>
                  <a:pt x="161837" y="460325"/>
                </a:cubicBezTo>
                <a:cubicBezTo>
                  <a:pt x="109509" y="460325"/>
                  <a:pt x="86484" y="423698"/>
                  <a:pt x="86484" y="360897"/>
                </a:cubicBezTo>
                <a:lnTo>
                  <a:pt x="86484" y="294612"/>
                </a:lnTo>
                <a:lnTo>
                  <a:pt x="0" y="315985"/>
                </a:lnTo>
                <a:lnTo>
                  <a:pt x="0" y="345644"/>
                </a:lnTo>
                <a:cubicBezTo>
                  <a:pt x="0" y="436033"/>
                  <a:pt x="45383" y="505143"/>
                  <a:pt x="161837" y="505143"/>
                </a:cubicBezTo>
                <a:cubicBezTo>
                  <a:pt x="278291" y="505143"/>
                  <a:pt x="323674" y="436127"/>
                  <a:pt x="323674" y="345644"/>
                </a:cubicBezTo>
                <a:lnTo>
                  <a:pt x="323674" y="11016"/>
                </a:lnTo>
                <a:moveTo>
                  <a:pt x="844008" y="11016"/>
                </a:moveTo>
                <a:lnTo>
                  <a:pt x="761710" y="11016"/>
                </a:lnTo>
                <a:lnTo>
                  <a:pt x="761710" y="494221"/>
                </a:lnTo>
                <a:lnTo>
                  <a:pt x="844008" y="494221"/>
                </a:lnTo>
                <a:lnTo>
                  <a:pt x="844008" y="271261"/>
                </a:lnTo>
                <a:cubicBezTo>
                  <a:pt x="844008" y="220229"/>
                  <a:pt x="870553" y="190476"/>
                  <a:pt x="913081" y="190476"/>
                </a:cubicBezTo>
                <a:cubicBezTo>
                  <a:pt x="954278" y="190476"/>
                  <a:pt x="972355" y="217404"/>
                  <a:pt x="972355" y="258173"/>
                </a:cubicBezTo>
                <a:lnTo>
                  <a:pt x="972355" y="494221"/>
                </a:lnTo>
                <a:lnTo>
                  <a:pt x="1054653" y="494221"/>
                </a:lnTo>
                <a:lnTo>
                  <a:pt x="1054653" y="257420"/>
                </a:lnTo>
                <a:cubicBezTo>
                  <a:pt x="1054653" y="186333"/>
                  <a:pt x="1016977" y="142174"/>
                  <a:pt x="944478" y="142174"/>
                </a:cubicBezTo>
                <a:cubicBezTo>
                  <a:pt x="892816" y="142174"/>
                  <a:pt x="864273" y="164301"/>
                  <a:pt x="848194" y="192547"/>
                </a:cubicBezTo>
                <a:lnTo>
                  <a:pt x="844008" y="192547"/>
                </a:lnTo>
                <a:lnTo>
                  <a:pt x="844008" y="11016"/>
                </a:lnTo>
                <a:moveTo>
                  <a:pt x="3352342" y="11016"/>
                </a:moveTo>
                <a:lnTo>
                  <a:pt x="3265857" y="11016"/>
                </a:lnTo>
                <a:lnTo>
                  <a:pt x="3265857" y="367864"/>
                </a:lnTo>
                <a:cubicBezTo>
                  <a:pt x="3265857" y="425864"/>
                  <a:pt x="3243499" y="460325"/>
                  <a:pt x="3190504" y="460325"/>
                </a:cubicBezTo>
                <a:cubicBezTo>
                  <a:pt x="3138176" y="460325"/>
                  <a:pt x="3115152" y="423698"/>
                  <a:pt x="3115152" y="360897"/>
                </a:cubicBezTo>
                <a:lnTo>
                  <a:pt x="3115152" y="294612"/>
                </a:lnTo>
                <a:lnTo>
                  <a:pt x="3028667" y="315985"/>
                </a:lnTo>
                <a:lnTo>
                  <a:pt x="3028667" y="345644"/>
                </a:lnTo>
                <a:cubicBezTo>
                  <a:pt x="3028667" y="436033"/>
                  <a:pt x="3074050" y="505143"/>
                  <a:pt x="3190504" y="505143"/>
                </a:cubicBezTo>
                <a:cubicBezTo>
                  <a:pt x="3306959" y="505143"/>
                  <a:pt x="3352342" y="436127"/>
                  <a:pt x="3352342" y="345644"/>
                </a:cubicBezTo>
                <a:lnTo>
                  <a:pt x="3352342" y="11016"/>
                </a:lnTo>
                <a:moveTo>
                  <a:pt x="3872675" y="11016"/>
                </a:moveTo>
                <a:lnTo>
                  <a:pt x="3790377" y="11016"/>
                </a:lnTo>
                <a:lnTo>
                  <a:pt x="3790377" y="494221"/>
                </a:lnTo>
                <a:lnTo>
                  <a:pt x="3872675" y="494221"/>
                </a:lnTo>
                <a:lnTo>
                  <a:pt x="3872675" y="271261"/>
                </a:lnTo>
                <a:cubicBezTo>
                  <a:pt x="3872675" y="220229"/>
                  <a:pt x="3899220" y="190476"/>
                  <a:pt x="3941749" y="190476"/>
                </a:cubicBezTo>
                <a:cubicBezTo>
                  <a:pt x="3982945" y="190476"/>
                  <a:pt x="4001022" y="217404"/>
                  <a:pt x="4001022" y="258173"/>
                </a:cubicBezTo>
                <a:lnTo>
                  <a:pt x="4001022" y="494221"/>
                </a:lnTo>
                <a:lnTo>
                  <a:pt x="4083320" y="494221"/>
                </a:lnTo>
                <a:lnTo>
                  <a:pt x="4083320" y="257420"/>
                </a:lnTo>
                <a:cubicBezTo>
                  <a:pt x="4083320" y="186333"/>
                  <a:pt x="4045644" y="142174"/>
                  <a:pt x="3973146" y="142174"/>
                </a:cubicBezTo>
                <a:cubicBezTo>
                  <a:pt x="3921483" y="142174"/>
                  <a:pt x="3892941" y="164301"/>
                  <a:pt x="3876861" y="192547"/>
                </a:cubicBezTo>
                <a:lnTo>
                  <a:pt x="3872675" y="192547"/>
                </a:lnTo>
                <a:lnTo>
                  <a:pt x="3872675" y="11016"/>
                </a:lnTo>
                <a:moveTo>
                  <a:pt x="2730110" y="454864"/>
                </a:moveTo>
                <a:cubicBezTo>
                  <a:pt x="2663130" y="454864"/>
                  <a:pt x="2622029" y="401007"/>
                  <a:pt x="2622029" y="343761"/>
                </a:cubicBezTo>
                <a:cubicBezTo>
                  <a:pt x="2622029" y="307887"/>
                  <a:pt x="2638108" y="274745"/>
                  <a:pt x="2664557" y="256102"/>
                </a:cubicBezTo>
                <a:lnTo>
                  <a:pt x="2822208" y="426617"/>
                </a:lnTo>
                <a:cubicBezTo>
                  <a:pt x="2792904" y="443848"/>
                  <a:pt x="2760080" y="454864"/>
                  <a:pt x="2730110" y="454864"/>
                </a:cubicBezTo>
                <a:moveTo>
                  <a:pt x="2883575" y="369936"/>
                </a:moveTo>
                <a:lnTo>
                  <a:pt x="2746856" y="220794"/>
                </a:lnTo>
                <a:cubicBezTo>
                  <a:pt x="2771307" y="211096"/>
                  <a:pt x="2794998" y="207706"/>
                  <a:pt x="2814502" y="207706"/>
                </a:cubicBezTo>
                <a:cubicBezTo>
                  <a:pt x="2871016" y="207706"/>
                  <a:pt x="2905838" y="240190"/>
                  <a:pt x="2905838" y="296118"/>
                </a:cubicBezTo>
                <a:cubicBezTo>
                  <a:pt x="2905934" y="320975"/>
                  <a:pt x="2898893" y="346491"/>
                  <a:pt x="2883575" y="369936"/>
                </a:cubicBezTo>
                <a:moveTo>
                  <a:pt x="2728017" y="200833"/>
                </a:moveTo>
                <a:lnTo>
                  <a:pt x="2698047" y="167690"/>
                </a:lnTo>
                <a:cubicBezTo>
                  <a:pt x="2671503" y="138691"/>
                  <a:pt x="2663891" y="120707"/>
                  <a:pt x="2663891" y="99334"/>
                </a:cubicBezTo>
                <a:cubicBezTo>
                  <a:pt x="2663891" y="59318"/>
                  <a:pt x="2689675" y="36532"/>
                  <a:pt x="2730110" y="36532"/>
                </a:cubicBezTo>
                <a:cubicBezTo>
                  <a:pt x="2771307" y="36532"/>
                  <a:pt x="2795664" y="59977"/>
                  <a:pt x="2795664" y="102817"/>
                </a:cubicBezTo>
                <a:cubicBezTo>
                  <a:pt x="2795664" y="142174"/>
                  <a:pt x="2776159" y="179460"/>
                  <a:pt x="2728017" y="200833"/>
                </a:cubicBezTo>
                <a:moveTo>
                  <a:pt x="2732204" y="0"/>
                </a:moveTo>
                <a:cubicBezTo>
                  <a:pt x="2635920" y="0"/>
                  <a:pt x="2588539" y="53198"/>
                  <a:pt x="2588539" y="119389"/>
                </a:cubicBezTo>
                <a:cubicBezTo>
                  <a:pt x="2588539" y="155262"/>
                  <a:pt x="2603857" y="191229"/>
                  <a:pt x="2644387" y="234635"/>
                </a:cubicBezTo>
                <a:lnTo>
                  <a:pt x="2645053" y="236047"/>
                </a:lnTo>
                <a:cubicBezTo>
                  <a:pt x="2576741" y="268531"/>
                  <a:pt x="2545344" y="320975"/>
                  <a:pt x="2545344" y="374832"/>
                </a:cubicBezTo>
                <a:cubicBezTo>
                  <a:pt x="2545344" y="445919"/>
                  <a:pt x="2600432" y="505331"/>
                  <a:pt x="2685584" y="505331"/>
                </a:cubicBezTo>
                <a:cubicBezTo>
                  <a:pt x="2734392" y="505331"/>
                  <a:pt x="2791573" y="485276"/>
                  <a:pt x="2843235" y="449403"/>
                </a:cubicBezTo>
                <a:lnTo>
                  <a:pt x="2885097" y="494315"/>
                </a:lnTo>
                <a:lnTo>
                  <a:pt x="2994606" y="494315"/>
                </a:lnTo>
                <a:lnTo>
                  <a:pt x="2994606" y="490831"/>
                </a:lnTo>
                <a:lnTo>
                  <a:pt x="2905363" y="393474"/>
                </a:lnTo>
                <a:cubicBezTo>
                  <a:pt x="2943039" y="349316"/>
                  <a:pt x="2964637" y="301014"/>
                  <a:pt x="2964637" y="258833"/>
                </a:cubicBezTo>
                <a:cubicBezTo>
                  <a:pt x="2964637" y="206388"/>
                  <a:pt x="2929053" y="171174"/>
                  <a:pt x="2873300" y="171174"/>
                </a:cubicBezTo>
                <a:cubicBezTo>
                  <a:pt x="2843996" y="171174"/>
                  <a:pt x="2811172" y="179460"/>
                  <a:pt x="2789574" y="187745"/>
                </a:cubicBezTo>
                <a:lnTo>
                  <a:pt x="2788147" y="185015"/>
                </a:lnTo>
                <a:cubicBezTo>
                  <a:pt x="2841142" y="156674"/>
                  <a:pt x="2863500" y="130499"/>
                  <a:pt x="2863500" y="93873"/>
                </a:cubicBezTo>
                <a:cubicBezTo>
                  <a:pt x="2863310" y="41428"/>
                  <a:pt x="2815929" y="0"/>
                  <a:pt x="2732204" y="0"/>
                </a:cubicBezTo>
              </a:path>
            </a:pathLst>
          </a:custGeom>
          <a:solidFill>
            <a:schemeClr val="accent1"/>
          </a:solidFill>
          <a:ln w="9509" cap="flat">
            <a:noFill/>
            <a:prstDash val="solid"/>
            <a:miter/>
          </a:ln>
        </p:spPr>
        <p:txBody>
          <a:bodyPr rtlCol="0" anchor="ctr"/>
          <a:lstStyle/>
          <a:p>
            <a:endParaRPr lang="en-GB"/>
          </a:p>
        </p:txBody>
      </p:sp>
    </p:spTree>
    <p:extLst>
      <p:ext uri="{BB962C8B-B14F-4D97-AF65-F5344CB8AC3E}">
        <p14:creationId xmlns:p14="http://schemas.microsoft.com/office/powerpoint/2010/main" val="6047271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06B22-1DE8-7C36-14AE-7260C97F6705}"/>
              </a:ext>
            </a:extLst>
          </p:cNvPr>
          <p:cNvSpPr>
            <a:spLocks noGrp="1"/>
          </p:cNvSpPr>
          <p:nvPr>
            <p:ph type="title"/>
          </p:nvPr>
        </p:nvSpPr>
        <p:spPr>
          <a:xfrm>
            <a:off x="291479" y="262800"/>
            <a:ext cx="4667383" cy="327013"/>
          </a:xfrm>
        </p:spPr>
        <p:txBody>
          <a:bodyPr>
            <a:spAutoFit/>
          </a:bodyPr>
          <a:lstStyle>
            <a:lvl1pPr>
              <a:defRPr sz="2500" b="0" i="0">
                <a:solidFill>
                  <a:schemeClr val="bg1"/>
                </a:solidFill>
                <a:latin typeface="+mj-lt"/>
              </a:defRPr>
            </a:lvl1pPr>
          </a:lstStyle>
          <a:p>
            <a:r>
              <a:rPr lang="en-US"/>
              <a:t>Click to edit Master title style</a:t>
            </a:r>
          </a:p>
        </p:txBody>
      </p:sp>
      <p:sp>
        <p:nvSpPr>
          <p:cNvPr id="30" name="Subtitle 2">
            <a:extLst>
              <a:ext uri="{FF2B5EF4-FFF2-40B4-BE49-F238E27FC236}">
                <a16:creationId xmlns:a16="http://schemas.microsoft.com/office/drawing/2014/main" id="{AFC7E9F7-1405-E6D8-9042-37C2DC045BD5}"/>
              </a:ext>
            </a:extLst>
          </p:cNvPr>
          <p:cNvSpPr>
            <a:spLocks noGrp="1"/>
          </p:cNvSpPr>
          <p:nvPr>
            <p:ph type="subTitle" idx="1" hasCustomPrompt="1"/>
          </p:nvPr>
        </p:nvSpPr>
        <p:spPr>
          <a:xfrm>
            <a:off x="6165850" y="240207"/>
            <a:ext cx="2795587" cy="717180"/>
          </a:xfrm>
        </p:spPr>
        <p:txBody>
          <a:bodyPr anchor="t"/>
          <a:lstStyle>
            <a:lvl1pPr marL="0" indent="0" algn="l">
              <a:spcBef>
                <a:spcPts val="0"/>
              </a:spcBef>
              <a:spcAft>
                <a:spcPts val="0"/>
              </a:spcAft>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pporting details – delete if not required</a:t>
            </a:r>
          </a:p>
        </p:txBody>
      </p:sp>
      <p:sp>
        <p:nvSpPr>
          <p:cNvPr id="8" name="Graphic 6">
            <a:extLst>
              <a:ext uri="{FF2B5EF4-FFF2-40B4-BE49-F238E27FC236}">
                <a16:creationId xmlns:a16="http://schemas.microsoft.com/office/drawing/2014/main" id="{ACC64B1C-0B76-B49C-E8DA-EBD2AFAFA613}"/>
              </a:ext>
            </a:extLst>
          </p:cNvPr>
          <p:cNvSpPr>
            <a:spLocks noChangeAspect="1"/>
          </p:cNvSpPr>
          <p:nvPr/>
        </p:nvSpPr>
        <p:spPr>
          <a:xfrm>
            <a:off x="287338" y="2269434"/>
            <a:ext cx="11608421" cy="4331774"/>
          </a:xfrm>
          <a:custGeom>
            <a:avLst/>
            <a:gdLst>
              <a:gd name="connsiteX0" fmla="*/ 9940695 w 12886034"/>
              <a:gd name="connsiteY0" fmla="*/ 2142364 h 4808525"/>
              <a:gd name="connsiteX1" fmla="*/ 9940695 w 12886034"/>
              <a:gd name="connsiteY1" fmla="*/ 1153823 h 4808525"/>
              <a:gd name="connsiteX2" fmla="*/ 10243112 w 12886034"/>
              <a:gd name="connsiteY2" fmla="*/ 795655 h 4808525"/>
              <a:gd name="connsiteX3" fmla="*/ 10502975 w 12886034"/>
              <a:gd name="connsiteY3" fmla="*/ 1095467 h 4808525"/>
              <a:gd name="connsiteX4" fmla="*/ 10502975 w 12886034"/>
              <a:gd name="connsiteY4" fmla="*/ 2142364 h 4808525"/>
              <a:gd name="connsiteX5" fmla="*/ 10863643 w 12886034"/>
              <a:gd name="connsiteY5" fmla="*/ 2142364 h 4808525"/>
              <a:gd name="connsiteX6" fmla="*/ 10863643 w 12886034"/>
              <a:gd name="connsiteY6" fmla="*/ 1092672 h 4808525"/>
              <a:gd name="connsiteX7" fmla="*/ 10380892 w 12886034"/>
              <a:gd name="connsiteY7" fmla="*/ 581454 h 4808525"/>
              <a:gd name="connsiteX8" fmla="*/ 9959182 w 12886034"/>
              <a:gd name="connsiteY8" fmla="*/ 804741 h 4808525"/>
              <a:gd name="connsiteX9" fmla="*/ 9940695 w 12886034"/>
              <a:gd name="connsiteY9" fmla="*/ 804741 h 4808525"/>
              <a:gd name="connsiteX10" fmla="*/ 9940695 w 12886034"/>
              <a:gd name="connsiteY10" fmla="*/ 611854 h 4808525"/>
              <a:gd name="connsiteX11" fmla="*/ 9580028 w 12886034"/>
              <a:gd name="connsiteY11" fmla="*/ 611854 h 4808525"/>
              <a:gd name="connsiteX12" fmla="*/ 9580028 w 12886034"/>
              <a:gd name="connsiteY12" fmla="*/ 2142015 h 4808525"/>
              <a:gd name="connsiteX13" fmla="*/ 9940695 w 12886034"/>
              <a:gd name="connsiteY13" fmla="*/ 2142015 h 4808525"/>
              <a:gd name="connsiteX14" fmla="*/ 8620803 w 12886034"/>
              <a:gd name="connsiteY14" fmla="*/ 2004688 h 4808525"/>
              <a:gd name="connsiteX15" fmla="*/ 8254206 w 12886034"/>
              <a:gd name="connsiteY15" fmla="*/ 1377109 h 4808525"/>
              <a:gd name="connsiteX16" fmla="*/ 8620803 w 12886034"/>
              <a:gd name="connsiteY16" fmla="*/ 749530 h 4808525"/>
              <a:gd name="connsiteX17" fmla="*/ 8987401 w 12886034"/>
              <a:gd name="connsiteY17" fmla="*/ 1377109 h 4808525"/>
              <a:gd name="connsiteX18" fmla="*/ 8620803 w 12886034"/>
              <a:gd name="connsiteY18" fmla="*/ 2004688 h 4808525"/>
              <a:gd name="connsiteX19" fmla="*/ 8620803 w 12886034"/>
              <a:gd name="connsiteY19" fmla="*/ 2173114 h 4808525"/>
              <a:gd name="connsiteX20" fmla="*/ 9366208 w 12886034"/>
              <a:gd name="connsiteY20" fmla="*/ 1377459 h 4808525"/>
              <a:gd name="connsiteX21" fmla="*/ 8620803 w 12886034"/>
              <a:gd name="connsiteY21" fmla="*/ 581803 h 4808525"/>
              <a:gd name="connsiteX22" fmla="*/ 7875400 w 12886034"/>
              <a:gd name="connsiteY22" fmla="*/ 1377459 h 4808525"/>
              <a:gd name="connsiteX23" fmla="*/ 8620803 w 12886034"/>
              <a:gd name="connsiteY23" fmla="*/ 2173114 h 4808525"/>
              <a:gd name="connsiteX24" fmla="*/ 7090232 w 12886034"/>
              <a:gd name="connsiteY24" fmla="*/ 2173114 h 4808525"/>
              <a:gd name="connsiteX25" fmla="*/ 7725761 w 12886034"/>
              <a:gd name="connsiteY25" fmla="*/ 1674126 h 4808525"/>
              <a:gd name="connsiteX26" fmla="*/ 7319399 w 12886034"/>
              <a:gd name="connsiteY26" fmla="*/ 1214973 h 4808525"/>
              <a:gd name="connsiteX27" fmla="*/ 7026051 w 12886034"/>
              <a:gd name="connsiteY27" fmla="*/ 1141592 h 4808525"/>
              <a:gd name="connsiteX28" fmla="*/ 6815371 w 12886034"/>
              <a:gd name="connsiteY28" fmla="*/ 939621 h 4808525"/>
              <a:gd name="connsiteX29" fmla="*/ 7074884 w 12886034"/>
              <a:gd name="connsiteY29" fmla="*/ 743590 h 4808525"/>
              <a:gd name="connsiteX30" fmla="*/ 7386370 w 12886034"/>
              <a:gd name="connsiteY30" fmla="*/ 1037462 h 4808525"/>
              <a:gd name="connsiteX31" fmla="*/ 7691926 w 12886034"/>
              <a:gd name="connsiteY31" fmla="*/ 945561 h 4808525"/>
              <a:gd name="connsiteX32" fmla="*/ 7105231 w 12886034"/>
              <a:gd name="connsiteY32" fmla="*/ 581454 h 4808525"/>
              <a:gd name="connsiteX33" fmla="*/ 6521674 w 12886034"/>
              <a:gd name="connsiteY33" fmla="*/ 1022087 h 4808525"/>
              <a:gd name="connsiteX34" fmla="*/ 6891411 w 12886034"/>
              <a:gd name="connsiteY34" fmla="*/ 1462720 h 4808525"/>
              <a:gd name="connsiteX35" fmla="*/ 7196967 w 12886034"/>
              <a:gd name="connsiteY35" fmla="*/ 1539245 h 4808525"/>
              <a:gd name="connsiteX36" fmla="*/ 7432064 w 12886034"/>
              <a:gd name="connsiteY36" fmla="*/ 1765677 h 4808525"/>
              <a:gd name="connsiteX37" fmla="*/ 7129647 w 12886034"/>
              <a:gd name="connsiteY37" fmla="*/ 2010628 h 4808525"/>
              <a:gd name="connsiteX38" fmla="*/ 6781536 w 12886034"/>
              <a:gd name="connsiteY38" fmla="*/ 1655606 h 4808525"/>
              <a:gd name="connsiteX39" fmla="*/ 6457842 w 12886034"/>
              <a:gd name="connsiteY39" fmla="*/ 1747506 h 4808525"/>
              <a:gd name="connsiteX40" fmla="*/ 7090232 w 12886034"/>
              <a:gd name="connsiteY40" fmla="*/ 2173114 h 4808525"/>
              <a:gd name="connsiteX41" fmla="*/ 5363978 w 12886034"/>
              <a:gd name="connsiteY41" fmla="*/ 2142364 h 4808525"/>
              <a:gd name="connsiteX42" fmla="*/ 5363978 w 12886034"/>
              <a:gd name="connsiteY42" fmla="*/ 1153823 h 4808525"/>
              <a:gd name="connsiteX43" fmla="*/ 5666395 w 12886034"/>
              <a:gd name="connsiteY43" fmla="*/ 795655 h 4808525"/>
              <a:gd name="connsiteX44" fmla="*/ 5926258 w 12886034"/>
              <a:gd name="connsiteY44" fmla="*/ 1095467 h 4808525"/>
              <a:gd name="connsiteX45" fmla="*/ 5926258 w 12886034"/>
              <a:gd name="connsiteY45" fmla="*/ 2142364 h 4808525"/>
              <a:gd name="connsiteX46" fmla="*/ 6286926 w 12886034"/>
              <a:gd name="connsiteY46" fmla="*/ 2142364 h 4808525"/>
              <a:gd name="connsiteX47" fmla="*/ 6286926 w 12886034"/>
              <a:gd name="connsiteY47" fmla="*/ 1092672 h 4808525"/>
              <a:gd name="connsiteX48" fmla="*/ 5804175 w 12886034"/>
              <a:gd name="connsiteY48" fmla="*/ 581454 h 4808525"/>
              <a:gd name="connsiteX49" fmla="*/ 5382465 w 12886034"/>
              <a:gd name="connsiteY49" fmla="*/ 804741 h 4808525"/>
              <a:gd name="connsiteX50" fmla="*/ 5363978 w 12886034"/>
              <a:gd name="connsiteY50" fmla="*/ 804741 h 4808525"/>
              <a:gd name="connsiteX51" fmla="*/ 5363978 w 12886034"/>
              <a:gd name="connsiteY51" fmla="*/ 611854 h 4808525"/>
              <a:gd name="connsiteX52" fmla="*/ 5003310 w 12886034"/>
              <a:gd name="connsiteY52" fmla="*/ 611854 h 4808525"/>
              <a:gd name="connsiteX53" fmla="*/ 5003310 w 12886034"/>
              <a:gd name="connsiteY53" fmla="*/ 2142015 h 4808525"/>
              <a:gd name="connsiteX54" fmla="*/ 5363978 w 12886034"/>
              <a:gd name="connsiteY54" fmla="*/ 2142015 h 4808525"/>
              <a:gd name="connsiteX55" fmla="*/ 3790851 w 12886034"/>
              <a:gd name="connsiteY55" fmla="*/ 2142364 h 4808525"/>
              <a:gd name="connsiteX56" fmla="*/ 3790851 w 12886034"/>
              <a:gd name="connsiteY56" fmla="*/ 1153823 h 4808525"/>
              <a:gd name="connsiteX57" fmla="*/ 4093268 w 12886034"/>
              <a:gd name="connsiteY57" fmla="*/ 795655 h 4808525"/>
              <a:gd name="connsiteX58" fmla="*/ 4352782 w 12886034"/>
              <a:gd name="connsiteY58" fmla="*/ 1095467 h 4808525"/>
              <a:gd name="connsiteX59" fmla="*/ 4352782 w 12886034"/>
              <a:gd name="connsiteY59" fmla="*/ 2142364 h 4808525"/>
              <a:gd name="connsiteX60" fmla="*/ 4713450 w 12886034"/>
              <a:gd name="connsiteY60" fmla="*/ 2142364 h 4808525"/>
              <a:gd name="connsiteX61" fmla="*/ 4713450 w 12886034"/>
              <a:gd name="connsiteY61" fmla="*/ 1092672 h 4808525"/>
              <a:gd name="connsiteX62" fmla="*/ 4230699 w 12886034"/>
              <a:gd name="connsiteY62" fmla="*/ 581454 h 4808525"/>
              <a:gd name="connsiteX63" fmla="*/ 3808990 w 12886034"/>
              <a:gd name="connsiteY63" fmla="*/ 804741 h 4808525"/>
              <a:gd name="connsiteX64" fmla="*/ 3790503 w 12886034"/>
              <a:gd name="connsiteY64" fmla="*/ 804741 h 4808525"/>
              <a:gd name="connsiteX65" fmla="*/ 3790503 w 12886034"/>
              <a:gd name="connsiteY65" fmla="*/ 0 h 4808525"/>
              <a:gd name="connsiteX66" fmla="*/ 3429835 w 12886034"/>
              <a:gd name="connsiteY66" fmla="*/ 0 h 4808525"/>
              <a:gd name="connsiteX67" fmla="*/ 3429835 w 12886034"/>
              <a:gd name="connsiteY67" fmla="*/ 2142364 h 4808525"/>
              <a:gd name="connsiteX68" fmla="*/ 3790851 w 12886034"/>
              <a:gd name="connsiteY68" fmla="*/ 2142364 h 4808525"/>
              <a:gd name="connsiteX69" fmla="*/ 2470960 w 12886034"/>
              <a:gd name="connsiteY69" fmla="*/ 2004688 h 4808525"/>
              <a:gd name="connsiteX70" fmla="*/ 2104362 w 12886034"/>
              <a:gd name="connsiteY70" fmla="*/ 1377109 h 4808525"/>
              <a:gd name="connsiteX71" fmla="*/ 2470960 w 12886034"/>
              <a:gd name="connsiteY71" fmla="*/ 749530 h 4808525"/>
              <a:gd name="connsiteX72" fmla="*/ 2837558 w 12886034"/>
              <a:gd name="connsiteY72" fmla="*/ 1377109 h 4808525"/>
              <a:gd name="connsiteX73" fmla="*/ 2470960 w 12886034"/>
              <a:gd name="connsiteY73" fmla="*/ 2004688 h 4808525"/>
              <a:gd name="connsiteX74" fmla="*/ 2470960 w 12886034"/>
              <a:gd name="connsiteY74" fmla="*/ 2173114 h 4808525"/>
              <a:gd name="connsiteX75" fmla="*/ 3216364 w 12886034"/>
              <a:gd name="connsiteY75" fmla="*/ 1377459 h 4808525"/>
              <a:gd name="connsiteX76" fmla="*/ 2470960 w 12886034"/>
              <a:gd name="connsiteY76" fmla="*/ 581803 h 4808525"/>
              <a:gd name="connsiteX77" fmla="*/ 1725556 w 12886034"/>
              <a:gd name="connsiteY77" fmla="*/ 1377459 h 4808525"/>
              <a:gd name="connsiteX78" fmla="*/ 2470960 w 12886034"/>
              <a:gd name="connsiteY78" fmla="*/ 2173114 h 4808525"/>
              <a:gd name="connsiteX79" fmla="*/ 802957 w 12886034"/>
              <a:gd name="connsiteY79" fmla="*/ 2191284 h 4808525"/>
              <a:gd name="connsiteX80" fmla="*/ 1511736 w 12886034"/>
              <a:gd name="connsiteY80" fmla="*/ 1484385 h 4808525"/>
              <a:gd name="connsiteX81" fmla="*/ 1511736 w 12886034"/>
              <a:gd name="connsiteY81" fmla="*/ 0 h 4808525"/>
              <a:gd name="connsiteX82" fmla="*/ 1132930 w 12886034"/>
              <a:gd name="connsiteY82" fmla="*/ 0 h 4808525"/>
              <a:gd name="connsiteX83" fmla="*/ 1132930 w 12886034"/>
              <a:gd name="connsiteY83" fmla="*/ 1582225 h 4808525"/>
              <a:gd name="connsiteX84" fmla="*/ 802957 w 12886034"/>
              <a:gd name="connsiteY84" fmla="*/ 1992458 h 4808525"/>
              <a:gd name="connsiteX85" fmla="*/ 472984 w 12886034"/>
              <a:gd name="connsiteY85" fmla="*/ 1551825 h 4808525"/>
              <a:gd name="connsiteX86" fmla="*/ 472984 w 12886034"/>
              <a:gd name="connsiteY86" fmla="*/ 1257953 h 4808525"/>
              <a:gd name="connsiteX87" fmla="*/ 94178 w 12886034"/>
              <a:gd name="connsiteY87" fmla="*/ 1352649 h 4808525"/>
              <a:gd name="connsiteX88" fmla="*/ 94178 w 12886034"/>
              <a:gd name="connsiteY88" fmla="*/ 1484385 h 4808525"/>
              <a:gd name="connsiteX89" fmla="*/ 802957 w 12886034"/>
              <a:gd name="connsiteY89" fmla="*/ 2191284 h 4808525"/>
              <a:gd name="connsiteX90" fmla="*/ 11963087 w 12886034"/>
              <a:gd name="connsiteY90" fmla="*/ 4759256 h 4808525"/>
              <a:gd name="connsiteX91" fmla="*/ 11963087 w 12886034"/>
              <a:gd name="connsiteY91" fmla="*/ 3770714 h 4808525"/>
              <a:gd name="connsiteX92" fmla="*/ 12265504 w 12886034"/>
              <a:gd name="connsiteY92" fmla="*/ 3412547 h 4808525"/>
              <a:gd name="connsiteX93" fmla="*/ 12525366 w 12886034"/>
              <a:gd name="connsiteY93" fmla="*/ 3712359 h 4808525"/>
              <a:gd name="connsiteX94" fmla="*/ 12525366 w 12886034"/>
              <a:gd name="connsiteY94" fmla="*/ 4759256 h 4808525"/>
              <a:gd name="connsiteX95" fmla="*/ 12886035 w 12886034"/>
              <a:gd name="connsiteY95" fmla="*/ 4759256 h 4808525"/>
              <a:gd name="connsiteX96" fmla="*/ 12886035 w 12886034"/>
              <a:gd name="connsiteY96" fmla="*/ 3709564 h 4808525"/>
              <a:gd name="connsiteX97" fmla="*/ 12403283 w 12886034"/>
              <a:gd name="connsiteY97" fmla="*/ 3198346 h 4808525"/>
              <a:gd name="connsiteX98" fmla="*/ 11981574 w 12886034"/>
              <a:gd name="connsiteY98" fmla="*/ 3421632 h 4808525"/>
              <a:gd name="connsiteX99" fmla="*/ 11963436 w 12886034"/>
              <a:gd name="connsiteY99" fmla="*/ 3421632 h 4808525"/>
              <a:gd name="connsiteX100" fmla="*/ 11963436 w 12886034"/>
              <a:gd name="connsiteY100" fmla="*/ 3228746 h 4808525"/>
              <a:gd name="connsiteX101" fmla="*/ 11602768 w 12886034"/>
              <a:gd name="connsiteY101" fmla="*/ 3228746 h 4808525"/>
              <a:gd name="connsiteX102" fmla="*/ 11602768 w 12886034"/>
              <a:gd name="connsiteY102" fmla="*/ 4758906 h 4808525"/>
              <a:gd name="connsiteX103" fmla="*/ 11963087 w 12886034"/>
              <a:gd name="connsiteY103" fmla="*/ 4758906 h 4808525"/>
              <a:gd name="connsiteX104" fmla="*/ 10643544 w 12886034"/>
              <a:gd name="connsiteY104" fmla="*/ 4621580 h 4808525"/>
              <a:gd name="connsiteX105" fmla="*/ 10276946 w 12886034"/>
              <a:gd name="connsiteY105" fmla="*/ 3994001 h 4808525"/>
              <a:gd name="connsiteX106" fmla="*/ 10643544 w 12886034"/>
              <a:gd name="connsiteY106" fmla="*/ 3366422 h 4808525"/>
              <a:gd name="connsiteX107" fmla="*/ 11010143 w 12886034"/>
              <a:gd name="connsiteY107" fmla="*/ 3994001 h 4808525"/>
              <a:gd name="connsiteX108" fmla="*/ 10643544 w 12886034"/>
              <a:gd name="connsiteY108" fmla="*/ 4621580 h 4808525"/>
              <a:gd name="connsiteX109" fmla="*/ 10643544 w 12886034"/>
              <a:gd name="connsiteY109" fmla="*/ 4790006 h 4808525"/>
              <a:gd name="connsiteX110" fmla="*/ 11388948 w 12886034"/>
              <a:gd name="connsiteY110" fmla="*/ 3994350 h 4808525"/>
              <a:gd name="connsiteX111" fmla="*/ 10643544 w 12886034"/>
              <a:gd name="connsiteY111" fmla="*/ 3198695 h 4808525"/>
              <a:gd name="connsiteX112" fmla="*/ 9898141 w 12886034"/>
              <a:gd name="connsiteY112" fmla="*/ 3994350 h 4808525"/>
              <a:gd name="connsiteX113" fmla="*/ 10643544 w 12886034"/>
              <a:gd name="connsiteY113" fmla="*/ 4790006 h 4808525"/>
              <a:gd name="connsiteX114" fmla="*/ 9112972 w 12886034"/>
              <a:gd name="connsiteY114" fmla="*/ 4790006 h 4808525"/>
              <a:gd name="connsiteX115" fmla="*/ 9748502 w 12886034"/>
              <a:gd name="connsiteY115" fmla="*/ 4291018 h 4808525"/>
              <a:gd name="connsiteX116" fmla="*/ 9342140 w 12886034"/>
              <a:gd name="connsiteY116" fmla="*/ 3831865 h 4808525"/>
              <a:gd name="connsiteX117" fmla="*/ 9048792 w 12886034"/>
              <a:gd name="connsiteY117" fmla="*/ 3758484 h 4808525"/>
              <a:gd name="connsiteX118" fmla="*/ 8838111 w 12886034"/>
              <a:gd name="connsiteY118" fmla="*/ 3556513 h 4808525"/>
              <a:gd name="connsiteX119" fmla="*/ 9097974 w 12886034"/>
              <a:gd name="connsiteY119" fmla="*/ 3360482 h 4808525"/>
              <a:gd name="connsiteX120" fmla="*/ 9409460 w 12886034"/>
              <a:gd name="connsiteY120" fmla="*/ 3654354 h 4808525"/>
              <a:gd name="connsiteX121" fmla="*/ 9715016 w 12886034"/>
              <a:gd name="connsiteY121" fmla="*/ 3562453 h 4808525"/>
              <a:gd name="connsiteX122" fmla="*/ 9128320 w 12886034"/>
              <a:gd name="connsiteY122" fmla="*/ 3198346 h 4808525"/>
              <a:gd name="connsiteX123" fmla="*/ 8544763 w 12886034"/>
              <a:gd name="connsiteY123" fmla="*/ 3638978 h 4808525"/>
              <a:gd name="connsiteX124" fmla="*/ 8914500 w 12886034"/>
              <a:gd name="connsiteY124" fmla="*/ 4079611 h 4808525"/>
              <a:gd name="connsiteX125" fmla="*/ 9220057 w 12886034"/>
              <a:gd name="connsiteY125" fmla="*/ 4156137 h 4808525"/>
              <a:gd name="connsiteX126" fmla="*/ 9455153 w 12886034"/>
              <a:gd name="connsiteY126" fmla="*/ 4382569 h 4808525"/>
              <a:gd name="connsiteX127" fmla="*/ 9152737 w 12886034"/>
              <a:gd name="connsiteY127" fmla="*/ 4627520 h 4808525"/>
              <a:gd name="connsiteX128" fmla="*/ 8804626 w 12886034"/>
              <a:gd name="connsiteY128" fmla="*/ 4272498 h 4808525"/>
              <a:gd name="connsiteX129" fmla="*/ 8480931 w 12886034"/>
              <a:gd name="connsiteY129" fmla="*/ 4364399 h 4808525"/>
              <a:gd name="connsiteX130" fmla="*/ 9112972 w 12886034"/>
              <a:gd name="connsiteY130" fmla="*/ 4790006 h 4808525"/>
              <a:gd name="connsiteX131" fmla="*/ 7386719 w 12886034"/>
              <a:gd name="connsiteY131" fmla="*/ 4759256 h 4808525"/>
              <a:gd name="connsiteX132" fmla="*/ 7386719 w 12886034"/>
              <a:gd name="connsiteY132" fmla="*/ 3770714 h 4808525"/>
              <a:gd name="connsiteX133" fmla="*/ 7689136 w 12886034"/>
              <a:gd name="connsiteY133" fmla="*/ 3412547 h 4808525"/>
              <a:gd name="connsiteX134" fmla="*/ 7948649 w 12886034"/>
              <a:gd name="connsiteY134" fmla="*/ 3712359 h 4808525"/>
              <a:gd name="connsiteX135" fmla="*/ 7948649 w 12886034"/>
              <a:gd name="connsiteY135" fmla="*/ 4759256 h 4808525"/>
              <a:gd name="connsiteX136" fmla="*/ 8309318 w 12886034"/>
              <a:gd name="connsiteY136" fmla="*/ 4759256 h 4808525"/>
              <a:gd name="connsiteX137" fmla="*/ 8309318 w 12886034"/>
              <a:gd name="connsiteY137" fmla="*/ 3709564 h 4808525"/>
              <a:gd name="connsiteX138" fmla="*/ 7826566 w 12886034"/>
              <a:gd name="connsiteY138" fmla="*/ 3198346 h 4808525"/>
              <a:gd name="connsiteX139" fmla="*/ 7404857 w 12886034"/>
              <a:gd name="connsiteY139" fmla="*/ 3421632 h 4808525"/>
              <a:gd name="connsiteX140" fmla="*/ 7386370 w 12886034"/>
              <a:gd name="connsiteY140" fmla="*/ 3421632 h 4808525"/>
              <a:gd name="connsiteX141" fmla="*/ 7386370 w 12886034"/>
              <a:gd name="connsiteY141" fmla="*/ 3228746 h 4808525"/>
              <a:gd name="connsiteX142" fmla="*/ 7025702 w 12886034"/>
              <a:gd name="connsiteY142" fmla="*/ 3228746 h 4808525"/>
              <a:gd name="connsiteX143" fmla="*/ 7025702 w 12886034"/>
              <a:gd name="connsiteY143" fmla="*/ 4758906 h 4808525"/>
              <a:gd name="connsiteX144" fmla="*/ 7386719 w 12886034"/>
              <a:gd name="connsiteY144" fmla="*/ 4758906 h 4808525"/>
              <a:gd name="connsiteX145" fmla="*/ 5813593 w 12886034"/>
              <a:gd name="connsiteY145" fmla="*/ 4759256 h 4808525"/>
              <a:gd name="connsiteX146" fmla="*/ 5813593 w 12886034"/>
              <a:gd name="connsiteY146" fmla="*/ 3770714 h 4808525"/>
              <a:gd name="connsiteX147" fmla="*/ 6116010 w 12886034"/>
              <a:gd name="connsiteY147" fmla="*/ 3412547 h 4808525"/>
              <a:gd name="connsiteX148" fmla="*/ 6375523 w 12886034"/>
              <a:gd name="connsiteY148" fmla="*/ 3712359 h 4808525"/>
              <a:gd name="connsiteX149" fmla="*/ 6375523 w 12886034"/>
              <a:gd name="connsiteY149" fmla="*/ 4759256 h 4808525"/>
              <a:gd name="connsiteX150" fmla="*/ 6736191 w 12886034"/>
              <a:gd name="connsiteY150" fmla="*/ 4759256 h 4808525"/>
              <a:gd name="connsiteX151" fmla="*/ 6736191 w 12886034"/>
              <a:gd name="connsiteY151" fmla="*/ 3709564 h 4808525"/>
              <a:gd name="connsiteX152" fmla="*/ 6253440 w 12886034"/>
              <a:gd name="connsiteY152" fmla="*/ 3198346 h 4808525"/>
              <a:gd name="connsiteX153" fmla="*/ 5831730 w 12886034"/>
              <a:gd name="connsiteY153" fmla="*/ 3421632 h 4808525"/>
              <a:gd name="connsiteX154" fmla="*/ 5813243 w 12886034"/>
              <a:gd name="connsiteY154" fmla="*/ 3421632 h 4808525"/>
              <a:gd name="connsiteX155" fmla="*/ 5813243 w 12886034"/>
              <a:gd name="connsiteY155" fmla="*/ 2616892 h 4808525"/>
              <a:gd name="connsiteX156" fmla="*/ 5452576 w 12886034"/>
              <a:gd name="connsiteY156" fmla="*/ 2616892 h 4808525"/>
              <a:gd name="connsiteX157" fmla="*/ 5452576 w 12886034"/>
              <a:gd name="connsiteY157" fmla="*/ 4759256 h 4808525"/>
              <a:gd name="connsiteX158" fmla="*/ 5813593 w 12886034"/>
              <a:gd name="connsiteY158" fmla="*/ 4759256 h 4808525"/>
              <a:gd name="connsiteX159" fmla="*/ 4493701 w 12886034"/>
              <a:gd name="connsiteY159" fmla="*/ 4621580 h 4808525"/>
              <a:gd name="connsiteX160" fmla="*/ 4127103 w 12886034"/>
              <a:gd name="connsiteY160" fmla="*/ 3994001 h 4808525"/>
              <a:gd name="connsiteX161" fmla="*/ 4493701 w 12886034"/>
              <a:gd name="connsiteY161" fmla="*/ 3366422 h 4808525"/>
              <a:gd name="connsiteX162" fmla="*/ 4860299 w 12886034"/>
              <a:gd name="connsiteY162" fmla="*/ 3994001 h 4808525"/>
              <a:gd name="connsiteX163" fmla="*/ 4493701 w 12886034"/>
              <a:gd name="connsiteY163" fmla="*/ 4621580 h 4808525"/>
              <a:gd name="connsiteX164" fmla="*/ 4493701 w 12886034"/>
              <a:gd name="connsiteY164" fmla="*/ 4790006 h 4808525"/>
              <a:gd name="connsiteX165" fmla="*/ 5239105 w 12886034"/>
              <a:gd name="connsiteY165" fmla="*/ 3994350 h 4808525"/>
              <a:gd name="connsiteX166" fmla="*/ 4493701 w 12886034"/>
              <a:gd name="connsiteY166" fmla="*/ 3198695 h 4808525"/>
              <a:gd name="connsiteX167" fmla="*/ 3748297 w 12886034"/>
              <a:gd name="connsiteY167" fmla="*/ 3994350 h 4808525"/>
              <a:gd name="connsiteX168" fmla="*/ 4493701 w 12886034"/>
              <a:gd name="connsiteY168" fmla="*/ 4790006 h 4808525"/>
              <a:gd name="connsiteX169" fmla="*/ 2825698 w 12886034"/>
              <a:gd name="connsiteY169" fmla="*/ 4808176 h 4808525"/>
              <a:gd name="connsiteX170" fmla="*/ 3534477 w 12886034"/>
              <a:gd name="connsiteY170" fmla="*/ 4101276 h 4808525"/>
              <a:gd name="connsiteX171" fmla="*/ 3534477 w 12886034"/>
              <a:gd name="connsiteY171" fmla="*/ 2616892 h 4808525"/>
              <a:gd name="connsiteX172" fmla="*/ 3155671 w 12886034"/>
              <a:gd name="connsiteY172" fmla="*/ 2616892 h 4808525"/>
              <a:gd name="connsiteX173" fmla="*/ 3155671 w 12886034"/>
              <a:gd name="connsiteY173" fmla="*/ 4199117 h 4808525"/>
              <a:gd name="connsiteX174" fmla="*/ 2825698 w 12886034"/>
              <a:gd name="connsiteY174" fmla="*/ 4609350 h 4808525"/>
              <a:gd name="connsiteX175" fmla="*/ 2495725 w 12886034"/>
              <a:gd name="connsiteY175" fmla="*/ 4168717 h 4808525"/>
              <a:gd name="connsiteX176" fmla="*/ 2495725 w 12886034"/>
              <a:gd name="connsiteY176" fmla="*/ 3874845 h 4808525"/>
              <a:gd name="connsiteX177" fmla="*/ 2116919 w 12886034"/>
              <a:gd name="connsiteY177" fmla="*/ 3969890 h 4808525"/>
              <a:gd name="connsiteX178" fmla="*/ 2116919 w 12886034"/>
              <a:gd name="connsiteY178" fmla="*/ 4101626 h 4808525"/>
              <a:gd name="connsiteX179" fmla="*/ 2825698 w 12886034"/>
              <a:gd name="connsiteY179" fmla="*/ 4808176 h 4808525"/>
              <a:gd name="connsiteX180" fmla="*/ 809585 w 12886034"/>
              <a:gd name="connsiteY180" fmla="*/ 4584890 h 4808525"/>
              <a:gd name="connsiteX181" fmla="*/ 335903 w 12886034"/>
              <a:gd name="connsiteY181" fmla="*/ 4092191 h 4808525"/>
              <a:gd name="connsiteX182" fmla="*/ 522166 w 12886034"/>
              <a:gd name="connsiteY182" fmla="*/ 3703623 h 4808525"/>
              <a:gd name="connsiteX183" fmla="*/ 1212807 w 12886034"/>
              <a:gd name="connsiteY183" fmla="*/ 4459444 h 4808525"/>
              <a:gd name="connsiteX184" fmla="*/ 809585 w 12886034"/>
              <a:gd name="connsiteY184" fmla="*/ 4584890 h 4808525"/>
              <a:gd name="connsiteX185" fmla="*/ 1178973 w 12886034"/>
              <a:gd name="connsiteY185" fmla="*/ 3489073 h 4808525"/>
              <a:gd name="connsiteX186" fmla="*/ 1579056 w 12886034"/>
              <a:gd name="connsiteY186" fmla="*/ 3880785 h 4808525"/>
              <a:gd name="connsiteX187" fmla="*/ 1481390 w 12886034"/>
              <a:gd name="connsiteY187" fmla="*/ 4208202 h 4808525"/>
              <a:gd name="connsiteX188" fmla="*/ 882834 w 12886034"/>
              <a:gd name="connsiteY188" fmla="*/ 3547078 h 4808525"/>
              <a:gd name="connsiteX189" fmla="*/ 1178973 w 12886034"/>
              <a:gd name="connsiteY189" fmla="*/ 3489073 h 4808525"/>
              <a:gd name="connsiteX190" fmla="*/ 809585 w 12886034"/>
              <a:gd name="connsiteY190" fmla="*/ 2730108 h 4808525"/>
              <a:gd name="connsiteX191" fmla="*/ 1096654 w 12886034"/>
              <a:gd name="connsiteY191" fmla="*/ 3023979 h 4808525"/>
              <a:gd name="connsiteX192" fmla="*/ 800167 w 12886034"/>
              <a:gd name="connsiteY192" fmla="*/ 3458672 h 4808525"/>
              <a:gd name="connsiteX193" fmla="*/ 668666 w 12886034"/>
              <a:gd name="connsiteY193" fmla="*/ 3311911 h 4808525"/>
              <a:gd name="connsiteX194" fmla="*/ 519027 w 12886034"/>
              <a:gd name="connsiteY194" fmla="*/ 3008954 h 4808525"/>
              <a:gd name="connsiteX195" fmla="*/ 809585 w 12886034"/>
              <a:gd name="connsiteY195" fmla="*/ 2730108 h 4808525"/>
              <a:gd name="connsiteX196" fmla="*/ 1576266 w 12886034"/>
              <a:gd name="connsiteY196" fmla="*/ 4312333 h 4808525"/>
              <a:gd name="connsiteX197" fmla="*/ 1835779 w 12886034"/>
              <a:gd name="connsiteY197" fmla="*/ 3715504 h 4808525"/>
              <a:gd name="connsiteX198" fmla="*/ 1435696 w 12886034"/>
              <a:gd name="connsiteY198" fmla="*/ 3326937 h 4808525"/>
              <a:gd name="connsiteX199" fmla="*/ 1069098 w 12886034"/>
              <a:gd name="connsiteY199" fmla="*/ 3400317 h 4808525"/>
              <a:gd name="connsiteX200" fmla="*/ 1062820 w 12886034"/>
              <a:gd name="connsiteY200" fmla="*/ 3388087 h 4808525"/>
              <a:gd name="connsiteX201" fmla="*/ 1392793 w 12886034"/>
              <a:gd name="connsiteY201" fmla="*/ 2984144 h 4808525"/>
              <a:gd name="connsiteX202" fmla="*/ 818305 w 12886034"/>
              <a:gd name="connsiteY202" fmla="*/ 2567971 h 4808525"/>
              <a:gd name="connsiteX203" fmla="*/ 189054 w 12886034"/>
              <a:gd name="connsiteY203" fmla="*/ 3097360 h 4808525"/>
              <a:gd name="connsiteX204" fmla="*/ 433569 w 12886034"/>
              <a:gd name="connsiteY204" fmla="*/ 3608578 h 4808525"/>
              <a:gd name="connsiteX205" fmla="*/ 436708 w 12886034"/>
              <a:gd name="connsiteY205" fmla="*/ 3614868 h 4808525"/>
              <a:gd name="connsiteX206" fmla="*/ 0 w 12886034"/>
              <a:gd name="connsiteY206" fmla="*/ 4230217 h 4808525"/>
              <a:gd name="connsiteX207" fmla="*/ 613903 w 12886034"/>
              <a:gd name="connsiteY207" fmla="*/ 4808526 h 4808525"/>
              <a:gd name="connsiteX208" fmla="*/ 1304544 w 12886034"/>
              <a:gd name="connsiteY208" fmla="*/ 4560779 h 4808525"/>
              <a:gd name="connsiteX209" fmla="*/ 1488017 w 12886034"/>
              <a:gd name="connsiteY209" fmla="*/ 4759605 h 4808525"/>
              <a:gd name="connsiteX210" fmla="*/ 1967629 w 12886034"/>
              <a:gd name="connsiteY210" fmla="*/ 4759605 h 4808525"/>
              <a:gd name="connsiteX211" fmla="*/ 1967629 w 12886034"/>
              <a:gd name="connsiteY211" fmla="*/ 4744230 h 4808525"/>
              <a:gd name="connsiteX212" fmla="*/ 1576266 w 12886034"/>
              <a:gd name="connsiteY212" fmla="*/ 4312333 h 480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12886034" h="4808525">
                <a:moveTo>
                  <a:pt x="9940695" y="2142364"/>
                </a:moveTo>
                <a:lnTo>
                  <a:pt x="9940695" y="1153823"/>
                </a:lnTo>
                <a:cubicBezTo>
                  <a:pt x="9940695" y="927391"/>
                  <a:pt x="10056848" y="795655"/>
                  <a:pt x="10243112" y="795655"/>
                </a:cubicBezTo>
                <a:cubicBezTo>
                  <a:pt x="10423446" y="795655"/>
                  <a:pt x="10502975" y="915161"/>
                  <a:pt x="10502975" y="1095467"/>
                </a:cubicBezTo>
                <a:lnTo>
                  <a:pt x="10502975" y="2142364"/>
                </a:lnTo>
                <a:lnTo>
                  <a:pt x="10863643" y="2142364"/>
                </a:lnTo>
                <a:lnTo>
                  <a:pt x="10863643" y="1092672"/>
                </a:lnTo>
                <a:cubicBezTo>
                  <a:pt x="10863643" y="777485"/>
                  <a:pt x="10698656" y="581454"/>
                  <a:pt x="10380892" y="581454"/>
                </a:cubicBezTo>
                <a:cubicBezTo>
                  <a:pt x="10154863" y="581454"/>
                  <a:pt x="10029641" y="679295"/>
                  <a:pt x="9959182" y="804741"/>
                </a:cubicBezTo>
                <a:lnTo>
                  <a:pt x="9940695" y="804741"/>
                </a:lnTo>
                <a:lnTo>
                  <a:pt x="9940695" y="611854"/>
                </a:lnTo>
                <a:lnTo>
                  <a:pt x="9580028" y="611854"/>
                </a:lnTo>
                <a:lnTo>
                  <a:pt x="9580028" y="2142015"/>
                </a:lnTo>
                <a:lnTo>
                  <a:pt x="9940695" y="2142015"/>
                </a:lnTo>
                <a:close/>
                <a:moveTo>
                  <a:pt x="8620803" y="2004688"/>
                </a:moveTo>
                <a:cubicBezTo>
                  <a:pt x="8385707" y="2004688"/>
                  <a:pt x="8254206" y="1781401"/>
                  <a:pt x="8254206" y="1377109"/>
                </a:cubicBezTo>
                <a:cubicBezTo>
                  <a:pt x="8254206" y="966877"/>
                  <a:pt x="8385707" y="749530"/>
                  <a:pt x="8620803" y="749530"/>
                </a:cubicBezTo>
                <a:cubicBezTo>
                  <a:pt x="8855901" y="749530"/>
                  <a:pt x="8987401" y="970022"/>
                  <a:pt x="8987401" y="1377109"/>
                </a:cubicBezTo>
                <a:cubicBezTo>
                  <a:pt x="8987401" y="1787342"/>
                  <a:pt x="8855901" y="2004688"/>
                  <a:pt x="8620803" y="2004688"/>
                </a:cubicBezTo>
                <a:moveTo>
                  <a:pt x="8620803" y="2173114"/>
                </a:moveTo>
                <a:cubicBezTo>
                  <a:pt x="9100416" y="2173114"/>
                  <a:pt x="9366208" y="1814947"/>
                  <a:pt x="9366208" y="1377459"/>
                </a:cubicBezTo>
                <a:cubicBezTo>
                  <a:pt x="9366208" y="939970"/>
                  <a:pt x="9100416" y="581803"/>
                  <a:pt x="8620803" y="581803"/>
                </a:cubicBezTo>
                <a:cubicBezTo>
                  <a:pt x="8141192" y="581803"/>
                  <a:pt x="7875400" y="939970"/>
                  <a:pt x="7875400" y="1377459"/>
                </a:cubicBezTo>
                <a:cubicBezTo>
                  <a:pt x="7875400" y="1814947"/>
                  <a:pt x="8141192" y="2173114"/>
                  <a:pt x="8620803" y="2173114"/>
                </a:cubicBezTo>
                <a:moveTo>
                  <a:pt x="7090232" y="2173114"/>
                </a:moveTo>
                <a:cubicBezTo>
                  <a:pt x="7502524" y="2173114"/>
                  <a:pt x="7725761" y="1980228"/>
                  <a:pt x="7725761" y="1674126"/>
                </a:cubicBezTo>
                <a:cubicBezTo>
                  <a:pt x="7725761" y="1386544"/>
                  <a:pt x="7527289" y="1267038"/>
                  <a:pt x="7319399" y="1214973"/>
                </a:cubicBezTo>
                <a:lnTo>
                  <a:pt x="7026051" y="1141592"/>
                </a:lnTo>
                <a:cubicBezTo>
                  <a:pt x="6879551" y="1104902"/>
                  <a:pt x="6815371" y="1037462"/>
                  <a:pt x="6815371" y="939621"/>
                </a:cubicBezTo>
                <a:cubicBezTo>
                  <a:pt x="6815371" y="817320"/>
                  <a:pt x="6919316" y="743590"/>
                  <a:pt x="7074884" y="743590"/>
                </a:cubicBezTo>
                <a:cubicBezTo>
                  <a:pt x="7258358" y="743590"/>
                  <a:pt x="7371372" y="844576"/>
                  <a:pt x="7386370" y="1037462"/>
                </a:cubicBezTo>
                <a:lnTo>
                  <a:pt x="7691926" y="945561"/>
                </a:lnTo>
                <a:cubicBezTo>
                  <a:pt x="7655302" y="731360"/>
                  <a:pt x="7444621" y="581454"/>
                  <a:pt x="7105231" y="581454"/>
                </a:cubicBezTo>
                <a:cubicBezTo>
                  <a:pt x="6772118" y="581454"/>
                  <a:pt x="6521674" y="722275"/>
                  <a:pt x="6521674" y="1022087"/>
                </a:cubicBezTo>
                <a:cubicBezTo>
                  <a:pt x="6521674" y="1276124"/>
                  <a:pt x="6695729" y="1413799"/>
                  <a:pt x="6891411" y="1462720"/>
                </a:cubicBezTo>
                <a:lnTo>
                  <a:pt x="7196967" y="1539245"/>
                </a:lnTo>
                <a:cubicBezTo>
                  <a:pt x="7358815" y="1579080"/>
                  <a:pt x="7432064" y="1637086"/>
                  <a:pt x="7432064" y="1765677"/>
                </a:cubicBezTo>
                <a:cubicBezTo>
                  <a:pt x="7432064" y="1921873"/>
                  <a:pt x="7322190" y="2010628"/>
                  <a:pt x="7129647" y="2010628"/>
                </a:cubicBezTo>
                <a:cubicBezTo>
                  <a:pt x="6921757" y="2010628"/>
                  <a:pt x="6815022" y="1909643"/>
                  <a:pt x="6781536" y="1655606"/>
                </a:cubicBezTo>
                <a:lnTo>
                  <a:pt x="6457842" y="1747506"/>
                </a:lnTo>
                <a:cubicBezTo>
                  <a:pt x="6475980" y="2010628"/>
                  <a:pt x="6720495" y="2173114"/>
                  <a:pt x="7090232" y="2173114"/>
                </a:cubicBezTo>
                <a:moveTo>
                  <a:pt x="5363978" y="2142364"/>
                </a:moveTo>
                <a:lnTo>
                  <a:pt x="5363978" y="1153823"/>
                </a:lnTo>
                <a:cubicBezTo>
                  <a:pt x="5363978" y="927391"/>
                  <a:pt x="5480132" y="795655"/>
                  <a:pt x="5666395" y="795655"/>
                </a:cubicBezTo>
                <a:cubicBezTo>
                  <a:pt x="5846729" y="795655"/>
                  <a:pt x="5926258" y="915161"/>
                  <a:pt x="5926258" y="1095467"/>
                </a:cubicBezTo>
                <a:lnTo>
                  <a:pt x="5926258" y="2142364"/>
                </a:lnTo>
                <a:lnTo>
                  <a:pt x="6286926" y="2142364"/>
                </a:lnTo>
                <a:lnTo>
                  <a:pt x="6286926" y="1092672"/>
                </a:lnTo>
                <a:cubicBezTo>
                  <a:pt x="6286926" y="777485"/>
                  <a:pt x="6121939" y="581454"/>
                  <a:pt x="5804175" y="581454"/>
                </a:cubicBezTo>
                <a:cubicBezTo>
                  <a:pt x="5578147" y="581454"/>
                  <a:pt x="5452925" y="679295"/>
                  <a:pt x="5382465" y="804741"/>
                </a:cubicBezTo>
                <a:lnTo>
                  <a:pt x="5363978" y="804741"/>
                </a:lnTo>
                <a:lnTo>
                  <a:pt x="5363978" y="611854"/>
                </a:lnTo>
                <a:lnTo>
                  <a:pt x="5003310" y="611854"/>
                </a:lnTo>
                <a:lnTo>
                  <a:pt x="5003310" y="2142015"/>
                </a:lnTo>
                <a:lnTo>
                  <a:pt x="5363978" y="2142015"/>
                </a:lnTo>
                <a:close/>
                <a:moveTo>
                  <a:pt x="3790851" y="2142364"/>
                </a:moveTo>
                <a:lnTo>
                  <a:pt x="3790851" y="1153823"/>
                </a:lnTo>
                <a:cubicBezTo>
                  <a:pt x="3790851" y="927391"/>
                  <a:pt x="3907005" y="795655"/>
                  <a:pt x="4093268" y="795655"/>
                </a:cubicBezTo>
                <a:cubicBezTo>
                  <a:pt x="4273603" y="795655"/>
                  <a:pt x="4352782" y="915161"/>
                  <a:pt x="4352782" y="1095467"/>
                </a:cubicBezTo>
                <a:lnTo>
                  <a:pt x="4352782" y="2142364"/>
                </a:lnTo>
                <a:lnTo>
                  <a:pt x="4713450" y="2142364"/>
                </a:lnTo>
                <a:lnTo>
                  <a:pt x="4713450" y="1092672"/>
                </a:lnTo>
                <a:cubicBezTo>
                  <a:pt x="4713450" y="777485"/>
                  <a:pt x="4548464" y="581454"/>
                  <a:pt x="4230699" y="581454"/>
                </a:cubicBezTo>
                <a:cubicBezTo>
                  <a:pt x="4004671" y="581454"/>
                  <a:pt x="3879449" y="679295"/>
                  <a:pt x="3808990" y="804741"/>
                </a:cubicBezTo>
                <a:lnTo>
                  <a:pt x="3790503" y="804741"/>
                </a:lnTo>
                <a:lnTo>
                  <a:pt x="3790503" y="0"/>
                </a:lnTo>
                <a:lnTo>
                  <a:pt x="3429835" y="0"/>
                </a:lnTo>
                <a:lnTo>
                  <a:pt x="3429835" y="2142364"/>
                </a:lnTo>
                <a:lnTo>
                  <a:pt x="3790851" y="2142364"/>
                </a:lnTo>
                <a:close/>
                <a:moveTo>
                  <a:pt x="2470960" y="2004688"/>
                </a:moveTo>
                <a:cubicBezTo>
                  <a:pt x="2235514" y="2004688"/>
                  <a:pt x="2104362" y="1781401"/>
                  <a:pt x="2104362" y="1377109"/>
                </a:cubicBezTo>
                <a:cubicBezTo>
                  <a:pt x="2104362" y="966877"/>
                  <a:pt x="2235863" y="749530"/>
                  <a:pt x="2470960" y="749530"/>
                </a:cubicBezTo>
                <a:cubicBezTo>
                  <a:pt x="2706057" y="749530"/>
                  <a:pt x="2837558" y="970022"/>
                  <a:pt x="2837558" y="1377109"/>
                </a:cubicBezTo>
                <a:cubicBezTo>
                  <a:pt x="2837906" y="1787342"/>
                  <a:pt x="2706406" y="2004688"/>
                  <a:pt x="2470960" y="2004688"/>
                </a:cubicBezTo>
                <a:moveTo>
                  <a:pt x="2470960" y="2173114"/>
                </a:moveTo>
                <a:cubicBezTo>
                  <a:pt x="2950572" y="2173114"/>
                  <a:pt x="3216364" y="1814947"/>
                  <a:pt x="3216364" y="1377459"/>
                </a:cubicBezTo>
                <a:cubicBezTo>
                  <a:pt x="3216364" y="939970"/>
                  <a:pt x="2950572" y="581803"/>
                  <a:pt x="2470960" y="581803"/>
                </a:cubicBezTo>
                <a:cubicBezTo>
                  <a:pt x="1991348" y="581803"/>
                  <a:pt x="1725556" y="939970"/>
                  <a:pt x="1725556" y="1377459"/>
                </a:cubicBezTo>
                <a:cubicBezTo>
                  <a:pt x="1725556" y="1814947"/>
                  <a:pt x="1991348" y="2173114"/>
                  <a:pt x="2470960" y="2173114"/>
                </a:cubicBezTo>
                <a:moveTo>
                  <a:pt x="802957" y="2191284"/>
                </a:moveTo>
                <a:cubicBezTo>
                  <a:pt x="1313264" y="2191284"/>
                  <a:pt x="1511736" y="1885182"/>
                  <a:pt x="1511736" y="1484385"/>
                </a:cubicBezTo>
                <a:lnTo>
                  <a:pt x="1511736" y="0"/>
                </a:lnTo>
                <a:lnTo>
                  <a:pt x="1132930" y="0"/>
                </a:lnTo>
                <a:lnTo>
                  <a:pt x="1132930" y="1582225"/>
                </a:lnTo>
                <a:cubicBezTo>
                  <a:pt x="1132930" y="1839407"/>
                  <a:pt x="1035264" y="1992458"/>
                  <a:pt x="802957" y="1992458"/>
                </a:cubicBezTo>
                <a:cubicBezTo>
                  <a:pt x="573790" y="1992458"/>
                  <a:pt x="472984" y="1830322"/>
                  <a:pt x="472984" y="1551825"/>
                </a:cubicBezTo>
                <a:lnTo>
                  <a:pt x="472984" y="1257953"/>
                </a:lnTo>
                <a:lnTo>
                  <a:pt x="94178" y="1352649"/>
                </a:lnTo>
                <a:lnTo>
                  <a:pt x="94178" y="1484385"/>
                </a:lnTo>
                <a:cubicBezTo>
                  <a:pt x="94178" y="1885182"/>
                  <a:pt x="292999" y="2191284"/>
                  <a:pt x="802957" y="2191284"/>
                </a:cubicBezTo>
                <a:moveTo>
                  <a:pt x="11963087" y="4759256"/>
                </a:moveTo>
                <a:lnTo>
                  <a:pt x="11963087" y="3770714"/>
                </a:lnTo>
                <a:cubicBezTo>
                  <a:pt x="11963087" y="3544283"/>
                  <a:pt x="12079241" y="3412547"/>
                  <a:pt x="12265504" y="3412547"/>
                </a:cubicBezTo>
                <a:cubicBezTo>
                  <a:pt x="12445838" y="3412547"/>
                  <a:pt x="12525366" y="3532053"/>
                  <a:pt x="12525366" y="3712359"/>
                </a:cubicBezTo>
                <a:lnTo>
                  <a:pt x="12525366" y="4759256"/>
                </a:lnTo>
                <a:lnTo>
                  <a:pt x="12886035" y="4759256"/>
                </a:lnTo>
                <a:lnTo>
                  <a:pt x="12886035" y="3709564"/>
                </a:lnTo>
                <a:cubicBezTo>
                  <a:pt x="12886035" y="3394377"/>
                  <a:pt x="12721048" y="3198346"/>
                  <a:pt x="12403283" y="3198346"/>
                </a:cubicBezTo>
                <a:cubicBezTo>
                  <a:pt x="12177256" y="3198346"/>
                  <a:pt x="12052034" y="3296186"/>
                  <a:pt x="11981574" y="3421632"/>
                </a:cubicBezTo>
                <a:lnTo>
                  <a:pt x="11963436" y="3421632"/>
                </a:lnTo>
                <a:lnTo>
                  <a:pt x="11963436" y="3228746"/>
                </a:lnTo>
                <a:lnTo>
                  <a:pt x="11602768" y="3228746"/>
                </a:lnTo>
                <a:lnTo>
                  <a:pt x="11602768" y="4758906"/>
                </a:lnTo>
                <a:lnTo>
                  <a:pt x="11963087" y="4758906"/>
                </a:lnTo>
                <a:close/>
                <a:moveTo>
                  <a:pt x="10643544" y="4621580"/>
                </a:moveTo>
                <a:cubicBezTo>
                  <a:pt x="10408448" y="4621580"/>
                  <a:pt x="10276946" y="4398293"/>
                  <a:pt x="10276946" y="3994001"/>
                </a:cubicBezTo>
                <a:cubicBezTo>
                  <a:pt x="10276946" y="3583769"/>
                  <a:pt x="10408448" y="3366422"/>
                  <a:pt x="10643544" y="3366422"/>
                </a:cubicBezTo>
                <a:cubicBezTo>
                  <a:pt x="10878641" y="3366422"/>
                  <a:pt x="11010143" y="3586913"/>
                  <a:pt x="11010143" y="3994001"/>
                </a:cubicBezTo>
                <a:cubicBezTo>
                  <a:pt x="11010143" y="4404234"/>
                  <a:pt x="10878641" y="4621580"/>
                  <a:pt x="10643544" y="4621580"/>
                </a:cubicBezTo>
                <a:moveTo>
                  <a:pt x="10643544" y="4790006"/>
                </a:moveTo>
                <a:cubicBezTo>
                  <a:pt x="11123156" y="4790006"/>
                  <a:pt x="11388948" y="4431839"/>
                  <a:pt x="11388948" y="3994350"/>
                </a:cubicBezTo>
                <a:cubicBezTo>
                  <a:pt x="11388948" y="3556513"/>
                  <a:pt x="11123156" y="3198695"/>
                  <a:pt x="10643544" y="3198695"/>
                </a:cubicBezTo>
                <a:cubicBezTo>
                  <a:pt x="10163933" y="3198695"/>
                  <a:pt x="9898141" y="3556862"/>
                  <a:pt x="9898141" y="3994350"/>
                </a:cubicBezTo>
                <a:cubicBezTo>
                  <a:pt x="9898141" y="4431839"/>
                  <a:pt x="10163933" y="4790006"/>
                  <a:pt x="10643544" y="4790006"/>
                </a:cubicBezTo>
                <a:moveTo>
                  <a:pt x="9112972" y="4790006"/>
                </a:moveTo>
                <a:cubicBezTo>
                  <a:pt x="9525264" y="4790006"/>
                  <a:pt x="9748502" y="4597119"/>
                  <a:pt x="9748502" y="4291018"/>
                </a:cubicBezTo>
                <a:cubicBezTo>
                  <a:pt x="9748502" y="4003435"/>
                  <a:pt x="9550029" y="3883930"/>
                  <a:pt x="9342140" y="3831865"/>
                </a:cubicBezTo>
                <a:lnTo>
                  <a:pt x="9048792" y="3758484"/>
                </a:lnTo>
                <a:cubicBezTo>
                  <a:pt x="8902292" y="3721794"/>
                  <a:pt x="8838111" y="3654354"/>
                  <a:pt x="8838111" y="3556513"/>
                </a:cubicBezTo>
                <a:cubicBezTo>
                  <a:pt x="8838111" y="3434212"/>
                  <a:pt x="8942056" y="3360482"/>
                  <a:pt x="9097974" y="3360482"/>
                </a:cubicBezTo>
                <a:cubicBezTo>
                  <a:pt x="9281446" y="3360482"/>
                  <a:pt x="9394461" y="3461468"/>
                  <a:pt x="9409460" y="3654354"/>
                </a:cubicBezTo>
                <a:lnTo>
                  <a:pt x="9715016" y="3562453"/>
                </a:lnTo>
                <a:cubicBezTo>
                  <a:pt x="9678391" y="3348252"/>
                  <a:pt x="9467711" y="3198346"/>
                  <a:pt x="9128320" y="3198346"/>
                </a:cubicBezTo>
                <a:cubicBezTo>
                  <a:pt x="8795208" y="3198346"/>
                  <a:pt x="8544763" y="3339167"/>
                  <a:pt x="8544763" y="3638978"/>
                </a:cubicBezTo>
                <a:cubicBezTo>
                  <a:pt x="8544763" y="3893015"/>
                  <a:pt x="8718819" y="4030691"/>
                  <a:pt x="8914500" y="4079611"/>
                </a:cubicBezTo>
                <a:lnTo>
                  <a:pt x="9220057" y="4156137"/>
                </a:lnTo>
                <a:cubicBezTo>
                  <a:pt x="9381903" y="4195972"/>
                  <a:pt x="9455153" y="4253978"/>
                  <a:pt x="9455153" y="4382569"/>
                </a:cubicBezTo>
                <a:cubicBezTo>
                  <a:pt x="9455153" y="4538764"/>
                  <a:pt x="9345279" y="4627520"/>
                  <a:pt x="9152737" y="4627520"/>
                </a:cubicBezTo>
                <a:cubicBezTo>
                  <a:pt x="8944846" y="4627520"/>
                  <a:pt x="8838111" y="4526535"/>
                  <a:pt x="8804626" y="4272498"/>
                </a:cubicBezTo>
                <a:lnTo>
                  <a:pt x="8480931" y="4364399"/>
                </a:lnTo>
                <a:cubicBezTo>
                  <a:pt x="8498720" y="4627520"/>
                  <a:pt x="8743235" y="4790006"/>
                  <a:pt x="9112972" y="4790006"/>
                </a:cubicBezTo>
                <a:moveTo>
                  <a:pt x="7386719" y="4759256"/>
                </a:moveTo>
                <a:lnTo>
                  <a:pt x="7386719" y="3770714"/>
                </a:lnTo>
                <a:cubicBezTo>
                  <a:pt x="7386719" y="3544283"/>
                  <a:pt x="7502872" y="3412547"/>
                  <a:pt x="7689136" y="3412547"/>
                </a:cubicBezTo>
                <a:cubicBezTo>
                  <a:pt x="7869470" y="3412547"/>
                  <a:pt x="7948649" y="3532053"/>
                  <a:pt x="7948649" y="3712359"/>
                </a:cubicBezTo>
                <a:lnTo>
                  <a:pt x="7948649" y="4759256"/>
                </a:lnTo>
                <a:lnTo>
                  <a:pt x="8309318" y="4759256"/>
                </a:lnTo>
                <a:lnTo>
                  <a:pt x="8309318" y="3709564"/>
                </a:lnTo>
                <a:cubicBezTo>
                  <a:pt x="8309318" y="3394377"/>
                  <a:pt x="8144331" y="3198346"/>
                  <a:pt x="7826566" y="3198346"/>
                </a:cubicBezTo>
                <a:cubicBezTo>
                  <a:pt x="7600539" y="3198346"/>
                  <a:pt x="7475317" y="3296186"/>
                  <a:pt x="7404857" y="3421632"/>
                </a:cubicBezTo>
                <a:lnTo>
                  <a:pt x="7386370" y="3421632"/>
                </a:lnTo>
                <a:lnTo>
                  <a:pt x="7386370" y="3228746"/>
                </a:lnTo>
                <a:lnTo>
                  <a:pt x="7025702" y="3228746"/>
                </a:lnTo>
                <a:lnTo>
                  <a:pt x="7025702" y="4758906"/>
                </a:lnTo>
                <a:lnTo>
                  <a:pt x="7386719" y="4758906"/>
                </a:lnTo>
                <a:close/>
                <a:moveTo>
                  <a:pt x="5813593" y="4759256"/>
                </a:moveTo>
                <a:lnTo>
                  <a:pt x="5813593" y="3770714"/>
                </a:lnTo>
                <a:cubicBezTo>
                  <a:pt x="5813593" y="3544283"/>
                  <a:pt x="5929746" y="3412547"/>
                  <a:pt x="6116010" y="3412547"/>
                </a:cubicBezTo>
                <a:cubicBezTo>
                  <a:pt x="6296343" y="3412547"/>
                  <a:pt x="6375523" y="3532053"/>
                  <a:pt x="6375523" y="3712359"/>
                </a:cubicBezTo>
                <a:lnTo>
                  <a:pt x="6375523" y="4759256"/>
                </a:lnTo>
                <a:lnTo>
                  <a:pt x="6736191" y="4759256"/>
                </a:lnTo>
                <a:lnTo>
                  <a:pt x="6736191" y="3709564"/>
                </a:lnTo>
                <a:cubicBezTo>
                  <a:pt x="6736191" y="3394377"/>
                  <a:pt x="6571205" y="3198346"/>
                  <a:pt x="6253440" y="3198346"/>
                </a:cubicBezTo>
                <a:cubicBezTo>
                  <a:pt x="6027412" y="3198346"/>
                  <a:pt x="5902190" y="3296186"/>
                  <a:pt x="5831730" y="3421632"/>
                </a:cubicBezTo>
                <a:lnTo>
                  <a:pt x="5813243" y="3421632"/>
                </a:lnTo>
                <a:lnTo>
                  <a:pt x="5813243" y="2616892"/>
                </a:lnTo>
                <a:lnTo>
                  <a:pt x="5452576" y="2616892"/>
                </a:lnTo>
                <a:lnTo>
                  <a:pt x="5452576" y="4759256"/>
                </a:lnTo>
                <a:lnTo>
                  <a:pt x="5813593" y="4759256"/>
                </a:lnTo>
                <a:close/>
                <a:moveTo>
                  <a:pt x="4493701" y="4621580"/>
                </a:moveTo>
                <a:cubicBezTo>
                  <a:pt x="4258604" y="4621580"/>
                  <a:pt x="4127103" y="4398293"/>
                  <a:pt x="4127103" y="3994001"/>
                </a:cubicBezTo>
                <a:cubicBezTo>
                  <a:pt x="4127103" y="3583769"/>
                  <a:pt x="4258604" y="3366422"/>
                  <a:pt x="4493701" y="3366422"/>
                </a:cubicBezTo>
                <a:cubicBezTo>
                  <a:pt x="4728798" y="3366422"/>
                  <a:pt x="4860299" y="3586913"/>
                  <a:pt x="4860299" y="3994001"/>
                </a:cubicBezTo>
                <a:cubicBezTo>
                  <a:pt x="4860299" y="4404234"/>
                  <a:pt x="4729147" y="4621580"/>
                  <a:pt x="4493701" y="4621580"/>
                </a:cubicBezTo>
                <a:moveTo>
                  <a:pt x="4493701" y="4790006"/>
                </a:moveTo>
                <a:cubicBezTo>
                  <a:pt x="4973313" y="4790006"/>
                  <a:pt x="5239105" y="4431839"/>
                  <a:pt x="5239105" y="3994350"/>
                </a:cubicBezTo>
                <a:cubicBezTo>
                  <a:pt x="5239105" y="3556513"/>
                  <a:pt x="4973313" y="3198695"/>
                  <a:pt x="4493701" y="3198695"/>
                </a:cubicBezTo>
                <a:cubicBezTo>
                  <a:pt x="4014089" y="3198695"/>
                  <a:pt x="3748297" y="3556862"/>
                  <a:pt x="3748297" y="3994350"/>
                </a:cubicBezTo>
                <a:cubicBezTo>
                  <a:pt x="3748297" y="4431839"/>
                  <a:pt x="4014089" y="4790006"/>
                  <a:pt x="4493701" y="4790006"/>
                </a:cubicBezTo>
                <a:moveTo>
                  <a:pt x="2825698" y="4808176"/>
                </a:moveTo>
                <a:cubicBezTo>
                  <a:pt x="3336005" y="4808176"/>
                  <a:pt x="3534477" y="4502074"/>
                  <a:pt x="3534477" y="4101276"/>
                </a:cubicBezTo>
                <a:lnTo>
                  <a:pt x="3534477" y="2616892"/>
                </a:lnTo>
                <a:lnTo>
                  <a:pt x="3155671" y="2616892"/>
                </a:lnTo>
                <a:lnTo>
                  <a:pt x="3155671" y="4199117"/>
                </a:lnTo>
                <a:cubicBezTo>
                  <a:pt x="3155671" y="4456299"/>
                  <a:pt x="3058005" y="4609350"/>
                  <a:pt x="2825698" y="4609350"/>
                </a:cubicBezTo>
                <a:cubicBezTo>
                  <a:pt x="2596531" y="4609350"/>
                  <a:pt x="2495725" y="4447214"/>
                  <a:pt x="2495725" y="4168717"/>
                </a:cubicBezTo>
                <a:lnTo>
                  <a:pt x="2495725" y="3874845"/>
                </a:lnTo>
                <a:lnTo>
                  <a:pt x="2116919" y="3969890"/>
                </a:lnTo>
                <a:lnTo>
                  <a:pt x="2116919" y="4101626"/>
                </a:lnTo>
                <a:cubicBezTo>
                  <a:pt x="2116919" y="4502074"/>
                  <a:pt x="2315391" y="4808176"/>
                  <a:pt x="2825698" y="4808176"/>
                </a:cubicBezTo>
                <a:moveTo>
                  <a:pt x="809585" y="4584890"/>
                </a:moveTo>
                <a:cubicBezTo>
                  <a:pt x="516237" y="4584890"/>
                  <a:pt x="335903" y="4346228"/>
                  <a:pt x="335903" y="4092191"/>
                </a:cubicBezTo>
                <a:cubicBezTo>
                  <a:pt x="335903" y="3933200"/>
                  <a:pt x="406013" y="3786089"/>
                  <a:pt x="522166" y="3703623"/>
                </a:cubicBezTo>
                <a:lnTo>
                  <a:pt x="1212807" y="4459444"/>
                </a:lnTo>
                <a:cubicBezTo>
                  <a:pt x="1084446" y="4535969"/>
                  <a:pt x="940737" y="4584890"/>
                  <a:pt x="809585" y="4584890"/>
                </a:cubicBezTo>
                <a:moveTo>
                  <a:pt x="1178973" y="3489073"/>
                </a:moveTo>
                <a:cubicBezTo>
                  <a:pt x="1426278" y="3489073"/>
                  <a:pt x="1579056" y="3633038"/>
                  <a:pt x="1579056" y="3880785"/>
                </a:cubicBezTo>
                <a:cubicBezTo>
                  <a:pt x="1579056" y="3990856"/>
                  <a:pt x="1548361" y="4104072"/>
                  <a:pt x="1481390" y="4208202"/>
                </a:cubicBezTo>
                <a:lnTo>
                  <a:pt x="882834" y="3547078"/>
                </a:lnTo>
                <a:cubicBezTo>
                  <a:pt x="989570" y="3504447"/>
                  <a:pt x="1093515" y="3489073"/>
                  <a:pt x="1178973" y="3489073"/>
                </a:cubicBezTo>
                <a:moveTo>
                  <a:pt x="809585" y="2730108"/>
                </a:moveTo>
                <a:cubicBezTo>
                  <a:pt x="989919" y="2730108"/>
                  <a:pt x="1096654" y="2834238"/>
                  <a:pt x="1096654" y="3023979"/>
                </a:cubicBezTo>
                <a:cubicBezTo>
                  <a:pt x="1096654" y="3198346"/>
                  <a:pt x="1011196" y="3363627"/>
                  <a:pt x="800167" y="3458672"/>
                </a:cubicBezTo>
                <a:lnTo>
                  <a:pt x="668666" y="3311911"/>
                </a:lnTo>
                <a:cubicBezTo>
                  <a:pt x="552513" y="3183320"/>
                  <a:pt x="519027" y="3103650"/>
                  <a:pt x="519027" y="3008954"/>
                </a:cubicBezTo>
                <a:cubicBezTo>
                  <a:pt x="519027" y="2831093"/>
                  <a:pt x="632390" y="2730108"/>
                  <a:pt x="809585" y="2730108"/>
                </a:cubicBezTo>
                <a:moveTo>
                  <a:pt x="1576266" y="4312333"/>
                </a:moveTo>
                <a:cubicBezTo>
                  <a:pt x="1741252" y="4116302"/>
                  <a:pt x="1835779" y="3902101"/>
                  <a:pt x="1835779" y="3715504"/>
                </a:cubicBezTo>
                <a:cubicBezTo>
                  <a:pt x="1835779" y="3482783"/>
                  <a:pt x="1679862" y="3326937"/>
                  <a:pt x="1435696" y="3326937"/>
                </a:cubicBezTo>
                <a:cubicBezTo>
                  <a:pt x="1307335" y="3326937"/>
                  <a:pt x="1163625" y="3363627"/>
                  <a:pt x="1069098" y="3400317"/>
                </a:cubicBezTo>
                <a:lnTo>
                  <a:pt x="1062820" y="3388087"/>
                </a:lnTo>
                <a:cubicBezTo>
                  <a:pt x="1295126" y="3262641"/>
                  <a:pt x="1392793" y="3146280"/>
                  <a:pt x="1392793" y="2984144"/>
                </a:cubicBezTo>
                <a:cubicBezTo>
                  <a:pt x="1392793" y="2751423"/>
                  <a:pt x="1184903" y="2567971"/>
                  <a:pt x="818305" y="2567971"/>
                </a:cubicBezTo>
                <a:cubicBezTo>
                  <a:pt x="396595" y="2567971"/>
                  <a:pt x="189054" y="2803488"/>
                  <a:pt x="189054" y="3097360"/>
                </a:cubicBezTo>
                <a:cubicBezTo>
                  <a:pt x="189054" y="3256351"/>
                  <a:pt x="256374" y="3415692"/>
                  <a:pt x="433569" y="3608578"/>
                </a:cubicBezTo>
                <a:lnTo>
                  <a:pt x="436708" y="3614868"/>
                </a:lnTo>
                <a:cubicBezTo>
                  <a:pt x="137431" y="3758833"/>
                  <a:pt x="0" y="3991205"/>
                  <a:pt x="0" y="4230217"/>
                </a:cubicBezTo>
                <a:cubicBezTo>
                  <a:pt x="0" y="4545404"/>
                  <a:pt x="241376" y="4808526"/>
                  <a:pt x="613903" y="4808526"/>
                </a:cubicBezTo>
                <a:cubicBezTo>
                  <a:pt x="827723" y="4808526"/>
                  <a:pt x="1078167" y="4719770"/>
                  <a:pt x="1304544" y="4560779"/>
                </a:cubicBezTo>
                <a:lnTo>
                  <a:pt x="1488017" y="4759605"/>
                </a:lnTo>
                <a:lnTo>
                  <a:pt x="1967629" y="4759605"/>
                </a:lnTo>
                <a:lnTo>
                  <a:pt x="1967629" y="4744230"/>
                </a:lnTo>
                <a:lnTo>
                  <a:pt x="1576266" y="4312333"/>
                </a:lnTo>
                <a:close/>
              </a:path>
            </a:pathLst>
          </a:custGeom>
          <a:solidFill>
            <a:schemeClr val="bg1"/>
          </a:solidFill>
          <a:ln w="34866" cap="flat">
            <a:noFill/>
            <a:prstDash val="solid"/>
            <a:miter/>
          </a:ln>
        </p:spPr>
        <p:txBody>
          <a:bodyPr rtlCol="0" anchor="ctr"/>
          <a:lstStyle/>
          <a:p>
            <a:endParaRPr lang="en-GB"/>
          </a:p>
        </p:txBody>
      </p:sp>
      <p:sp>
        <p:nvSpPr>
          <p:cNvPr id="3" name="Footer Placeholder 4">
            <a:extLst>
              <a:ext uri="{FF2B5EF4-FFF2-40B4-BE49-F238E27FC236}">
                <a16:creationId xmlns:a16="http://schemas.microsoft.com/office/drawing/2014/main" id="{9C609030-F259-96C7-8D8B-757B0CF2B39E}"/>
              </a:ext>
            </a:extLst>
          </p:cNvPr>
          <p:cNvSpPr txBox="1">
            <a:spLocks/>
          </p:cNvSpPr>
          <p:nvPr userDrawn="1"/>
        </p:nvSpPr>
        <p:spPr>
          <a:xfrm>
            <a:off x="10233891" y="427087"/>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0" i="0" kern="1200">
                <a:solidFill>
                  <a:schemeClr val="bg1"/>
                </a:solidFill>
                <a:latin typeface="+mn-lt"/>
                <a:ea typeface="+mn-ea"/>
                <a:cs typeface="+mn-cs"/>
              </a:rPr>
              <a:t>HEALTH CARE COMPLIANCE</a:t>
            </a:r>
          </a:p>
        </p:txBody>
      </p:sp>
    </p:spTree>
    <p:extLst>
      <p:ext uri="{BB962C8B-B14F-4D97-AF65-F5344CB8AC3E}">
        <p14:creationId xmlns:p14="http://schemas.microsoft.com/office/powerpoint/2010/main" val="141300451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hasCustomPrompt="1"/>
          </p:nvPr>
        </p:nvSpPr>
        <p:spPr>
          <a:xfrm>
            <a:off x="287338" y="266400"/>
            <a:ext cx="8674100" cy="2770117"/>
          </a:xfrm>
        </p:spPr>
        <p:txBody>
          <a:bodyPr anchor="t">
            <a:normAutofit/>
          </a:bodyPr>
          <a:lstStyle>
            <a:lvl1pPr>
              <a:lnSpc>
                <a:spcPct val="80000"/>
              </a:lnSpc>
              <a:defRPr sz="7400" spc="0" baseline="0">
                <a:solidFill>
                  <a:schemeClr val="tx1"/>
                </a:solidFill>
              </a:defRPr>
            </a:lvl1pPr>
          </a:lstStyle>
          <a:p>
            <a:r>
              <a:rPr lang="en-GB"/>
              <a:t>Click to edit Master title style</a:t>
            </a:r>
            <a:br>
              <a:rPr lang="en-GB"/>
            </a:br>
            <a:endParaRPr lang="en-GB"/>
          </a:p>
        </p:txBody>
      </p:sp>
      <p:sp>
        <p:nvSpPr>
          <p:cNvPr id="5" name="Footer Placeholder 4">
            <a:extLst>
              <a:ext uri="{FF2B5EF4-FFF2-40B4-BE49-F238E27FC236}">
                <a16:creationId xmlns:a16="http://schemas.microsoft.com/office/drawing/2014/main" id="{895F487D-4064-92B3-E439-C4C68E6D7889}"/>
              </a:ext>
            </a:extLst>
          </p:cNvPr>
          <p:cNvSpPr>
            <a:spLocks noGrp="1"/>
          </p:cNvSpPr>
          <p:nvPr>
            <p:ph type="ftr" sz="quarter" idx="11"/>
          </p:nvPr>
        </p:nvSpPr>
        <p:spPr/>
        <p:txBody>
          <a:bodyPr/>
          <a:lstStyle/>
          <a:p>
            <a:pPr>
              <a:spcBef>
                <a:spcPts val="0"/>
              </a:spcBef>
              <a:spcAft>
                <a:spcPts val="300"/>
              </a:spcAft>
            </a:pPr>
            <a:r>
              <a:rPr lang="en-US" b="0" i="0">
                <a:effectLst/>
              </a:rPr>
              <a:t>Job Aid and Guidance Document still under review.</a:t>
            </a:r>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p>
            <a:fld id="{AEC8D767-5246-2244-A4A3-B8AFB218393C}" type="slidenum">
              <a:rPr lang="en-GB" smtClean="0"/>
              <a:t>‹#›</a:t>
            </a:fld>
            <a:endParaRPr lang="en-GB"/>
          </a:p>
        </p:txBody>
      </p:sp>
    </p:spTree>
    <p:extLst>
      <p:ext uri="{BB962C8B-B14F-4D97-AF65-F5344CB8AC3E}">
        <p14:creationId xmlns:p14="http://schemas.microsoft.com/office/powerpoint/2010/main" val="144486633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ection Header Panel 01">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D4FF8C-1D72-E0CF-4605-CF03816DB150}"/>
              </a:ext>
            </a:extLst>
          </p:cNvPr>
          <p:cNvSpPr/>
          <p:nvPr userDrawn="1"/>
        </p:nvSpPr>
        <p:spPr>
          <a:xfrm>
            <a:off x="9144000" y="2"/>
            <a:ext cx="3048000" cy="22825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7" name="Rectangle 6">
            <a:extLst>
              <a:ext uri="{FF2B5EF4-FFF2-40B4-BE49-F238E27FC236}">
                <a16:creationId xmlns:a16="http://schemas.microsoft.com/office/drawing/2014/main" id="{BB951803-8B14-5893-C6D9-F22E6D29647B}"/>
              </a:ext>
            </a:extLst>
          </p:cNvPr>
          <p:cNvSpPr/>
          <p:nvPr userDrawn="1"/>
        </p:nvSpPr>
        <p:spPr>
          <a:xfrm>
            <a:off x="0" y="4578308"/>
            <a:ext cx="8089900" cy="22825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9" name="Title 1">
            <a:extLst>
              <a:ext uri="{FF2B5EF4-FFF2-40B4-BE49-F238E27FC236}">
                <a16:creationId xmlns:a16="http://schemas.microsoft.com/office/drawing/2014/main" id="{41E30424-3D6B-9C32-D056-E12FEE159594}"/>
              </a:ext>
            </a:extLst>
          </p:cNvPr>
          <p:cNvSpPr>
            <a:spLocks noGrp="1"/>
          </p:cNvSpPr>
          <p:nvPr>
            <p:ph type="title"/>
          </p:nvPr>
        </p:nvSpPr>
        <p:spPr>
          <a:xfrm>
            <a:off x="287338" y="266400"/>
            <a:ext cx="7694612" cy="1859099"/>
          </a:xfrm>
        </p:spPr>
        <p:txBody>
          <a:bodyPr anchor="t"/>
          <a:lstStyle>
            <a:lvl1pPr>
              <a:lnSpc>
                <a:spcPct val="80000"/>
              </a:lnSpc>
              <a:defRPr sz="7400" spc="0" baseline="0">
                <a:solidFill>
                  <a:schemeClr val="accent1"/>
                </a:solidFill>
              </a:defRPr>
            </a:lvl1pPr>
          </a:lstStyle>
          <a:p>
            <a:r>
              <a:rPr lang="en-US"/>
              <a:t>Click to edit Master title style</a:t>
            </a:r>
            <a:endParaRPr lang="en-GB"/>
          </a:p>
        </p:txBody>
      </p:sp>
      <p:sp>
        <p:nvSpPr>
          <p:cNvPr id="4" name="Slide Number Placeholder 5">
            <a:extLst>
              <a:ext uri="{FF2B5EF4-FFF2-40B4-BE49-F238E27FC236}">
                <a16:creationId xmlns:a16="http://schemas.microsoft.com/office/drawing/2014/main" id="{FC72F9C5-6F6D-587C-351F-0B5583DF1799}"/>
              </a:ext>
            </a:extLst>
          </p:cNvPr>
          <p:cNvSpPr>
            <a:spLocks noGrp="1"/>
          </p:cNvSpPr>
          <p:nvPr>
            <p:ph type="sldNum" sz="quarter" idx="12"/>
          </p:nvPr>
        </p:nvSpPr>
        <p:spPr>
          <a:xfrm>
            <a:off x="11581942" y="6433878"/>
            <a:ext cx="320674" cy="153463"/>
          </a:xfrm>
        </p:spPr>
        <p:txBody>
          <a:bodyPr/>
          <a:lstStyle/>
          <a:p>
            <a:fld id="{AEC8D767-5246-2244-A4A3-B8AFB218393C}" type="slidenum">
              <a:rPr lang="en-GB" smtClean="0"/>
              <a:t>‹#›</a:t>
            </a:fld>
            <a:endParaRPr lang="en-GB"/>
          </a:p>
        </p:txBody>
      </p:sp>
      <p:sp>
        <p:nvSpPr>
          <p:cNvPr id="2" name="Graphic 8">
            <a:extLst>
              <a:ext uri="{FF2B5EF4-FFF2-40B4-BE49-F238E27FC236}">
                <a16:creationId xmlns:a16="http://schemas.microsoft.com/office/drawing/2014/main" id="{E57334F2-2D9C-A261-5F71-74062D3E0043}"/>
              </a:ext>
            </a:extLst>
          </p:cNvPr>
          <p:cNvSpPr>
            <a:spLocks noChangeAspect="1"/>
          </p:cNvSpPr>
          <p:nvPr userDrawn="1"/>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a:p>
        </p:txBody>
      </p:sp>
    </p:spTree>
    <p:extLst>
      <p:ext uri="{BB962C8B-B14F-4D97-AF65-F5344CB8AC3E}">
        <p14:creationId xmlns:p14="http://schemas.microsoft.com/office/powerpoint/2010/main" val="218859433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Header Panel 01">
    <p:bg>
      <p:bgPr>
        <a:solidFill>
          <a:schemeClr val="accent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1DFFC51-5FDD-DBA1-C803-B017E296ADB6}"/>
              </a:ext>
            </a:extLst>
          </p:cNvPr>
          <p:cNvSpPr/>
          <p:nvPr userDrawn="1"/>
        </p:nvSpPr>
        <p:spPr>
          <a:xfrm>
            <a:off x="9144000" y="2"/>
            <a:ext cx="3048000" cy="22825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0" name="Rectangle 19">
            <a:extLst>
              <a:ext uri="{FF2B5EF4-FFF2-40B4-BE49-F238E27FC236}">
                <a16:creationId xmlns:a16="http://schemas.microsoft.com/office/drawing/2014/main" id="{E6A0B6D5-9FAE-6088-29AE-ECA683A12070}"/>
              </a:ext>
            </a:extLst>
          </p:cNvPr>
          <p:cNvSpPr/>
          <p:nvPr userDrawn="1"/>
        </p:nvSpPr>
        <p:spPr>
          <a:xfrm>
            <a:off x="0" y="4578308"/>
            <a:ext cx="8089900" cy="22825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199B8AD4-5298-7DA9-DDAD-3AB53AF2F9F5}"/>
              </a:ext>
            </a:extLst>
          </p:cNvPr>
          <p:cNvSpPr>
            <a:spLocks noGrp="1"/>
          </p:cNvSpPr>
          <p:nvPr>
            <p:ph type="title"/>
          </p:nvPr>
        </p:nvSpPr>
        <p:spPr>
          <a:xfrm>
            <a:off x="287338" y="266400"/>
            <a:ext cx="7694612" cy="1859099"/>
          </a:xfrm>
        </p:spPr>
        <p:txBody>
          <a:bodyPr anchor="t"/>
          <a:lstStyle>
            <a:lvl1pPr>
              <a:lnSpc>
                <a:spcPct val="80000"/>
              </a:lnSpc>
              <a:defRPr sz="7400" spc="0" baseline="0">
                <a:solidFill>
                  <a:schemeClr val="bg1"/>
                </a:solidFill>
              </a:defRPr>
            </a:lvl1pPr>
          </a:lstStyle>
          <a:p>
            <a:r>
              <a:rPr lang="en-US"/>
              <a:t>Click to edit Master title style</a:t>
            </a:r>
            <a:endParaRPr lang="en-GB"/>
          </a:p>
        </p:txBody>
      </p:sp>
      <p:sp>
        <p:nvSpPr>
          <p:cNvPr id="5" name="Slide Number Placeholder 5">
            <a:extLst>
              <a:ext uri="{FF2B5EF4-FFF2-40B4-BE49-F238E27FC236}">
                <a16:creationId xmlns:a16="http://schemas.microsoft.com/office/drawing/2014/main" id="{5996C02B-DDD3-6ECC-5C7A-81C542C2CC80}"/>
              </a:ext>
            </a:extLst>
          </p:cNvPr>
          <p:cNvSpPr>
            <a:spLocks noGrp="1"/>
          </p:cNvSpPr>
          <p:nvPr>
            <p:ph type="sldNum" sz="quarter" idx="12"/>
          </p:nvPr>
        </p:nvSpPr>
        <p:spPr>
          <a:xfrm>
            <a:off x="11581942" y="6433878"/>
            <a:ext cx="320674" cy="153463"/>
          </a:xfrm>
        </p:spPr>
        <p:txBody>
          <a:bodyPr/>
          <a:lstStyle>
            <a:lvl1pPr>
              <a:defRPr>
                <a:solidFill>
                  <a:schemeClr val="bg1"/>
                </a:solidFill>
              </a:defRPr>
            </a:lvl1pPr>
          </a:lstStyle>
          <a:p>
            <a:fld id="{AEC8D767-5246-2244-A4A3-B8AFB218393C}" type="slidenum">
              <a:rPr lang="en-GB" smtClean="0"/>
              <a:pPr/>
              <a:t>‹#›</a:t>
            </a:fld>
            <a:endParaRPr lang="en-GB"/>
          </a:p>
        </p:txBody>
      </p:sp>
      <p:sp>
        <p:nvSpPr>
          <p:cNvPr id="3" name="Graphic 8">
            <a:extLst>
              <a:ext uri="{FF2B5EF4-FFF2-40B4-BE49-F238E27FC236}">
                <a16:creationId xmlns:a16="http://schemas.microsoft.com/office/drawing/2014/main" id="{738221C5-F9D8-43DB-B798-DF9312647345}"/>
              </a:ext>
            </a:extLst>
          </p:cNvPr>
          <p:cNvSpPr>
            <a:spLocks noChangeAspect="1"/>
          </p:cNvSpPr>
          <p:nvPr userDrawn="1"/>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accent1"/>
          </a:solidFill>
          <a:ln w="24751" cap="flat">
            <a:noFill/>
            <a:prstDash val="solid"/>
            <a:miter/>
          </a:ln>
        </p:spPr>
        <p:txBody>
          <a:bodyPr rtlCol="0" anchor="ctr"/>
          <a:lstStyle/>
          <a:p>
            <a:endParaRPr lang="en-GB"/>
          </a:p>
        </p:txBody>
      </p:sp>
    </p:spTree>
    <p:extLst>
      <p:ext uri="{BB962C8B-B14F-4D97-AF65-F5344CB8AC3E}">
        <p14:creationId xmlns:p14="http://schemas.microsoft.com/office/powerpoint/2010/main" val="27794759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E4F4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hasCustomPrompt="1"/>
          </p:nvPr>
        </p:nvSpPr>
        <p:spPr>
          <a:xfrm>
            <a:off x="287338" y="266705"/>
            <a:ext cx="8674100" cy="2770117"/>
          </a:xfrm>
        </p:spPr>
        <p:txBody>
          <a:bodyPr anchor="t">
            <a:normAutofit/>
          </a:bodyPr>
          <a:lstStyle>
            <a:lvl1pPr>
              <a:lnSpc>
                <a:spcPct val="80000"/>
              </a:lnSpc>
              <a:defRPr sz="7400" spc="0" baseline="0">
                <a:solidFill>
                  <a:schemeClr val="bg1"/>
                </a:solidFill>
              </a:defRPr>
            </a:lvl1pPr>
          </a:lstStyle>
          <a:p>
            <a:r>
              <a:rPr lang="en-GB"/>
              <a:t>Click to edit Master title style</a:t>
            </a:r>
            <a:br>
              <a:rPr lang="en-GB"/>
            </a:br>
            <a:endParaRPr lang="en-GB"/>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3" name="Text Placeholder 31">
            <a:extLst>
              <a:ext uri="{FF2B5EF4-FFF2-40B4-BE49-F238E27FC236}">
                <a16:creationId xmlns:a16="http://schemas.microsoft.com/office/drawing/2014/main" id="{4D4C34F6-671F-EEC0-FEE1-02A18D85B646}"/>
              </a:ext>
            </a:extLst>
          </p:cNvPr>
          <p:cNvSpPr>
            <a:spLocks noGrp="1"/>
          </p:cNvSpPr>
          <p:nvPr>
            <p:ph type="body" sz="quarter" idx="10" hasCustomPrompt="1"/>
          </p:nvPr>
        </p:nvSpPr>
        <p:spPr>
          <a:xfrm>
            <a:off x="287339" y="4389438"/>
            <a:ext cx="5732692" cy="1376362"/>
          </a:xfrm>
        </p:spPr>
        <p:txBody>
          <a:bodyPr anchor="b"/>
          <a:lstStyle>
            <a:lvl1pPr>
              <a:lnSpc>
                <a:spcPct val="100000"/>
              </a:lnSpc>
              <a:spcBef>
                <a:spcPts val="0"/>
              </a:spcBef>
              <a:spcAft>
                <a:spcPts val="0"/>
              </a:spcAft>
              <a:defRPr sz="1400">
                <a:solidFill>
                  <a:schemeClr val="bg1"/>
                </a:solidFill>
              </a:defRPr>
            </a:lvl1pPr>
          </a:lstStyle>
          <a:p>
            <a:r>
              <a:rPr lang="en-US" noProof="0"/>
              <a:t>Supporting details.</a:t>
            </a:r>
            <a:r>
              <a:rPr lang="en-GB"/>
              <a:t> Delete if not required. </a:t>
            </a:r>
            <a:r>
              <a:rPr lang="en-US" noProof="0"/>
              <a:t>Right click on background &gt; Select ‘Format background’ &gt; Select color fill to change color.</a:t>
            </a:r>
          </a:p>
        </p:txBody>
      </p:sp>
      <p:sp>
        <p:nvSpPr>
          <p:cNvPr id="4" name="Footer Placeholder 4">
            <a:extLst>
              <a:ext uri="{FF2B5EF4-FFF2-40B4-BE49-F238E27FC236}">
                <a16:creationId xmlns:a16="http://schemas.microsoft.com/office/drawing/2014/main" id="{A83A6692-6756-028A-9F7E-2811210F0747}"/>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bg1"/>
                </a:solidFill>
                <a:latin typeface="+mn-lt"/>
              </a:defRPr>
            </a:lvl1pPr>
          </a:lstStyle>
          <a:p>
            <a:pPr>
              <a:spcBef>
                <a:spcPts val="0"/>
              </a:spcBef>
              <a:spcAft>
                <a:spcPts val="300"/>
              </a:spcAft>
            </a:pPr>
            <a:r>
              <a:rPr lang="en-US" b="0" i="0">
                <a:effectLst/>
              </a:rPr>
              <a:t>Job Aid and Guidance Document still under review.</a:t>
            </a:r>
          </a:p>
        </p:txBody>
      </p:sp>
      <p:sp>
        <p:nvSpPr>
          <p:cNvPr id="5" name="Graphic 8">
            <a:extLst>
              <a:ext uri="{FF2B5EF4-FFF2-40B4-BE49-F238E27FC236}">
                <a16:creationId xmlns:a16="http://schemas.microsoft.com/office/drawing/2014/main" id="{C2666627-5EC6-6B74-6176-F0B74B3F4F65}"/>
              </a:ext>
            </a:extLst>
          </p:cNvPr>
          <p:cNvSpPr>
            <a:spLocks noChangeAspect="1"/>
          </p:cNvSpPr>
          <p:nvPr userDrawn="1"/>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a:p>
        </p:txBody>
      </p:sp>
    </p:spTree>
    <p:extLst>
      <p:ext uri="{BB962C8B-B14F-4D97-AF65-F5344CB8AC3E}">
        <p14:creationId xmlns:p14="http://schemas.microsoft.com/office/powerpoint/2010/main" val="324540463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with Imag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hasCustomPrompt="1"/>
          </p:nvPr>
        </p:nvSpPr>
        <p:spPr>
          <a:xfrm>
            <a:off x="289384" y="266400"/>
            <a:ext cx="5732004" cy="3681136"/>
          </a:xfrm>
        </p:spPr>
        <p:txBody>
          <a:bodyPr anchor="t">
            <a:normAutofit/>
          </a:bodyPr>
          <a:lstStyle>
            <a:lvl1pPr>
              <a:lnSpc>
                <a:spcPct val="80000"/>
              </a:lnSpc>
              <a:defRPr sz="7400" spc="0" baseline="0">
                <a:solidFill>
                  <a:schemeClr val="bg1"/>
                </a:solidFill>
              </a:defRPr>
            </a:lvl1pPr>
          </a:lstStyle>
          <a:p>
            <a:r>
              <a:rPr lang="en-GB"/>
              <a:t>Click to edit Master title style</a:t>
            </a:r>
            <a:br>
              <a:rPr lang="en-GB"/>
            </a:br>
            <a:endParaRPr lang="en-GB"/>
          </a:p>
        </p:txBody>
      </p:sp>
      <p:sp>
        <p:nvSpPr>
          <p:cNvPr id="10" name="Picture Placeholder 3">
            <a:extLst>
              <a:ext uri="{FF2B5EF4-FFF2-40B4-BE49-F238E27FC236}">
                <a16:creationId xmlns:a16="http://schemas.microsoft.com/office/drawing/2014/main" id="{7474C3C3-E6CF-FCE1-1181-F02BC23A1017}"/>
              </a:ext>
            </a:extLst>
          </p:cNvPr>
          <p:cNvSpPr>
            <a:spLocks noGrp="1"/>
          </p:cNvSpPr>
          <p:nvPr>
            <p:ph type="pic" sz="quarter" idx="11" hasCustomPrompt="1"/>
          </p:nvPr>
        </p:nvSpPr>
        <p:spPr>
          <a:xfrm>
            <a:off x="6165851" y="0"/>
            <a:ext cx="6026150" cy="6858000"/>
          </a:xfrm>
          <a:solidFill>
            <a:srgbClr val="F6F3F2"/>
          </a:solidFill>
        </p:spPr>
        <p:txBody>
          <a:bodyPr/>
          <a:lstStyle>
            <a:lvl1pPr>
              <a:defRPr lang="en-US"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3" name="Graphic 8">
            <a:extLst>
              <a:ext uri="{FF2B5EF4-FFF2-40B4-BE49-F238E27FC236}">
                <a16:creationId xmlns:a16="http://schemas.microsoft.com/office/drawing/2014/main" id="{340F79D8-9CB3-8533-8439-9D23904770BB}"/>
              </a:ext>
            </a:extLst>
          </p:cNvPr>
          <p:cNvSpPr>
            <a:spLocks noChangeAspect="1"/>
          </p:cNvSpPr>
          <p:nvPr userDrawn="1"/>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a:p>
        </p:txBody>
      </p:sp>
    </p:spTree>
    <p:extLst>
      <p:ext uri="{BB962C8B-B14F-4D97-AF65-F5344CB8AC3E}">
        <p14:creationId xmlns:p14="http://schemas.microsoft.com/office/powerpoint/2010/main" val="234094671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Header with Im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hasCustomPrompt="1"/>
          </p:nvPr>
        </p:nvSpPr>
        <p:spPr>
          <a:xfrm>
            <a:off x="289384" y="270000"/>
            <a:ext cx="5732004" cy="3681136"/>
          </a:xfrm>
        </p:spPr>
        <p:txBody>
          <a:bodyPr anchor="t">
            <a:normAutofit/>
          </a:bodyPr>
          <a:lstStyle>
            <a:lvl1pPr>
              <a:lnSpc>
                <a:spcPct val="80000"/>
              </a:lnSpc>
              <a:defRPr sz="7400" spc="0" baseline="0">
                <a:solidFill>
                  <a:schemeClr val="accent1"/>
                </a:solidFill>
              </a:defRPr>
            </a:lvl1pPr>
          </a:lstStyle>
          <a:p>
            <a:r>
              <a:rPr lang="en-GB"/>
              <a:t>Click to edit Master title style</a:t>
            </a:r>
            <a:br>
              <a:rPr lang="en-GB"/>
            </a:br>
            <a:endParaRPr lang="en-GB"/>
          </a:p>
        </p:txBody>
      </p:sp>
      <p:sp>
        <p:nvSpPr>
          <p:cNvPr id="6" name="Picture Placeholder 3">
            <a:extLst>
              <a:ext uri="{FF2B5EF4-FFF2-40B4-BE49-F238E27FC236}">
                <a16:creationId xmlns:a16="http://schemas.microsoft.com/office/drawing/2014/main" id="{4C3BD605-06B1-68EF-DD24-2EA9D4780A82}"/>
              </a:ext>
            </a:extLst>
          </p:cNvPr>
          <p:cNvSpPr>
            <a:spLocks noGrp="1"/>
          </p:cNvSpPr>
          <p:nvPr>
            <p:ph type="pic" sz="quarter" idx="11" hasCustomPrompt="1"/>
          </p:nvPr>
        </p:nvSpPr>
        <p:spPr>
          <a:xfrm>
            <a:off x="6165851" y="0"/>
            <a:ext cx="6026150" cy="6858000"/>
          </a:xfrm>
          <a:solidFill>
            <a:srgbClr val="F6F3F2"/>
          </a:solidFill>
        </p:spPr>
        <p:txBody>
          <a:bodyPr/>
          <a:lstStyle>
            <a:lvl1pPr>
              <a:defRPr lang="en-US"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Tree>
    <p:extLst>
      <p:ext uri="{BB962C8B-B14F-4D97-AF65-F5344CB8AC3E}">
        <p14:creationId xmlns:p14="http://schemas.microsoft.com/office/powerpoint/2010/main" val="275927195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C22AC-FEA7-AD51-FB22-01EC3D276410}"/>
              </a:ext>
            </a:extLst>
          </p:cNvPr>
          <p:cNvSpPr>
            <a:spLocks noGrp="1"/>
          </p:cNvSpPr>
          <p:nvPr>
            <p:ph type="title"/>
          </p:nvPr>
        </p:nvSpPr>
        <p:spPr>
          <a:xfrm>
            <a:off x="286715" y="273600"/>
            <a:ext cx="1811959" cy="392415"/>
          </a:xfrm>
        </p:spPr>
        <p:txBody>
          <a:bodyPr/>
          <a:lstStyle>
            <a:lvl1pPr>
              <a:lnSpc>
                <a:spcPct val="85000"/>
              </a:lnSpc>
              <a:defRPr sz="1500" b="1" i="0">
                <a:solidFill>
                  <a:schemeClr val="tx1"/>
                </a:solidFill>
                <a:latin typeface="+mn-lt"/>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D07DAC6C-95A8-D53D-7D6B-43128BEEF186}"/>
              </a:ext>
            </a:extLst>
          </p:cNvPr>
          <p:cNvSpPr>
            <a:spLocks noGrp="1"/>
          </p:cNvSpPr>
          <p:nvPr>
            <p:ph type="body" sz="quarter" idx="13"/>
          </p:nvPr>
        </p:nvSpPr>
        <p:spPr>
          <a:xfrm>
            <a:off x="3225801" y="277200"/>
            <a:ext cx="8966200" cy="5488600"/>
          </a:xfrm>
        </p:spPr>
        <p:txBody>
          <a:bodyPr/>
          <a:lstStyle>
            <a:lvl1pPr marL="981075" indent="-981075">
              <a:lnSpc>
                <a:spcPct val="80000"/>
              </a:lnSpc>
              <a:spcBef>
                <a:spcPts val="600"/>
              </a:spcBef>
              <a:spcAft>
                <a:spcPts val="600"/>
              </a:spcAft>
              <a:buFont typeface="+mj-lt"/>
              <a:buAutoNum type="arabicPeriod"/>
              <a:tabLst/>
              <a:defRPr sz="3000" b="0" i="0">
                <a:latin typeface="+mj-lt"/>
              </a:defRPr>
            </a:lvl1pPr>
            <a:lvl2pPr marL="1201738" indent="-220663">
              <a:tabLst/>
              <a:defRPr/>
            </a:lvl2pPr>
            <a:lvl3pPr marL="1201738" indent="-220663">
              <a:tabLst/>
              <a:defRPr/>
            </a:lvl3pPr>
            <a:lvl4pPr marL="1201738" indent="-220663">
              <a:tabLst/>
              <a:defRPr/>
            </a:lvl4pPr>
            <a:lvl5pPr marL="1201738" indent="-220663">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9" name="Footer Placeholder 4">
            <a:extLst>
              <a:ext uri="{FF2B5EF4-FFF2-40B4-BE49-F238E27FC236}">
                <a16:creationId xmlns:a16="http://schemas.microsoft.com/office/drawing/2014/main" id="{73D73DEF-9C82-2768-837B-EB448FCEC2C3}"/>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103397861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2F4DE542-4D98-B05D-597C-9623E7D2E7C2}"/>
              </a:ext>
            </a:extLst>
          </p:cNvPr>
          <p:cNvSpPr>
            <a:spLocks noGrp="1"/>
          </p:cNvSpPr>
          <p:nvPr>
            <p:ph type="title"/>
          </p:nvPr>
        </p:nvSpPr>
        <p:spPr>
          <a:xfrm>
            <a:off x="286715" y="273600"/>
            <a:ext cx="1811959" cy="392415"/>
          </a:xfrm>
        </p:spPr>
        <p:txBody>
          <a:bodyPr/>
          <a:lstStyle>
            <a:lvl1pPr>
              <a:lnSpc>
                <a:spcPct val="85000"/>
              </a:lnSpc>
              <a:defRPr sz="1500" b="1" i="0">
                <a:solidFill>
                  <a:schemeClr val="tx1"/>
                </a:solidFill>
                <a:latin typeface="+mn-lt"/>
              </a:defRPr>
            </a:lvl1pPr>
          </a:lstStyle>
          <a:p>
            <a:r>
              <a:rPr lang="en-US"/>
              <a:t>Click to edit Master title style</a:t>
            </a:r>
            <a:endParaRPr lang="en-GB"/>
          </a:p>
        </p:txBody>
      </p:sp>
      <p:sp>
        <p:nvSpPr>
          <p:cNvPr id="151" name="Picture Placeholder 92">
            <a:extLst>
              <a:ext uri="{FF2B5EF4-FFF2-40B4-BE49-F238E27FC236}">
                <a16:creationId xmlns:a16="http://schemas.microsoft.com/office/drawing/2014/main" id="{414C0709-0B1A-11C5-45EE-CC44E7A13411}"/>
              </a:ext>
            </a:extLst>
          </p:cNvPr>
          <p:cNvSpPr>
            <a:spLocks noGrp="1"/>
          </p:cNvSpPr>
          <p:nvPr>
            <p:ph type="pic" sz="quarter" idx="56" hasCustomPrompt="1"/>
          </p:nvPr>
        </p:nvSpPr>
        <p:spPr>
          <a:xfrm>
            <a:off x="3225799" y="933132"/>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163" name="Text Placeholder 5">
            <a:extLst>
              <a:ext uri="{FF2B5EF4-FFF2-40B4-BE49-F238E27FC236}">
                <a16:creationId xmlns:a16="http://schemas.microsoft.com/office/drawing/2014/main" id="{12B824E8-EE25-7DB2-F96D-DEA8631E51FB}"/>
              </a:ext>
            </a:extLst>
          </p:cNvPr>
          <p:cNvSpPr>
            <a:spLocks noGrp="1"/>
          </p:cNvSpPr>
          <p:nvPr>
            <p:ph type="body" sz="quarter" idx="13" hasCustomPrompt="1"/>
          </p:nvPr>
        </p:nvSpPr>
        <p:spPr>
          <a:xfrm>
            <a:off x="3225800" y="231771"/>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64" name="Text Placeholder 5">
            <a:extLst>
              <a:ext uri="{FF2B5EF4-FFF2-40B4-BE49-F238E27FC236}">
                <a16:creationId xmlns:a16="http://schemas.microsoft.com/office/drawing/2014/main" id="{A4F70AC5-374E-DFC2-2B29-2318F0BB51E4}"/>
              </a:ext>
            </a:extLst>
          </p:cNvPr>
          <p:cNvSpPr>
            <a:spLocks noGrp="1"/>
          </p:cNvSpPr>
          <p:nvPr>
            <p:ph type="body" sz="quarter" idx="14"/>
          </p:nvPr>
        </p:nvSpPr>
        <p:spPr>
          <a:xfrm>
            <a:off x="4644000" y="231771"/>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65" name="Text Placeholder 5">
            <a:extLst>
              <a:ext uri="{FF2B5EF4-FFF2-40B4-BE49-F238E27FC236}">
                <a16:creationId xmlns:a16="http://schemas.microsoft.com/office/drawing/2014/main" id="{EB857D0D-CD76-A612-A712-E14D8C7049C6}"/>
              </a:ext>
            </a:extLst>
          </p:cNvPr>
          <p:cNvSpPr>
            <a:spLocks noGrp="1"/>
          </p:cNvSpPr>
          <p:nvPr>
            <p:ph type="body" sz="quarter" idx="15" hasCustomPrompt="1"/>
          </p:nvPr>
        </p:nvSpPr>
        <p:spPr>
          <a:xfrm>
            <a:off x="9106462" y="231771"/>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66" name="Picture Placeholder 91">
            <a:extLst>
              <a:ext uri="{FF2B5EF4-FFF2-40B4-BE49-F238E27FC236}">
                <a16:creationId xmlns:a16="http://schemas.microsoft.com/office/drawing/2014/main" id="{23E05799-FE6A-9155-DA4E-C09C4B03CA27}"/>
              </a:ext>
            </a:extLst>
          </p:cNvPr>
          <p:cNvSpPr>
            <a:spLocks noGrp="1"/>
          </p:cNvSpPr>
          <p:nvPr>
            <p:ph type="pic" sz="quarter" idx="55" hasCustomPrompt="1"/>
          </p:nvPr>
        </p:nvSpPr>
        <p:spPr>
          <a:xfrm>
            <a:off x="3225799" y="538994"/>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167" name="Text Placeholder 5">
            <a:extLst>
              <a:ext uri="{FF2B5EF4-FFF2-40B4-BE49-F238E27FC236}">
                <a16:creationId xmlns:a16="http://schemas.microsoft.com/office/drawing/2014/main" id="{24089EB1-E806-6913-C5B8-A4C01D0814E6}"/>
              </a:ext>
            </a:extLst>
          </p:cNvPr>
          <p:cNvSpPr>
            <a:spLocks noGrp="1"/>
          </p:cNvSpPr>
          <p:nvPr>
            <p:ph type="body" sz="quarter" idx="16" hasCustomPrompt="1"/>
          </p:nvPr>
        </p:nvSpPr>
        <p:spPr>
          <a:xfrm>
            <a:off x="3225800" y="625471"/>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68" name="Text Placeholder 5">
            <a:extLst>
              <a:ext uri="{FF2B5EF4-FFF2-40B4-BE49-F238E27FC236}">
                <a16:creationId xmlns:a16="http://schemas.microsoft.com/office/drawing/2014/main" id="{10C7981E-34E4-22AC-19D7-855BF963AC6A}"/>
              </a:ext>
            </a:extLst>
          </p:cNvPr>
          <p:cNvSpPr>
            <a:spLocks noGrp="1"/>
          </p:cNvSpPr>
          <p:nvPr>
            <p:ph type="body" sz="quarter" idx="17"/>
          </p:nvPr>
        </p:nvSpPr>
        <p:spPr>
          <a:xfrm>
            <a:off x="4644000" y="625471"/>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69" name="Text Placeholder 5">
            <a:extLst>
              <a:ext uri="{FF2B5EF4-FFF2-40B4-BE49-F238E27FC236}">
                <a16:creationId xmlns:a16="http://schemas.microsoft.com/office/drawing/2014/main" id="{127EEF89-640D-17FA-3E79-57DA3786E32A}"/>
              </a:ext>
            </a:extLst>
          </p:cNvPr>
          <p:cNvSpPr>
            <a:spLocks noGrp="1"/>
          </p:cNvSpPr>
          <p:nvPr>
            <p:ph type="body" sz="quarter" idx="18" hasCustomPrompt="1"/>
          </p:nvPr>
        </p:nvSpPr>
        <p:spPr>
          <a:xfrm>
            <a:off x="9106462" y="625471"/>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70" name="Text Placeholder 5">
            <a:extLst>
              <a:ext uri="{FF2B5EF4-FFF2-40B4-BE49-F238E27FC236}">
                <a16:creationId xmlns:a16="http://schemas.microsoft.com/office/drawing/2014/main" id="{C3E76B7F-03AC-D5BD-BECC-8B0881567D59}"/>
              </a:ext>
            </a:extLst>
          </p:cNvPr>
          <p:cNvSpPr>
            <a:spLocks noGrp="1"/>
          </p:cNvSpPr>
          <p:nvPr>
            <p:ph type="body" sz="quarter" idx="19" hasCustomPrompt="1"/>
          </p:nvPr>
        </p:nvSpPr>
        <p:spPr>
          <a:xfrm>
            <a:off x="3225800" y="1022195"/>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71" name="Text Placeholder 5">
            <a:extLst>
              <a:ext uri="{FF2B5EF4-FFF2-40B4-BE49-F238E27FC236}">
                <a16:creationId xmlns:a16="http://schemas.microsoft.com/office/drawing/2014/main" id="{8344A73D-BCE2-9041-0430-DCA16AE2194A}"/>
              </a:ext>
            </a:extLst>
          </p:cNvPr>
          <p:cNvSpPr>
            <a:spLocks noGrp="1"/>
          </p:cNvSpPr>
          <p:nvPr>
            <p:ph type="body" sz="quarter" idx="20"/>
          </p:nvPr>
        </p:nvSpPr>
        <p:spPr>
          <a:xfrm>
            <a:off x="4644000" y="1022195"/>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72" name="Text Placeholder 5">
            <a:extLst>
              <a:ext uri="{FF2B5EF4-FFF2-40B4-BE49-F238E27FC236}">
                <a16:creationId xmlns:a16="http://schemas.microsoft.com/office/drawing/2014/main" id="{BA7AD8A2-995B-0025-7B23-12D44BEB24F7}"/>
              </a:ext>
            </a:extLst>
          </p:cNvPr>
          <p:cNvSpPr>
            <a:spLocks noGrp="1"/>
          </p:cNvSpPr>
          <p:nvPr>
            <p:ph type="body" sz="quarter" idx="21" hasCustomPrompt="1"/>
          </p:nvPr>
        </p:nvSpPr>
        <p:spPr>
          <a:xfrm>
            <a:off x="9106462" y="1022195"/>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73" name="Picture Placeholder 93">
            <a:extLst>
              <a:ext uri="{FF2B5EF4-FFF2-40B4-BE49-F238E27FC236}">
                <a16:creationId xmlns:a16="http://schemas.microsoft.com/office/drawing/2014/main" id="{C7221CC4-5A16-F8BC-F970-B26EBD5A8BA8}"/>
              </a:ext>
            </a:extLst>
          </p:cNvPr>
          <p:cNvSpPr>
            <a:spLocks noGrp="1"/>
          </p:cNvSpPr>
          <p:nvPr>
            <p:ph type="pic" sz="quarter" idx="57" hasCustomPrompt="1"/>
          </p:nvPr>
        </p:nvSpPr>
        <p:spPr>
          <a:xfrm>
            <a:off x="3225799" y="1335152"/>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174" name="Text Placeholder 5">
            <a:extLst>
              <a:ext uri="{FF2B5EF4-FFF2-40B4-BE49-F238E27FC236}">
                <a16:creationId xmlns:a16="http://schemas.microsoft.com/office/drawing/2014/main" id="{B4AD80BA-61F2-11A3-5213-31194E78CF82}"/>
              </a:ext>
            </a:extLst>
          </p:cNvPr>
          <p:cNvSpPr>
            <a:spLocks noGrp="1"/>
          </p:cNvSpPr>
          <p:nvPr>
            <p:ph type="body" sz="quarter" idx="22" hasCustomPrompt="1"/>
          </p:nvPr>
        </p:nvSpPr>
        <p:spPr>
          <a:xfrm>
            <a:off x="3225800" y="1418919"/>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75" name="Text Placeholder 5">
            <a:extLst>
              <a:ext uri="{FF2B5EF4-FFF2-40B4-BE49-F238E27FC236}">
                <a16:creationId xmlns:a16="http://schemas.microsoft.com/office/drawing/2014/main" id="{27C0D85E-74CB-0D5E-89E5-5D22045B8749}"/>
              </a:ext>
            </a:extLst>
          </p:cNvPr>
          <p:cNvSpPr>
            <a:spLocks noGrp="1"/>
          </p:cNvSpPr>
          <p:nvPr>
            <p:ph type="body" sz="quarter" idx="23"/>
          </p:nvPr>
        </p:nvSpPr>
        <p:spPr>
          <a:xfrm>
            <a:off x="4644000" y="1418919"/>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76" name="Text Placeholder 5">
            <a:extLst>
              <a:ext uri="{FF2B5EF4-FFF2-40B4-BE49-F238E27FC236}">
                <a16:creationId xmlns:a16="http://schemas.microsoft.com/office/drawing/2014/main" id="{D3602011-9A32-BE74-D43E-233E4FC27356}"/>
              </a:ext>
            </a:extLst>
          </p:cNvPr>
          <p:cNvSpPr>
            <a:spLocks noGrp="1"/>
          </p:cNvSpPr>
          <p:nvPr>
            <p:ph type="body" sz="quarter" idx="24" hasCustomPrompt="1"/>
          </p:nvPr>
        </p:nvSpPr>
        <p:spPr>
          <a:xfrm>
            <a:off x="9106462" y="1418919"/>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77" name="Picture Placeholder 94">
            <a:extLst>
              <a:ext uri="{FF2B5EF4-FFF2-40B4-BE49-F238E27FC236}">
                <a16:creationId xmlns:a16="http://schemas.microsoft.com/office/drawing/2014/main" id="{269B4BB8-2420-C116-E384-4500FB15D7E4}"/>
              </a:ext>
            </a:extLst>
          </p:cNvPr>
          <p:cNvSpPr>
            <a:spLocks noGrp="1"/>
          </p:cNvSpPr>
          <p:nvPr>
            <p:ph type="pic" sz="quarter" idx="58" hasCustomPrompt="1"/>
          </p:nvPr>
        </p:nvSpPr>
        <p:spPr>
          <a:xfrm>
            <a:off x="3225799" y="1737173"/>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178" name="Text Placeholder 5">
            <a:extLst>
              <a:ext uri="{FF2B5EF4-FFF2-40B4-BE49-F238E27FC236}">
                <a16:creationId xmlns:a16="http://schemas.microsoft.com/office/drawing/2014/main" id="{A65D6C32-597E-A87D-B6BE-91881E645FE5}"/>
              </a:ext>
            </a:extLst>
          </p:cNvPr>
          <p:cNvSpPr>
            <a:spLocks noGrp="1"/>
          </p:cNvSpPr>
          <p:nvPr>
            <p:ph type="body" sz="quarter" idx="25" hasCustomPrompt="1"/>
          </p:nvPr>
        </p:nvSpPr>
        <p:spPr>
          <a:xfrm>
            <a:off x="3225800" y="1815643"/>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79" name="Text Placeholder 5">
            <a:extLst>
              <a:ext uri="{FF2B5EF4-FFF2-40B4-BE49-F238E27FC236}">
                <a16:creationId xmlns:a16="http://schemas.microsoft.com/office/drawing/2014/main" id="{4B1DF343-DFC7-F81B-915B-96E9335A5E49}"/>
              </a:ext>
            </a:extLst>
          </p:cNvPr>
          <p:cNvSpPr>
            <a:spLocks noGrp="1"/>
          </p:cNvSpPr>
          <p:nvPr>
            <p:ph type="body" sz="quarter" idx="26"/>
          </p:nvPr>
        </p:nvSpPr>
        <p:spPr>
          <a:xfrm>
            <a:off x="4644000" y="1815643"/>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80" name="Text Placeholder 5">
            <a:extLst>
              <a:ext uri="{FF2B5EF4-FFF2-40B4-BE49-F238E27FC236}">
                <a16:creationId xmlns:a16="http://schemas.microsoft.com/office/drawing/2014/main" id="{B101370D-BD23-0E59-00B2-1DF4D768EBDF}"/>
              </a:ext>
            </a:extLst>
          </p:cNvPr>
          <p:cNvSpPr>
            <a:spLocks noGrp="1"/>
          </p:cNvSpPr>
          <p:nvPr>
            <p:ph type="body" sz="quarter" idx="27" hasCustomPrompt="1"/>
          </p:nvPr>
        </p:nvSpPr>
        <p:spPr>
          <a:xfrm>
            <a:off x="9106462" y="1815643"/>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81" name="Picture Placeholder 95">
            <a:extLst>
              <a:ext uri="{FF2B5EF4-FFF2-40B4-BE49-F238E27FC236}">
                <a16:creationId xmlns:a16="http://schemas.microsoft.com/office/drawing/2014/main" id="{F4B3C050-4D54-40AC-903F-F698E83D054E}"/>
              </a:ext>
            </a:extLst>
          </p:cNvPr>
          <p:cNvSpPr>
            <a:spLocks noGrp="1"/>
          </p:cNvSpPr>
          <p:nvPr>
            <p:ph type="pic" sz="quarter" idx="59" hasCustomPrompt="1"/>
          </p:nvPr>
        </p:nvSpPr>
        <p:spPr>
          <a:xfrm>
            <a:off x="3225799" y="2123428"/>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182" name="Text Placeholder 5">
            <a:extLst>
              <a:ext uri="{FF2B5EF4-FFF2-40B4-BE49-F238E27FC236}">
                <a16:creationId xmlns:a16="http://schemas.microsoft.com/office/drawing/2014/main" id="{155ABD36-F107-FAC7-D94F-C71129D99E04}"/>
              </a:ext>
            </a:extLst>
          </p:cNvPr>
          <p:cNvSpPr>
            <a:spLocks noGrp="1"/>
          </p:cNvSpPr>
          <p:nvPr>
            <p:ph type="body" sz="quarter" idx="28" hasCustomPrompt="1"/>
          </p:nvPr>
        </p:nvSpPr>
        <p:spPr>
          <a:xfrm>
            <a:off x="3225800" y="2212367"/>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83" name="Text Placeholder 5">
            <a:extLst>
              <a:ext uri="{FF2B5EF4-FFF2-40B4-BE49-F238E27FC236}">
                <a16:creationId xmlns:a16="http://schemas.microsoft.com/office/drawing/2014/main" id="{0A1512C3-4983-E876-9159-16E3626DF5B5}"/>
              </a:ext>
            </a:extLst>
          </p:cNvPr>
          <p:cNvSpPr>
            <a:spLocks noGrp="1"/>
          </p:cNvSpPr>
          <p:nvPr>
            <p:ph type="body" sz="quarter" idx="29"/>
          </p:nvPr>
        </p:nvSpPr>
        <p:spPr>
          <a:xfrm>
            <a:off x="4644000" y="2212367"/>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84" name="Text Placeholder 5">
            <a:extLst>
              <a:ext uri="{FF2B5EF4-FFF2-40B4-BE49-F238E27FC236}">
                <a16:creationId xmlns:a16="http://schemas.microsoft.com/office/drawing/2014/main" id="{F7879AFD-9EB9-2FB8-189D-455DEDB6131F}"/>
              </a:ext>
            </a:extLst>
          </p:cNvPr>
          <p:cNvSpPr>
            <a:spLocks noGrp="1"/>
          </p:cNvSpPr>
          <p:nvPr>
            <p:ph type="body" sz="quarter" idx="30" hasCustomPrompt="1"/>
          </p:nvPr>
        </p:nvSpPr>
        <p:spPr>
          <a:xfrm>
            <a:off x="9106462" y="2212367"/>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85" name="Picture Placeholder 96">
            <a:extLst>
              <a:ext uri="{FF2B5EF4-FFF2-40B4-BE49-F238E27FC236}">
                <a16:creationId xmlns:a16="http://schemas.microsoft.com/office/drawing/2014/main" id="{35FA00DC-0DE0-96B1-C7B7-F45DB8335CDB}"/>
              </a:ext>
            </a:extLst>
          </p:cNvPr>
          <p:cNvSpPr>
            <a:spLocks noGrp="1"/>
          </p:cNvSpPr>
          <p:nvPr>
            <p:ph type="pic" sz="quarter" idx="60" hasCustomPrompt="1"/>
          </p:nvPr>
        </p:nvSpPr>
        <p:spPr>
          <a:xfrm>
            <a:off x="3225799" y="2525448"/>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186" name="Text Placeholder 5">
            <a:extLst>
              <a:ext uri="{FF2B5EF4-FFF2-40B4-BE49-F238E27FC236}">
                <a16:creationId xmlns:a16="http://schemas.microsoft.com/office/drawing/2014/main" id="{BE4AFC06-39CD-C8B1-3AE0-5EC6BA91A93A}"/>
              </a:ext>
            </a:extLst>
          </p:cNvPr>
          <p:cNvSpPr>
            <a:spLocks noGrp="1"/>
          </p:cNvSpPr>
          <p:nvPr>
            <p:ph type="body" sz="quarter" idx="31" hasCustomPrompt="1"/>
          </p:nvPr>
        </p:nvSpPr>
        <p:spPr>
          <a:xfrm>
            <a:off x="3225800" y="2607652"/>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87" name="Text Placeholder 5">
            <a:extLst>
              <a:ext uri="{FF2B5EF4-FFF2-40B4-BE49-F238E27FC236}">
                <a16:creationId xmlns:a16="http://schemas.microsoft.com/office/drawing/2014/main" id="{626B338C-7172-C0D7-9039-86A9DE0F1FA0}"/>
              </a:ext>
            </a:extLst>
          </p:cNvPr>
          <p:cNvSpPr>
            <a:spLocks noGrp="1"/>
          </p:cNvSpPr>
          <p:nvPr>
            <p:ph type="body" sz="quarter" idx="32"/>
          </p:nvPr>
        </p:nvSpPr>
        <p:spPr>
          <a:xfrm>
            <a:off x="4644000" y="2607652"/>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88" name="Text Placeholder 5">
            <a:extLst>
              <a:ext uri="{FF2B5EF4-FFF2-40B4-BE49-F238E27FC236}">
                <a16:creationId xmlns:a16="http://schemas.microsoft.com/office/drawing/2014/main" id="{F53E4D8E-1408-3646-C31B-01AB5D69F9EE}"/>
              </a:ext>
            </a:extLst>
          </p:cNvPr>
          <p:cNvSpPr>
            <a:spLocks noGrp="1"/>
          </p:cNvSpPr>
          <p:nvPr>
            <p:ph type="body" sz="quarter" idx="33" hasCustomPrompt="1"/>
          </p:nvPr>
        </p:nvSpPr>
        <p:spPr>
          <a:xfrm>
            <a:off x="9106462" y="2607652"/>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89" name="Picture Placeholder 97">
            <a:extLst>
              <a:ext uri="{FF2B5EF4-FFF2-40B4-BE49-F238E27FC236}">
                <a16:creationId xmlns:a16="http://schemas.microsoft.com/office/drawing/2014/main" id="{E48216AF-0F70-8F6D-3261-AB2C4BA6E6DD}"/>
              </a:ext>
            </a:extLst>
          </p:cNvPr>
          <p:cNvSpPr>
            <a:spLocks noGrp="1"/>
          </p:cNvSpPr>
          <p:nvPr>
            <p:ph type="pic" sz="quarter" idx="61" hasCustomPrompt="1"/>
          </p:nvPr>
        </p:nvSpPr>
        <p:spPr>
          <a:xfrm>
            <a:off x="3225799" y="2919586"/>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190" name="Text Placeholder 5">
            <a:extLst>
              <a:ext uri="{FF2B5EF4-FFF2-40B4-BE49-F238E27FC236}">
                <a16:creationId xmlns:a16="http://schemas.microsoft.com/office/drawing/2014/main" id="{ACC59BB8-BBFA-7099-D2F9-58BFCAF10734}"/>
              </a:ext>
            </a:extLst>
          </p:cNvPr>
          <p:cNvSpPr>
            <a:spLocks noGrp="1"/>
          </p:cNvSpPr>
          <p:nvPr>
            <p:ph type="body" sz="quarter" idx="34" hasCustomPrompt="1"/>
          </p:nvPr>
        </p:nvSpPr>
        <p:spPr>
          <a:xfrm>
            <a:off x="3225800" y="3002937"/>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91" name="Text Placeholder 5">
            <a:extLst>
              <a:ext uri="{FF2B5EF4-FFF2-40B4-BE49-F238E27FC236}">
                <a16:creationId xmlns:a16="http://schemas.microsoft.com/office/drawing/2014/main" id="{CACBCBB1-0D34-45F6-E211-B0C865D3FF9F}"/>
              </a:ext>
            </a:extLst>
          </p:cNvPr>
          <p:cNvSpPr>
            <a:spLocks noGrp="1"/>
          </p:cNvSpPr>
          <p:nvPr>
            <p:ph type="body" sz="quarter" idx="35"/>
          </p:nvPr>
        </p:nvSpPr>
        <p:spPr>
          <a:xfrm>
            <a:off x="4644000" y="3002937"/>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92" name="Text Placeholder 5">
            <a:extLst>
              <a:ext uri="{FF2B5EF4-FFF2-40B4-BE49-F238E27FC236}">
                <a16:creationId xmlns:a16="http://schemas.microsoft.com/office/drawing/2014/main" id="{AA85DA3F-ECA7-C004-3370-0301B640466D}"/>
              </a:ext>
            </a:extLst>
          </p:cNvPr>
          <p:cNvSpPr>
            <a:spLocks noGrp="1"/>
          </p:cNvSpPr>
          <p:nvPr>
            <p:ph type="body" sz="quarter" idx="36" hasCustomPrompt="1"/>
          </p:nvPr>
        </p:nvSpPr>
        <p:spPr>
          <a:xfrm>
            <a:off x="9106462" y="3002937"/>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93" name="Picture Placeholder 98">
            <a:extLst>
              <a:ext uri="{FF2B5EF4-FFF2-40B4-BE49-F238E27FC236}">
                <a16:creationId xmlns:a16="http://schemas.microsoft.com/office/drawing/2014/main" id="{6E85E349-99D2-61C9-CD7D-58A15220FF0A}"/>
              </a:ext>
            </a:extLst>
          </p:cNvPr>
          <p:cNvSpPr>
            <a:spLocks noGrp="1"/>
          </p:cNvSpPr>
          <p:nvPr>
            <p:ph type="pic" sz="quarter" idx="62" hasCustomPrompt="1"/>
          </p:nvPr>
        </p:nvSpPr>
        <p:spPr>
          <a:xfrm>
            <a:off x="3225799" y="3313724"/>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194" name="Text Placeholder 5">
            <a:extLst>
              <a:ext uri="{FF2B5EF4-FFF2-40B4-BE49-F238E27FC236}">
                <a16:creationId xmlns:a16="http://schemas.microsoft.com/office/drawing/2014/main" id="{D00E7ED3-4AED-567D-4156-2F6D199ADA79}"/>
              </a:ext>
            </a:extLst>
          </p:cNvPr>
          <p:cNvSpPr>
            <a:spLocks noGrp="1"/>
          </p:cNvSpPr>
          <p:nvPr>
            <p:ph type="body" sz="quarter" idx="37" hasCustomPrompt="1"/>
          </p:nvPr>
        </p:nvSpPr>
        <p:spPr>
          <a:xfrm>
            <a:off x="3225800" y="3398222"/>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95" name="Text Placeholder 5">
            <a:extLst>
              <a:ext uri="{FF2B5EF4-FFF2-40B4-BE49-F238E27FC236}">
                <a16:creationId xmlns:a16="http://schemas.microsoft.com/office/drawing/2014/main" id="{C8FC743C-8275-AD1C-7797-8C970CCC8D44}"/>
              </a:ext>
            </a:extLst>
          </p:cNvPr>
          <p:cNvSpPr>
            <a:spLocks noGrp="1"/>
          </p:cNvSpPr>
          <p:nvPr>
            <p:ph type="body" sz="quarter" idx="38"/>
          </p:nvPr>
        </p:nvSpPr>
        <p:spPr>
          <a:xfrm>
            <a:off x="4644000" y="3398222"/>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196" name="Text Placeholder 5">
            <a:extLst>
              <a:ext uri="{FF2B5EF4-FFF2-40B4-BE49-F238E27FC236}">
                <a16:creationId xmlns:a16="http://schemas.microsoft.com/office/drawing/2014/main" id="{AF7A0554-FA98-7604-80E6-32CB2E2929A8}"/>
              </a:ext>
            </a:extLst>
          </p:cNvPr>
          <p:cNvSpPr>
            <a:spLocks noGrp="1"/>
          </p:cNvSpPr>
          <p:nvPr>
            <p:ph type="body" sz="quarter" idx="39" hasCustomPrompt="1"/>
          </p:nvPr>
        </p:nvSpPr>
        <p:spPr>
          <a:xfrm>
            <a:off x="9106462" y="3398222"/>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197" name="Picture Placeholder 99">
            <a:extLst>
              <a:ext uri="{FF2B5EF4-FFF2-40B4-BE49-F238E27FC236}">
                <a16:creationId xmlns:a16="http://schemas.microsoft.com/office/drawing/2014/main" id="{F876AA1D-D562-3A3B-A233-9C23797C9A2F}"/>
              </a:ext>
            </a:extLst>
          </p:cNvPr>
          <p:cNvSpPr>
            <a:spLocks noGrp="1"/>
          </p:cNvSpPr>
          <p:nvPr>
            <p:ph type="pic" sz="quarter" idx="63" hasCustomPrompt="1"/>
          </p:nvPr>
        </p:nvSpPr>
        <p:spPr>
          <a:xfrm>
            <a:off x="3225799" y="3715744"/>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198" name="Text Placeholder 5">
            <a:extLst>
              <a:ext uri="{FF2B5EF4-FFF2-40B4-BE49-F238E27FC236}">
                <a16:creationId xmlns:a16="http://schemas.microsoft.com/office/drawing/2014/main" id="{4AAF2467-86C6-2863-72E4-0D257BDEFEC8}"/>
              </a:ext>
            </a:extLst>
          </p:cNvPr>
          <p:cNvSpPr>
            <a:spLocks noGrp="1"/>
          </p:cNvSpPr>
          <p:nvPr>
            <p:ph type="body" sz="quarter" idx="40" hasCustomPrompt="1"/>
          </p:nvPr>
        </p:nvSpPr>
        <p:spPr>
          <a:xfrm>
            <a:off x="3225800" y="3793507"/>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199" name="Text Placeholder 5">
            <a:extLst>
              <a:ext uri="{FF2B5EF4-FFF2-40B4-BE49-F238E27FC236}">
                <a16:creationId xmlns:a16="http://schemas.microsoft.com/office/drawing/2014/main" id="{D10BCF98-803A-D107-CF63-05EE97CCF877}"/>
              </a:ext>
            </a:extLst>
          </p:cNvPr>
          <p:cNvSpPr>
            <a:spLocks noGrp="1"/>
          </p:cNvSpPr>
          <p:nvPr>
            <p:ph type="body" sz="quarter" idx="41"/>
          </p:nvPr>
        </p:nvSpPr>
        <p:spPr>
          <a:xfrm>
            <a:off x="4644000" y="3793507"/>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200" name="Text Placeholder 5">
            <a:extLst>
              <a:ext uri="{FF2B5EF4-FFF2-40B4-BE49-F238E27FC236}">
                <a16:creationId xmlns:a16="http://schemas.microsoft.com/office/drawing/2014/main" id="{66FCBF15-2260-D8AF-4A2A-454AC1F084CE}"/>
              </a:ext>
            </a:extLst>
          </p:cNvPr>
          <p:cNvSpPr>
            <a:spLocks noGrp="1"/>
          </p:cNvSpPr>
          <p:nvPr>
            <p:ph type="body" sz="quarter" idx="42" hasCustomPrompt="1"/>
          </p:nvPr>
        </p:nvSpPr>
        <p:spPr>
          <a:xfrm>
            <a:off x="9106462" y="3793507"/>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201" name="Picture Placeholder 100">
            <a:extLst>
              <a:ext uri="{FF2B5EF4-FFF2-40B4-BE49-F238E27FC236}">
                <a16:creationId xmlns:a16="http://schemas.microsoft.com/office/drawing/2014/main" id="{9AA08646-E580-C6E2-B08A-A52294AA1302}"/>
              </a:ext>
            </a:extLst>
          </p:cNvPr>
          <p:cNvSpPr>
            <a:spLocks noGrp="1"/>
          </p:cNvSpPr>
          <p:nvPr>
            <p:ph type="pic" sz="quarter" idx="64" hasCustomPrompt="1"/>
          </p:nvPr>
        </p:nvSpPr>
        <p:spPr>
          <a:xfrm>
            <a:off x="3225799" y="410199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202" name="Text Placeholder 5">
            <a:extLst>
              <a:ext uri="{FF2B5EF4-FFF2-40B4-BE49-F238E27FC236}">
                <a16:creationId xmlns:a16="http://schemas.microsoft.com/office/drawing/2014/main" id="{F1F57BF8-4802-2C8C-0E82-371529BD021B}"/>
              </a:ext>
            </a:extLst>
          </p:cNvPr>
          <p:cNvSpPr>
            <a:spLocks noGrp="1"/>
          </p:cNvSpPr>
          <p:nvPr>
            <p:ph type="body" sz="quarter" idx="43" hasCustomPrompt="1"/>
          </p:nvPr>
        </p:nvSpPr>
        <p:spPr>
          <a:xfrm>
            <a:off x="3225800" y="4185778"/>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203" name="Text Placeholder 5">
            <a:extLst>
              <a:ext uri="{FF2B5EF4-FFF2-40B4-BE49-F238E27FC236}">
                <a16:creationId xmlns:a16="http://schemas.microsoft.com/office/drawing/2014/main" id="{04A64809-4725-EAB5-6238-C72786840E58}"/>
              </a:ext>
            </a:extLst>
          </p:cNvPr>
          <p:cNvSpPr>
            <a:spLocks noGrp="1"/>
          </p:cNvSpPr>
          <p:nvPr>
            <p:ph type="body" sz="quarter" idx="44"/>
          </p:nvPr>
        </p:nvSpPr>
        <p:spPr>
          <a:xfrm>
            <a:off x="4644000" y="4185778"/>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204" name="Text Placeholder 5">
            <a:extLst>
              <a:ext uri="{FF2B5EF4-FFF2-40B4-BE49-F238E27FC236}">
                <a16:creationId xmlns:a16="http://schemas.microsoft.com/office/drawing/2014/main" id="{4CB9BFE3-9BB1-5FD8-09B8-E24BA20F557E}"/>
              </a:ext>
            </a:extLst>
          </p:cNvPr>
          <p:cNvSpPr>
            <a:spLocks noGrp="1"/>
          </p:cNvSpPr>
          <p:nvPr>
            <p:ph type="body" sz="quarter" idx="45" hasCustomPrompt="1"/>
          </p:nvPr>
        </p:nvSpPr>
        <p:spPr>
          <a:xfrm>
            <a:off x="9106462" y="4185778"/>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205" name="Picture Placeholder 101">
            <a:extLst>
              <a:ext uri="{FF2B5EF4-FFF2-40B4-BE49-F238E27FC236}">
                <a16:creationId xmlns:a16="http://schemas.microsoft.com/office/drawing/2014/main" id="{44DB8248-2938-15C7-274A-CA5D91633846}"/>
              </a:ext>
            </a:extLst>
          </p:cNvPr>
          <p:cNvSpPr>
            <a:spLocks noGrp="1"/>
          </p:cNvSpPr>
          <p:nvPr>
            <p:ph type="pic" sz="quarter" idx="65" hasCustomPrompt="1"/>
          </p:nvPr>
        </p:nvSpPr>
        <p:spPr>
          <a:xfrm>
            <a:off x="3225799" y="4496137"/>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206" name="Text Placeholder 5">
            <a:extLst>
              <a:ext uri="{FF2B5EF4-FFF2-40B4-BE49-F238E27FC236}">
                <a16:creationId xmlns:a16="http://schemas.microsoft.com/office/drawing/2014/main" id="{611AE180-E3A1-4890-5ADE-0648958344D8}"/>
              </a:ext>
            </a:extLst>
          </p:cNvPr>
          <p:cNvSpPr>
            <a:spLocks noGrp="1"/>
          </p:cNvSpPr>
          <p:nvPr>
            <p:ph type="body" sz="quarter" idx="46" hasCustomPrompt="1"/>
          </p:nvPr>
        </p:nvSpPr>
        <p:spPr>
          <a:xfrm>
            <a:off x="3225800" y="4578049"/>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207" name="Text Placeholder 5">
            <a:extLst>
              <a:ext uri="{FF2B5EF4-FFF2-40B4-BE49-F238E27FC236}">
                <a16:creationId xmlns:a16="http://schemas.microsoft.com/office/drawing/2014/main" id="{E90EADE4-597A-8C59-D59C-21DE4011EC86}"/>
              </a:ext>
            </a:extLst>
          </p:cNvPr>
          <p:cNvSpPr>
            <a:spLocks noGrp="1"/>
          </p:cNvSpPr>
          <p:nvPr>
            <p:ph type="body" sz="quarter" idx="47"/>
          </p:nvPr>
        </p:nvSpPr>
        <p:spPr>
          <a:xfrm>
            <a:off x="4644000" y="4578049"/>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208" name="Text Placeholder 5">
            <a:extLst>
              <a:ext uri="{FF2B5EF4-FFF2-40B4-BE49-F238E27FC236}">
                <a16:creationId xmlns:a16="http://schemas.microsoft.com/office/drawing/2014/main" id="{8988DD51-F3BF-BE97-FF13-DAAFB4A50B04}"/>
              </a:ext>
            </a:extLst>
          </p:cNvPr>
          <p:cNvSpPr>
            <a:spLocks noGrp="1"/>
          </p:cNvSpPr>
          <p:nvPr>
            <p:ph type="body" sz="quarter" idx="48" hasCustomPrompt="1"/>
          </p:nvPr>
        </p:nvSpPr>
        <p:spPr>
          <a:xfrm>
            <a:off x="9106462" y="4578049"/>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209" name="Picture Placeholder 102">
            <a:extLst>
              <a:ext uri="{FF2B5EF4-FFF2-40B4-BE49-F238E27FC236}">
                <a16:creationId xmlns:a16="http://schemas.microsoft.com/office/drawing/2014/main" id="{5DAB147A-0351-E869-E2C9-849967B3E0CC}"/>
              </a:ext>
            </a:extLst>
          </p:cNvPr>
          <p:cNvSpPr>
            <a:spLocks noGrp="1"/>
          </p:cNvSpPr>
          <p:nvPr>
            <p:ph type="pic" sz="quarter" idx="66" hasCustomPrompt="1"/>
          </p:nvPr>
        </p:nvSpPr>
        <p:spPr>
          <a:xfrm>
            <a:off x="3225799" y="4890274"/>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210" name="Text Placeholder 5">
            <a:extLst>
              <a:ext uri="{FF2B5EF4-FFF2-40B4-BE49-F238E27FC236}">
                <a16:creationId xmlns:a16="http://schemas.microsoft.com/office/drawing/2014/main" id="{3A1DC516-9D33-7E76-1881-D60014DC876A}"/>
              </a:ext>
            </a:extLst>
          </p:cNvPr>
          <p:cNvSpPr>
            <a:spLocks noGrp="1"/>
          </p:cNvSpPr>
          <p:nvPr>
            <p:ph type="body" sz="quarter" idx="49" hasCustomPrompt="1"/>
          </p:nvPr>
        </p:nvSpPr>
        <p:spPr>
          <a:xfrm>
            <a:off x="3225800" y="4969019"/>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211" name="Text Placeholder 5">
            <a:extLst>
              <a:ext uri="{FF2B5EF4-FFF2-40B4-BE49-F238E27FC236}">
                <a16:creationId xmlns:a16="http://schemas.microsoft.com/office/drawing/2014/main" id="{50E9B1C4-B2F3-4C78-8518-39911DF5B99E}"/>
              </a:ext>
            </a:extLst>
          </p:cNvPr>
          <p:cNvSpPr>
            <a:spLocks noGrp="1"/>
          </p:cNvSpPr>
          <p:nvPr>
            <p:ph type="body" sz="quarter" idx="50"/>
          </p:nvPr>
        </p:nvSpPr>
        <p:spPr>
          <a:xfrm>
            <a:off x="4644000" y="4969019"/>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212" name="Text Placeholder 5">
            <a:extLst>
              <a:ext uri="{FF2B5EF4-FFF2-40B4-BE49-F238E27FC236}">
                <a16:creationId xmlns:a16="http://schemas.microsoft.com/office/drawing/2014/main" id="{BE4B6B57-1237-7AB3-7574-6A37E89A9F5C}"/>
              </a:ext>
            </a:extLst>
          </p:cNvPr>
          <p:cNvSpPr>
            <a:spLocks noGrp="1"/>
          </p:cNvSpPr>
          <p:nvPr>
            <p:ph type="body" sz="quarter" idx="51" hasCustomPrompt="1"/>
          </p:nvPr>
        </p:nvSpPr>
        <p:spPr>
          <a:xfrm>
            <a:off x="9106462" y="4969019"/>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213" name="Picture Placeholder 103">
            <a:extLst>
              <a:ext uri="{FF2B5EF4-FFF2-40B4-BE49-F238E27FC236}">
                <a16:creationId xmlns:a16="http://schemas.microsoft.com/office/drawing/2014/main" id="{469187E8-1DE2-B301-6DE0-4B9CEA368C43}"/>
              </a:ext>
            </a:extLst>
          </p:cNvPr>
          <p:cNvSpPr>
            <a:spLocks noGrp="1"/>
          </p:cNvSpPr>
          <p:nvPr>
            <p:ph type="pic" sz="quarter" idx="67" hasCustomPrompt="1"/>
          </p:nvPr>
        </p:nvSpPr>
        <p:spPr>
          <a:xfrm>
            <a:off x="3225799" y="527652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rmAutofit/>
          </a:bodyPr>
          <a:lstStyle>
            <a:lvl1pPr>
              <a:defRPr sz="400" b="0" i="0">
                <a:latin typeface="+mn-lt"/>
              </a:defRPr>
            </a:lvl1pPr>
          </a:lstStyle>
          <a:p>
            <a:r>
              <a:rPr lang="en-GB"/>
              <a:t> </a:t>
            </a:r>
          </a:p>
        </p:txBody>
      </p:sp>
      <p:sp>
        <p:nvSpPr>
          <p:cNvPr id="214" name="Text Placeholder 5">
            <a:extLst>
              <a:ext uri="{FF2B5EF4-FFF2-40B4-BE49-F238E27FC236}">
                <a16:creationId xmlns:a16="http://schemas.microsoft.com/office/drawing/2014/main" id="{C07B97CB-6CF8-744C-72E9-403869FF62FA}"/>
              </a:ext>
            </a:extLst>
          </p:cNvPr>
          <p:cNvSpPr>
            <a:spLocks noGrp="1"/>
          </p:cNvSpPr>
          <p:nvPr>
            <p:ph type="body" sz="quarter" idx="52" hasCustomPrompt="1"/>
          </p:nvPr>
        </p:nvSpPr>
        <p:spPr>
          <a:xfrm>
            <a:off x="3225800" y="5359989"/>
            <a:ext cx="1273176" cy="228909"/>
          </a:xfrm>
        </p:spPr>
        <p:txBody>
          <a:bodyPr wrap="square">
            <a:normAutofit/>
          </a:bodyPr>
          <a:lstStyle>
            <a:lvl1pPr marL="0" indent="0">
              <a:spcBef>
                <a:spcPts val="0"/>
              </a:spcBef>
              <a:spcAft>
                <a:spcPts val="0"/>
              </a:spcAft>
              <a:buFont typeface="+mj-lt"/>
              <a:buNone/>
              <a:tabLst/>
              <a:defRPr sz="1500" b="0" i="0">
                <a:latin typeface="+mn-lt"/>
              </a:defRPr>
            </a:lvl1pPr>
            <a:lvl2pPr>
              <a:defRPr sz="1500"/>
            </a:lvl2pPr>
            <a:lvl3pPr>
              <a:defRPr sz="1500"/>
            </a:lvl3pPr>
            <a:lvl4pPr>
              <a:defRPr sz="1500"/>
            </a:lvl4pPr>
            <a:lvl5pPr>
              <a:defRPr sz="1500"/>
            </a:lvl5pPr>
          </a:lstStyle>
          <a:p>
            <a:pPr lvl="0"/>
            <a:r>
              <a:rPr lang="en-GB"/>
              <a:t>00:00</a:t>
            </a:r>
          </a:p>
        </p:txBody>
      </p:sp>
      <p:sp>
        <p:nvSpPr>
          <p:cNvPr id="215" name="Text Placeholder 5">
            <a:extLst>
              <a:ext uri="{FF2B5EF4-FFF2-40B4-BE49-F238E27FC236}">
                <a16:creationId xmlns:a16="http://schemas.microsoft.com/office/drawing/2014/main" id="{D7694E3D-9EAE-7860-514C-D3E6A6066D79}"/>
              </a:ext>
            </a:extLst>
          </p:cNvPr>
          <p:cNvSpPr>
            <a:spLocks noGrp="1"/>
          </p:cNvSpPr>
          <p:nvPr>
            <p:ph type="body" sz="quarter" idx="53"/>
          </p:nvPr>
        </p:nvSpPr>
        <p:spPr>
          <a:xfrm>
            <a:off x="4644000" y="5359989"/>
            <a:ext cx="4317438"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US"/>
              <a:t>Click to edit Master text styles</a:t>
            </a:r>
          </a:p>
        </p:txBody>
      </p:sp>
      <p:sp>
        <p:nvSpPr>
          <p:cNvPr id="216" name="Text Placeholder 5">
            <a:extLst>
              <a:ext uri="{FF2B5EF4-FFF2-40B4-BE49-F238E27FC236}">
                <a16:creationId xmlns:a16="http://schemas.microsoft.com/office/drawing/2014/main" id="{673631ED-FCF1-AA91-EA4E-8BD53A7ED357}"/>
              </a:ext>
            </a:extLst>
          </p:cNvPr>
          <p:cNvSpPr>
            <a:spLocks noGrp="1"/>
          </p:cNvSpPr>
          <p:nvPr>
            <p:ph type="body" sz="quarter" idx="54" hasCustomPrompt="1"/>
          </p:nvPr>
        </p:nvSpPr>
        <p:spPr>
          <a:xfrm>
            <a:off x="9106462" y="5359989"/>
            <a:ext cx="2794059" cy="228909"/>
          </a:xfrm>
        </p:spPr>
        <p:txBody>
          <a:bodyPr wrap="square">
            <a:normAutofit/>
          </a:bodyPr>
          <a:lstStyle>
            <a:lvl1pPr marL="0" indent="0">
              <a:spcBef>
                <a:spcPts val="0"/>
              </a:spcBef>
              <a:spcAft>
                <a:spcPts val="0"/>
              </a:spcAft>
              <a:buFont typeface="+mj-lt"/>
              <a:buNone/>
              <a:tabLst/>
              <a:defRPr sz="1500" b="0" i="0">
                <a:latin typeface="+mn-lt"/>
              </a:defRPr>
            </a:lvl1pPr>
            <a:lvl2pPr marL="0" indent="0">
              <a:buNone/>
              <a:defRPr sz="1500"/>
            </a:lvl2pPr>
            <a:lvl3pPr>
              <a:defRPr sz="1500"/>
            </a:lvl3pPr>
            <a:lvl4pPr>
              <a:defRPr sz="1500"/>
            </a:lvl4pPr>
            <a:lvl5pPr>
              <a:defRPr sz="1500"/>
            </a:lvl5pPr>
          </a:lstStyle>
          <a:p>
            <a:pPr lvl="0"/>
            <a:r>
              <a:rPr lang="en-GB" err="1"/>
              <a:t>Firstname</a:t>
            </a:r>
            <a:r>
              <a:rPr lang="en-GB"/>
              <a:t> Surname</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Footer Placeholder 4">
            <a:extLst>
              <a:ext uri="{FF2B5EF4-FFF2-40B4-BE49-F238E27FC236}">
                <a16:creationId xmlns:a16="http://schemas.microsoft.com/office/drawing/2014/main" id="{3BF28211-1086-A258-4B97-2558FD5CBF7B}"/>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193733347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C789E9C-6550-50F6-2FFD-F534146F3D6F}"/>
              </a:ext>
            </a:extLst>
          </p:cNvPr>
          <p:cNvSpPr>
            <a:spLocks noGrp="1"/>
          </p:cNvSpPr>
          <p:nvPr>
            <p:ph type="body" sz="quarter" idx="12"/>
          </p:nvPr>
        </p:nvSpPr>
        <p:spPr>
          <a:xfrm>
            <a:off x="287337" y="269882"/>
            <a:ext cx="11615278" cy="5495918"/>
          </a:xfrm>
        </p:spPr>
        <p:txBody>
          <a:bodyPr/>
          <a:lstStyle>
            <a:lvl1pPr>
              <a:lnSpc>
                <a:spcPct val="80000"/>
              </a:lnSpc>
              <a:defRPr sz="7400" b="0" i="0">
                <a:solidFill>
                  <a:schemeClr val="accent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A7336B88-A821-CF31-A937-209EE62E0A19}"/>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5" name="Footer Placeholder 4">
            <a:extLst>
              <a:ext uri="{FF2B5EF4-FFF2-40B4-BE49-F238E27FC236}">
                <a16:creationId xmlns:a16="http://schemas.microsoft.com/office/drawing/2014/main" id="{09807596-CD4E-AD17-0A30-209981645369}"/>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24901487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Key Numbers">
    <p:bg>
      <p:bgPr>
        <a:solidFill>
          <a:schemeClr val="accent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429BCB1-0FF2-B8E0-831A-4C2A0BEF189C}"/>
              </a:ext>
            </a:extLst>
          </p:cNvPr>
          <p:cNvSpPr>
            <a:spLocks noGrp="1"/>
          </p:cNvSpPr>
          <p:nvPr>
            <p:ph type="title"/>
          </p:nvPr>
        </p:nvSpPr>
        <p:spPr>
          <a:xfrm>
            <a:off x="288303" y="273600"/>
            <a:ext cx="1811959" cy="392415"/>
          </a:xfrm>
        </p:spPr>
        <p:txBody>
          <a:bodyPr/>
          <a:lstStyle>
            <a:lvl1pPr>
              <a:lnSpc>
                <a:spcPct val="85000"/>
              </a:lnSpc>
              <a:defRPr sz="1500" b="1" i="0">
                <a:solidFill>
                  <a:schemeClr val="bg1"/>
                </a:solidFill>
                <a:latin typeface="+mn-lt"/>
              </a:defRPr>
            </a:lvl1pPr>
          </a:lstStyle>
          <a:p>
            <a:r>
              <a:rPr lang="en-US"/>
              <a:t>Click to edit Master title style</a:t>
            </a:r>
            <a:endParaRPr lang="en-GB"/>
          </a:p>
        </p:txBody>
      </p:sp>
      <p:sp>
        <p:nvSpPr>
          <p:cNvPr id="8" name="Picture Placeholder 91">
            <a:extLst>
              <a:ext uri="{FF2B5EF4-FFF2-40B4-BE49-F238E27FC236}">
                <a16:creationId xmlns:a16="http://schemas.microsoft.com/office/drawing/2014/main" id="{1B8E6F68-BB92-3741-A271-A507454209A8}"/>
              </a:ext>
            </a:extLst>
          </p:cNvPr>
          <p:cNvSpPr>
            <a:spLocks noGrp="1"/>
          </p:cNvSpPr>
          <p:nvPr>
            <p:ph type="pic" sz="quarter" idx="55" hasCustomPrompt="1"/>
          </p:nvPr>
        </p:nvSpPr>
        <p:spPr>
          <a:xfrm>
            <a:off x="3225799" y="291037"/>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00"/>
            </a:lvl1pPr>
          </a:lstStyle>
          <a:p>
            <a:pPr lvl="8"/>
            <a:r>
              <a:rPr lang="en-GB"/>
              <a:t> </a:t>
            </a:r>
          </a:p>
        </p:txBody>
      </p:sp>
      <p:sp>
        <p:nvSpPr>
          <p:cNvPr id="15" name="Text Placeholder 14">
            <a:extLst>
              <a:ext uri="{FF2B5EF4-FFF2-40B4-BE49-F238E27FC236}">
                <a16:creationId xmlns:a16="http://schemas.microsoft.com/office/drawing/2014/main" id="{63F40DC3-5F4F-C397-5C6A-8A62BC1F78B1}"/>
              </a:ext>
            </a:extLst>
          </p:cNvPr>
          <p:cNvSpPr>
            <a:spLocks noGrp="1"/>
          </p:cNvSpPr>
          <p:nvPr>
            <p:ph type="body" sz="quarter" idx="60"/>
          </p:nvPr>
        </p:nvSpPr>
        <p:spPr>
          <a:xfrm>
            <a:off x="8124824" y="527050"/>
            <a:ext cx="3775075" cy="14986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4" name="Picture Placeholder 91">
            <a:extLst>
              <a:ext uri="{FF2B5EF4-FFF2-40B4-BE49-F238E27FC236}">
                <a16:creationId xmlns:a16="http://schemas.microsoft.com/office/drawing/2014/main" id="{A11547F3-AA53-B6CF-CC36-9B7EBC562F8C}"/>
              </a:ext>
            </a:extLst>
          </p:cNvPr>
          <p:cNvSpPr>
            <a:spLocks noGrp="1"/>
          </p:cNvSpPr>
          <p:nvPr>
            <p:ph type="pic" sz="quarter" idx="67" hasCustomPrompt="1"/>
          </p:nvPr>
        </p:nvSpPr>
        <p:spPr>
          <a:xfrm>
            <a:off x="3225799" y="2282397"/>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00"/>
            </a:lvl1pPr>
          </a:lstStyle>
          <a:p>
            <a:pPr lvl="8"/>
            <a:r>
              <a:rPr lang="en-GB"/>
              <a:t> </a:t>
            </a:r>
          </a:p>
        </p:txBody>
      </p:sp>
      <p:sp>
        <p:nvSpPr>
          <p:cNvPr id="17" name="Text Placeholder 14">
            <a:extLst>
              <a:ext uri="{FF2B5EF4-FFF2-40B4-BE49-F238E27FC236}">
                <a16:creationId xmlns:a16="http://schemas.microsoft.com/office/drawing/2014/main" id="{BBE84450-4088-E9E0-0359-34BD23A3925E}"/>
              </a:ext>
            </a:extLst>
          </p:cNvPr>
          <p:cNvSpPr>
            <a:spLocks noGrp="1"/>
          </p:cNvSpPr>
          <p:nvPr>
            <p:ph type="body" sz="quarter" idx="69"/>
          </p:nvPr>
        </p:nvSpPr>
        <p:spPr>
          <a:xfrm>
            <a:off x="8124824" y="2518410"/>
            <a:ext cx="3775075" cy="14986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8" name="Picture Placeholder 91">
            <a:extLst>
              <a:ext uri="{FF2B5EF4-FFF2-40B4-BE49-F238E27FC236}">
                <a16:creationId xmlns:a16="http://schemas.microsoft.com/office/drawing/2014/main" id="{62C4BF17-AF9C-A4E5-F1BF-718B90E42E20}"/>
              </a:ext>
            </a:extLst>
          </p:cNvPr>
          <p:cNvSpPr>
            <a:spLocks noGrp="1"/>
          </p:cNvSpPr>
          <p:nvPr>
            <p:ph type="pic" sz="quarter" idx="70" hasCustomPrompt="1"/>
          </p:nvPr>
        </p:nvSpPr>
        <p:spPr>
          <a:xfrm>
            <a:off x="3225799" y="428646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00"/>
            </a:lvl1pPr>
          </a:lstStyle>
          <a:p>
            <a:pPr lvl="8"/>
            <a:r>
              <a:rPr lang="en-GB"/>
              <a:t> </a:t>
            </a:r>
          </a:p>
        </p:txBody>
      </p:sp>
      <p:sp>
        <p:nvSpPr>
          <p:cNvPr id="22" name="Text Placeholder 14">
            <a:extLst>
              <a:ext uri="{FF2B5EF4-FFF2-40B4-BE49-F238E27FC236}">
                <a16:creationId xmlns:a16="http://schemas.microsoft.com/office/drawing/2014/main" id="{F33A7DDF-B16D-DE86-59A6-3E4EE10AF950}"/>
              </a:ext>
            </a:extLst>
          </p:cNvPr>
          <p:cNvSpPr>
            <a:spLocks noGrp="1"/>
          </p:cNvSpPr>
          <p:nvPr>
            <p:ph type="body" sz="quarter" idx="72"/>
          </p:nvPr>
        </p:nvSpPr>
        <p:spPr>
          <a:xfrm>
            <a:off x="8124824" y="4522482"/>
            <a:ext cx="3775075" cy="14986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3" name="Picture Placeholder 91">
            <a:extLst>
              <a:ext uri="{FF2B5EF4-FFF2-40B4-BE49-F238E27FC236}">
                <a16:creationId xmlns:a16="http://schemas.microsoft.com/office/drawing/2014/main" id="{485FA38D-16CA-1001-19BE-594DCF6B57AA}"/>
              </a:ext>
            </a:extLst>
          </p:cNvPr>
          <p:cNvSpPr>
            <a:spLocks noGrp="1"/>
          </p:cNvSpPr>
          <p:nvPr>
            <p:ph type="pic" sz="quarter" idx="73" hasCustomPrompt="1"/>
          </p:nvPr>
        </p:nvSpPr>
        <p:spPr>
          <a:xfrm>
            <a:off x="3225799" y="628798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bg1"/>
            </a:solidFill>
          </a:ln>
        </p:spPr>
        <p:txBody>
          <a:bodyPr wrap="square">
            <a:noAutofit/>
          </a:bodyPr>
          <a:lstStyle>
            <a:lvl1pPr>
              <a:defRPr sz="400"/>
            </a:lvl1pPr>
          </a:lstStyle>
          <a:p>
            <a:pPr lvl="8"/>
            <a:r>
              <a:rPr lang="en-GB"/>
              <a:t> </a:t>
            </a:r>
          </a:p>
        </p:txBody>
      </p:sp>
      <p:sp>
        <p:nvSpPr>
          <p:cNvPr id="27" name="Text Placeholder 26">
            <a:extLst>
              <a:ext uri="{FF2B5EF4-FFF2-40B4-BE49-F238E27FC236}">
                <a16:creationId xmlns:a16="http://schemas.microsoft.com/office/drawing/2014/main" id="{8A5E5282-C048-99E1-5F1B-6B9961066184}"/>
              </a:ext>
            </a:extLst>
          </p:cNvPr>
          <p:cNvSpPr>
            <a:spLocks noGrp="1"/>
          </p:cNvSpPr>
          <p:nvPr>
            <p:ph type="body" sz="quarter" idx="74" hasCustomPrompt="1"/>
          </p:nvPr>
        </p:nvSpPr>
        <p:spPr>
          <a:xfrm>
            <a:off x="3225800" y="111125"/>
            <a:ext cx="3776663" cy="1789113"/>
          </a:xfrm>
        </p:spPr>
        <p:txBody>
          <a:bodyPr/>
          <a:lstStyle>
            <a:lvl1pPr>
              <a:defRPr sz="11000">
                <a:solidFill>
                  <a:schemeClr val="bg1"/>
                </a:solidFill>
                <a:latin typeface="+mj-lt"/>
              </a:defRPr>
            </a:lvl1pPr>
          </a:lstStyle>
          <a:p>
            <a:pPr lvl="0"/>
            <a:r>
              <a:rPr lang="en-GB"/>
              <a:t>00</a:t>
            </a:r>
          </a:p>
        </p:txBody>
      </p:sp>
      <p:sp>
        <p:nvSpPr>
          <p:cNvPr id="28" name="Text Placeholder 26">
            <a:extLst>
              <a:ext uri="{FF2B5EF4-FFF2-40B4-BE49-F238E27FC236}">
                <a16:creationId xmlns:a16="http://schemas.microsoft.com/office/drawing/2014/main" id="{CBBE869E-D65F-3F80-8F9D-6DF327B97D4B}"/>
              </a:ext>
            </a:extLst>
          </p:cNvPr>
          <p:cNvSpPr>
            <a:spLocks noGrp="1"/>
          </p:cNvSpPr>
          <p:nvPr>
            <p:ph type="body" sz="quarter" idx="75" hasCustomPrompt="1"/>
          </p:nvPr>
        </p:nvSpPr>
        <p:spPr>
          <a:xfrm>
            <a:off x="3225800" y="2102616"/>
            <a:ext cx="3776663" cy="1789113"/>
          </a:xfrm>
        </p:spPr>
        <p:txBody>
          <a:bodyPr/>
          <a:lstStyle>
            <a:lvl1pPr>
              <a:defRPr sz="11000">
                <a:solidFill>
                  <a:schemeClr val="bg1"/>
                </a:solidFill>
                <a:latin typeface="+mj-lt"/>
              </a:defRPr>
            </a:lvl1pPr>
          </a:lstStyle>
          <a:p>
            <a:pPr lvl="0"/>
            <a:r>
              <a:rPr lang="en-GB"/>
              <a:t>00</a:t>
            </a:r>
          </a:p>
        </p:txBody>
      </p:sp>
      <p:sp>
        <p:nvSpPr>
          <p:cNvPr id="29" name="Text Placeholder 26">
            <a:extLst>
              <a:ext uri="{FF2B5EF4-FFF2-40B4-BE49-F238E27FC236}">
                <a16:creationId xmlns:a16="http://schemas.microsoft.com/office/drawing/2014/main" id="{BAA28741-F83E-3E15-A9FB-99668766D898}"/>
              </a:ext>
            </a:extLst>
          </p:cNvPr>
          <p:cNvSpPr>
            <a:spLocks noGrp="1"/>
          </p:cNvSpPr>
          <p:nvPr>
            <p:ph type="body" sz="quarter" idx="76" hasCustomPrompt="1"/>
          </p:nvPr>
        </p:nvSpPr>
        <p:spPr>
          <a:xfrm>
            <a:off x="3225800" y="4106128"/>
            <a:ext cx="3776663" cy="1789113"/>
          </a:xfrm>
        </p:spPr>
        <p:txBody>
          <a:bodyPr/>
          <a:lstStyle>
            <a:lvl1pPr>
              <a:defRPr sz="11000">
                <a:solidFill>
                  <a:schemeClr val="bg1"/>
                </a:solidFill>
                <a:latin typeface="+mj-lt"/>
              </a:defRPr>
            </a:lvl1pPr>
          </a:lstStyle>
          <a:p>
            <a:pPr lvl="0"/>
            <a:r>
              <a:rPr lang="en-GB"/>
              <a:t>00</a:t>
            </a:r>
          </a:p>
        </p:txBody>
      </p:sp>
      <p:sp>
        <p:nvSpPr>
          <p:cNvPr id="6" name="Footer Placeholder 4">
            <a:extLst>
              <a:ext uri="{FF2B5EF4-FFF2-40B4-BE49-F238E27FC236}">
                <a16:creationId xmlns:a16="http://schemas.microsoft.com/office/drawing/2014/main" id="{043DFA16-4809-A367-8DA1-8599EDC67F50}"/>
              </a:ext>
            </a:extLst>
          </p:cNvPr>
          <p:cNvSpPr>
            <a:spLocks noGrp="1"/>
          </p:cNvSpPr>
          <p:nvPr>
            <p:ph type="ftr" sz="quarter" idx="3"/>
          </p:nvPr>
        </p:nvSpPr>
        <p:spPr>
          <a:xfrm>
            <a:off x="288259" y="5966467"/>
            <a:ext cx="279466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bg1"/>
                </a:solidFill>
                <a:latin typeface="+mn-lt"/>
              </a:defRPr>
            </a:lvl1pPr>
          </a:lstStyle>
          <a:p>
            <a:pPr>
              <a:spcBef>
                <a:spcPts val="0"/>
              </a:spcBef>
              <a:spcAft>
                <a:spcPts val="300"/>
              </a:spcAft>
            </a:pPr>
            <a:r>
              <a:rPr lang="en-US"/>
              <a:t>Job Aid and Guidance Document still under review.</a:t>
            </a:r>
          </a:p>
        </p:txBody>
      </p:sp>
      <p:sp>
        <p:nvSpPr>
          <p:cNvPr id="4" name="Slide Number Placeholder 5">
            <a:extLst>
              <a:ext uri="{FF2B5EF4-FFF2-40B4-BE49-F238E27FC236}">
                <a16:creationId xmlns:a16="http://schemas.microsoft.com/office/drawing/2014/main" id="{2B1A9DEC-1972-000C-297E-FD62059EE11F}"/>
              </a:ext>
            </a:extLst>
          </p:cNvPr>
          <p:cNvSpPr>
            <a:spLocks noGrp="1"/>
          </p:cNvSpPr>
          <p:nvPr>
            <p:ph type="sldNum" sz="quarter" idx="12"/>
          </p:nvPr>
        </p:nvSpPr>
        <p:spPr>
          <a:xfrm>
            <a:off x="11581942" y="6433878"/>
            <a:ext cx="320674" cy="153463"/>
          </a:xfrm>
        </p:spPr>
        <p:txBody>
          <a:bodyPr/>
          <a:lstStyle>
            <a:lvl1pPr>
              <a:defRPr>
                <a:solidFill>
                  <a:schemeClr val="bg1"/>
                </a:solidFill>
              </a:defRPr>
            </a:lvl1pPr>
          </a:lstStyle>
          <a:p>
            <a:fld id="{AEC8D767-5246-2244-A4A3-B8AFB218393C}" type="slidenum">
              <a:rPr lang="en-GB" smtClean="0"/>
              <a:pPr/>
              <a:t>‹#›</a:t>
            </a:fld>
            <a:endParaRPr lang="en-GB"/>
          </a:p>
        </p:txBody>
      </p:sp>
      <p:sp>
        <p:nvSpPr>
          <p:cNvPr id="5" name="Graphic 8">
            <a:extLst>
              <a:ext uri="{FF2B5EF4-FFF2-40B4-BE49-F238E27FC236}">
                <a16:creationId xmlns:a16="http://schemas.microsoft.com/office/drawing/2014/main" id="{584D2C57-3904-61FA-F2B5-C74EFBC4BE0A}"/>
              </a:ext>
            </a:extLst>
          </p:cNvPr>
          <p:cNvSpPr>
            <a:spLocks noChangeAspect="1"/>
          </p:cNvSpPr>
          <p:nvPr userDrawn="1"/>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a:p>
        </p:txBody>
      </p:sp>
    </p:spTree>
    <p:extLst>
      <p:ext uri="{BB962C8B-B14F-4D97-AF65-F5344CB8AC3E}">
        <p14:creationId xmlns:p14="http://schemas.microsoft.com/office/powerpoint/2010/main" val="15675575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p:nvPr>
        </p:nvSpPr>
        <p:spPr>
          <a:xfrm>
            <a:off x="287338" y="266400"/>
            <a:ext cx="7693026" cy="1859099"/>
          </a:xfrm>
        </p:spPr>
        <p:txBody>
          <a:bodyPr anchor="t"/>
          <a:lstStyle>
            <a:lvl1pPr>
              <a:lnSpc>
                <a:spcPct val="80000"/>
              </a:lnSpc>
              <a:defRPr sz="7400" spc="0" baseline="0">
                <a:solidFill>
                  <a:schemeClr val="tx1"/>
                </a:solidFill>
              </a:defRPr>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895F487D-4064-92B3-E439-C4C68E6D7889}"/>
              </a:ext>
            </a:extLst>
          </p:cNvPr>
          <p:cNvSpPr>
            <a:spLocks noGrp="1"/>
          </p:cNvSpPr>
          <p:nvPr>
            <p:ph type="ftr" sz="quarter" idx="11"/>
          </p:nvPr>
        </p:nvSpPr>
        <p:spPr/>
        <p:txBody>
          <a:bodyPr/>
          <a:lstStyle/>
          <a:p>
            <a:r>
              <a:rPr lang="en-US"/>
              <a:t>Job Aid and Guidance Document still under review.</a:t>
            </a:r>
            <a:endParaRPr lang="en-GB"/>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p>
            <a:fld id="{AEC8D767-5246-2244-A4A3-B8AFB218393C}" type="slidenum">
              <a:rPr lang="en-GB" smtClean="0"/>
              <a:t>‹#›</a:t>
            </a:fld>
            <a:endParaRPr lang="en-GB"/>
          </a:p>
        </p:txBody>
      </p:sp>
    </p:spTree>
    <p:extLst>
      <p:ext uri="{BB962C8B-B14F-4D97-AF65-F5344CB8AC3E}">
        <p14:creationId xmlns:p14="http://schemas.microsoft.com/office/powerpoint/2010/main" val="202731559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Key Numbers [Accessible Version]">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429BCB1-0FF2-B8E0-831A-4C2A0BEF189C}"/>
              </a:ext>
            </a:extLst>
          </p:cNvPr>
          <p:cNvSpPr>
            <a:spLocks noGrp="1"/>
          </p:cNvSpPr>
          <p:nvPr>
            <p:ph type="title"/>
          </p:nvPr>
        </p:nvSpPr>
        <p:spPr>
          <a:xfrm>
            <a:off x="288303" y="273600"/>
            <a:ext cx="1811959" cy="397032"/>
          </a:xfrm>
        </p:spPr>
        <p:txBody>
          <a:bodyPr/>
          <a:lstStyle>
            <a:lvl1pPr>
              <a:lnSpc>
                <a:spcPct val="85000"/>
              </a:lnSpc>
              <a:defRPr sz="1500" b="1" i="0">
                <a:solidFill>
                  <a:schemeClr val="tx1"/>
                </a:solidFill>
                <a:latin typeface="Johnson Text" pitchFamily="2" charset="77"/>
              </a:defRPr>
            </a:lvl1pPr>
          </a:lstStyle>
          <a:p>
            <a:r>
              <a:rPr lang="en-US"/>
              <a:t>Click to edit Master title style</a:t>
            </a:r>
            <a:endParaRPr lang="en-GB"/>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lvl1pPr>
              <a:defRPr>
                <a:solidFill>
                  <a:schemeClr val="tx1"/>
                </a:solidFill>
              </a:defRPr>
            </a:lvl1pPr>
          </a:lstStyle>
          <a:p>
            <a:fld id="{AEC8D767-5246-2244-A4A3-B8AFB218393C}" type="slidenum">
              <a:rPr lang="en-GB" smtClean="0"/>
              <a:pPr/>
              <a:t>‹#›</a:t>
            </a:fld>
            <a:endParaRPr lang="en-GB"/>
          </a:p>
        </p:txBody>
      </p:sp>
      <p:sp>
        <p:nvSpPr>
          <p:cNvPr id="2" name="Picture Placeholder 91">
            <a:extLst>
              <a:ext uri="{FF2B5EF4-FFF2-40B4-BE49-F238E27FC236}">
                <a16:creationId xmlns:a16="http://schemas.microsoft.com/office/drawing/2014/main" id="{26B4C449-2487-DF2A-7645-8218B023E592}"/>
              </a:ext>
            </a:extLst>
          </p:cNvPr>
          <p:cNvSpPr>
            <a:spLocks noGrp="1"/>
          </p:cNvSpPr>
          <p:nvPr>
            <p:ph type="pic" sz="quarter" idx="55" hasCustomPrompt="1"/>
          </p:nvPr>
        </p:nvSpPr>
        <p:spPr>
          <a:xfrm>
            <a:off x="3225799" y="291037"/>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vl9pPr>
              <a:defRPr>
                <a:solidFill>
                  <a:schemeClr val="tx1"/>
                </a:solidFill>
              </a:defRPr>
            </a:lvl9pPr>
          </a:lstStyle>
          <a:p>
            <a:pPr lvl="8"/>
            <a:r>
              <a:rPr lang="en-GB"/>
              <a:t> </a:t>
            </a:r>
          </a:p>
        </p:txBody>
      </p:sp>
      <p:sp>
        <p:nvSpPr>
          <p:cNvPr id="6" name="Text Placeholder 14">
            <a:extLst>
              <a:ext uri="{FF2B5EF4-FFF2-40B4-BE49-F238E27FC236}">
                <a16:creationId xmlns:a16="http://schemas.microsoft.com/office/drawing/2014/main" id="{D7090765-328D-D615-6AFB-B0F523075373}"/>
              </a:ext>
            </a:extLst>
          </p:cNvPr>
          <p:cNvSpPr>
            <a:spLocks noGrp="1"/>
          </p:cNvSpPr>
          <p:nvPr>
            <p:ph type="body" sz="quarter" idx="60"/>
          </p:nvPr>
        </p:nvSpPr>
        <p:spPr>
          <a:xfrm>
            <a:off x="8124824" y="527050"/>
            <a:ext cx="3775075" cy="1498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2" name="Picture Placeholder 91">
            <a:extLst>
              <a:ext uri="{FF2B5EF4-FFF2-40B4-BE49-F238E27FC236}">
                <a16:creationId xmlns:a16="http://schemas.microsoft.com/office/drawing/2014/main" id="{04E11CE5-CC63-4DF3-91BC-7D123FA2380B}"/>
              </a:ext>
            </a:extLst>
          </p:cNvPr>
          <p:cNvSpPr>
            <a:spLocks noGrp="1"/>
          </p:cNvSpPr>
          <p:nvPr>
            <p:ph type="pic" sz="quarter" idx="67" hasCustomPrompt="1"/>
          </p:nvPr>
        </p:nvSpPr>
        <p:spPr>
          <a:xfrm>
            <a:off x="3225799" y="2282397"/>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vl9pPr>
              <a:defRPr>
                <a:solidFill>
                  <a:schemeClr val="tx1"/>
                </a:solidFill>
              </a:defRPr>
            </a:lvl9pPr>
          </a:lstStyle>
          <a:p>
            <a:pPr lvl="8"/>
            <a:r>
              <a:rPr lang="en-GB"/>
              <a:t> </a:t>
            </a:r>
          </a:p>
        </p:txBody>
      </p:sp>
      <p:sp>
        <p:nvSpPr>
          <p:cNvPr id="16" name="Text Placeholder 14">
            <a:extLst>
              <a:ext uri="{FF2B5EF4-FFF2-40B4-BE49-F238E27FC236}">
                <a16:creationId xmlns:a16="http://schemas.microsoft.com/office/drawing/2014/main" id="{89F6050B-0591-0406-0A2B-C58DB12244B1}"/>
              </a:ext>
            </a:extLst>
          </p:cNvPr>
          <p:cNvSpPr>
            <a:spLocks noGrp="1"/>
          </p:cNvSpPr>
          <p:nvPr>
            <p:ph type="body" sz="quarter" idx="69"/>
          </p:nvPr>
        </p:nvSpPr>
        <p:spPr>
          <a:xfrm>
            <a:off x="8124824" y="2518410"/>
            <a:ext cx="3775075" cy="1498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7" name="Picture Placeholder 91">
            <a:extLst>
              <a:ext uri="{FF2B5EF4-FFF2-40B4-BE49-F238E27FC236}">
                <a16:creationId xmlns:a16="http://schemas.microsoft.com/office/drawing/2014/main" id="{95D4FFE4-0D64-5F30-AD0F-100BD6D65389}"/>
              </a:ext>
            </a:extLst>
          </p:cNvPr>
          <p:cNvSpPr>
            <a:spLocks noGrp="1"/>
          </p:cNvSpPr>
          <p:nvPr>
            <p:ph type="pic" sz="quarter" idx="70" hasCustomPrompt="1"/>
          </p:nvPr>
        </p:nvSpPr>
        <p:spPr>
          <a:xfrm>
            <a:off x="3225799" y="428646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vl9pPr>
              <a:defRPr>
                <a:solidFill>
                  <a:schemeClr val="tx1"/>
                </a:solidFill>
              </a:defRPr>
            </a:lvl9pPr>
          </a:lstStyle>
          <a:p>
            <a:pPr lvl="8"/>
            <a:r>
              <a:rPr lang="en-GB"/>
              <a:t> </a:t>
            </a:r>
          </a:p>
        </p:txBody>
      </p:sp>
      <p:sp>
        <p:nvSpPr>
          <p:cNvPr id="21" name="Text Placeholder 14">
            <a:extLst>
              <a:ext uri="{FF2B5EF4-FFF2-40B4-BE49-F238E27FC236}">
                <a16:creationId xmlns:a16="http://schemas.microsoft.com/office/drawing/2014/main" id="{C4F52E6D-F9EF-905D-6975-963F7D958ED5}"/>
              </a:ext>
            </a:extLst>
          </p:cNvPr>
          <p:cNvSpPr>
            <a:spLocks noGrp="1"/>
          </p:cNvSpPr>
          <p:nvPr>
            <p:ph type="body" sz="quarter" idx="72"/>
          </p:nvPr>
        </p:nvSpPr>
        <p:spPr>
          <a:xfrm>
            <a:off x="8124824" y="4522482"/>
            <a:ext cx="3775075" cy="1498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22" name="Picture Placeholder 91">
            <a:extLst>
              <a:ext uri="{FF2B5EF4-FFF2-40B4-BE49-F238E27FC236}">
                <a16:creationId xmlns:a16="http://schemas.microsoft.com/office/drawing/2014/main" id="{02D2CE40-9732-D3AB-4F10-762299122CE1}"/>
              </a:ext>
            </a:extLst>
          </p:cNvPr>
          <p:cNvSpPr>
            <a:spLocks noGrp="1"/>
          </p:cNvSpPr>
          <p:nvPr>
            <p:ph type="pic" sz="quarter" idx="73" hasCustomPrompt="1"/>
          </p:nvPr>
        </p:nvSpPr>
        <p:spPr>
          <a:xfrm>
            <a:off x="3225799" y="6287989"/>
            <a:ext cx="8674099" cy="45719"/>
          </a:xfrm>
          <a:custGeom>
            <a:avLst/>
            <a:gdLst>
              <a:gd name="connsiteX0" fmla="*/ 0 w 827088"/>
              <a:gd name="connsiteY0" fmla="*/ 0 h 476063"/>
              <a:gd name="connsiteX1" fmla="*/ 827088 w 827088"/>
              <a:gd name="connsiteY1" fmla="*/ 0 h 476063"/>
              <a:gd name="connsiteX2" fmla="*/ 827088 w 827088"/>
              <a:gd name="connsiteY2" fmla="*/ 476063 h 476063"/>
              <a:gd name="connsiteX3" fmla="*/ 0 w 827088"/>
              <a:gd name="connsiteY3" fmla="*/ 476063 h 476063"/>
              <a:gd name="connsiteX0" fmla="*/ 0 w 827088"/>
              <a:gd name="connsiteY0" fmla="*/ 476063 h 567503"/>
              <a:gd name="connsiteX1" fmla="*/ 0 w 827088"/>
              <a:gd name="connsiteY1" fmla="*/ 0 h 567503"/>
              <a:gd name="connsiteX2" fmla="*/ 827088 w 827088"/>
              <a:gd name="connsiteY2" fmla="*/ 0 h 567503"/>
              <a:gd name="connsiteX3" fmla="*/ 827088 w 827088"/>
              <a:gd name="connsiteY3" fmla="*/ 476063 h 567503"/>
              <a:gd name="connsiteX4" fmla="*/ 91440 w 827088"/>
              <a:gd name="connsiteY4" fmla="*/ 567503 h 567503"/>
              <a:gd name="connsiteX0" fmla="*/ 0 w 827088"/>
              <a:gd name="connsiteY0" fmla="*/ 476063 h 476063"/>
              <a:gd name="connsiteX1" fmla="*/ 0 w 827088"/>
              <a:gd name="connsiteY1" fmla="*/ 0 h 476063"/>
              <a:gd name="connsiteX2" fmla="*/ 827088 w 827088"/>
              <a:gd name="connsiteY2" fmla="*/ 0 h 476063"/>
              <a:gd name="connsiteX3" fmla="*/ 827088 w 827088"/>
              <a:gd name="connsiteY3" fmla="*/ 476063 h 476063"/>
              <a:gd name="connsiteX0" fmla="*/ 0 w 827088"/>
              <a:gd name="connsiteY0" fmla="*/ 476063 h 476063"/>
              <a:gd name="connsiteX1" fmla="*/ 0 w 827088"/>
              <a:gd name="connsiteY1" fmla="*/ 0 h 476063"/>
              <a:gd name="connsiteX2" fmla="*/ 827088 w 827088"/>
              <a:gd name="connsiteY2" fmla="*/ 0 h 476063"/>
              <a:gd name="connsiteX0" fmla="*/ 0 w 827088"/>
              <a:gd name="connsiteY0" fmla="*/ 0 h 0"/>
              <a:gd name="connsiteX1" fmla="*/ 827088 w 827088"/>
              <a:gd name="connsiteY1" fmla="*/ 0 h 0"/>
            </a:gdLst>
            <a:ahLst/>
            <a:cxnLst>
              <a:cxn ang="0">
                <a:pos x="connsiteX0" y="connsiteY0"/>
              </a:cxn>
              <a:cxn ang="0">
                <a:pos x="connsiteX1" y="connsiteY1"/>
              </a:cxn>
            </a:cxnLst>
            <a:rect l="l" t="t" r="r" b="b"/>
            <a:pathLst>
              <a:path w="827088">
                <a:moveTo>
                  <a:pt x="0" y="0"/>
                </a:moveTo>
                <a:lnTo>
                  <a:pt x="827088" y="0"/>
                </a:lnTo>
              </a:path>
            </a:pathLst>
          </a:custGeom>
          <a:ln>
            <a:solidFill>
              <a:schemeClr val="tx1"/>
            </a:solidFill>
          </a:ln>
        </p:spPr>
        <p:txBody>
          <a:bodyPr wrap="square">
            <a:noAutofit/>
          </a:bodyPr>
          <a:lstStyle>
            <a:lvl1pPr>
              <a:defRPr sz="400"/>
            </a:lvl1pPr>
            <a:lvl9pPr>
              <a:defRPr>
                <a:solidFill>
                  <a:schemeClr val="tx1"/>
                </a:solidFill>
              </a:defRPr>
            </a:lvl9pPr>
          </a:lstStyle>
          <a:p>
            <a:pPr lvl="8"/>
            <a:r>
              <a:rPr lang="en-GB"/>
              <a:t> </a:t>
            </a:r>
          </a:p>
        </p:txBody>
      </p:sp>
      <p:sp>
        <p:nvSpPr>
          <p:cNvPr id="23" name="Text Placeholder 26">
            <a:extLst>
              <a:ext uri="{FF2B5EF4-FFF2-40B4-BE49-F238E27FC236}">
                <a16:creationId xmlns:a16="http://schemas.microsoft.com/office/drawing/2014/main" id="{C4A7D748-90AF-308A-44E9-BE56492932EB}"/>
              </a:ext>
            </a:extLst>
          </p:cNvPr>
          <p:cNvSpPr>
            <a:spLocks noGrp="1"/>
          </p:cNvSpPr>
          <p:nvPr>
            <p:ph type="body" sz="quarter" idx="74" hasCustomPrompt="1"/>
          </p:nvPr>
        </p:nvSpPr>
        <p:spPr>
          <a:xfrm>
            <a:off x="3225800" y="111125"/>
            <a:ext cx="3776663" cy="1789113"/>
          </a:xfrm>
        </p:spPr>
        <p:txBody>
          <a:bodyPr/>
          <a:lstStyle>
            <a:lvl1pPr>
              <a:defRPr sz="11000">
                <a:solidFill>
                  <a:schemeClr val="accent1"/>
                </a:solidFill>
                <a:latin typeface="+mj-lt"/>
              </a:defRPr>
            </a:lvl1pPr>
          </a:lstStyle>
          <a:p>
            <a:pPr lvl="0"/>
            <a:r>
              <a:rPr lang="en-GB"/>
              <a:t>00</a:t>
            </a:r>
          </a:p>
        </p:txBody>
      </p:sp>
      <p:sp>
        <p:nvSpPr>
          <p:cNvPr id="26" name="Text Placeholder 26">
            <a:extLst>
              <a:ext uri="{FF2B5EF4-FFF2-40B4-BE49-F238E27FC236}">
                <a16:creationId xmlns:a16="http://schemas.microsoft.com/office/drawing/2014/main" id="{ED360C76-27A8-44D1-6730-F7FA8D1EC543}"/>
              </a:ext>
            </a:extLst>
          </p:cNvPr>
          <p:cNvSpPr>
            <a:spLocks noGrp="1"/>
          </p:cNvSpPr>
          <p:nvPr>
            <p:ph type="body" sz="quarter" idx="75" hasCustomPrompt="1"/>
          </p:nvPr>
        </p:nvSpPr>
        <p:spPr>
          <a:xfrm>
            <a:off x="3225800" y="2102616"/>
            <a:ext cx="3776663" cy="1789113"/>
          </a:xfrm>
        </p:spPr>
        <p:txBody>
          <a:bodyPr/>
          <a:lstStyle>
            <a:lvl1pPr>
              <a:defRPr sz="11000">
                <a:solidFill>
                  <a:schemeClr val="accent1"/>
                </a:solidFill>
                <a:latin typeface="+mj-lt"/>
              </a:defRPr>
            </a:lvl1pPr>
          </a:lstStyle>
          <a:p>
            <a:pPr lvl="0"/>
            <a:r>
              <a:rPr lang="en-GB"/>
              <a:t>00</a:t>
            </a:r>
          </a:p>
        </p:txBody>
      </p:sp>
      <p:sp>
        <p:nvSpPr>
          <p:cNvPr id="27" name="Text Placeholder 26">
            <a:extLst>
              <a:ext uri="{FF2B5EF4-FFF2-40B4-BE49-F238E27FC236}">
                <a16:creationId xmlns:a16="http://schemas.microsoft.com/office/drawing/2014/main" id="{28863499-99BA-9382-A790-8823B96ABCDE}"/>
              </a:ext>
            </a:extLst>
          </p:cNvPr>
          <p:cNvSpPr>
            <a:spLocks noGrp="1"/>
          </p:cNvSpPr>
          <p:nvPr>
            <p:ph type="body" sz="quarter" idx="76" hasCustomPrompt="1"/>
          </p:nvPr>
        </p:nvSpPr>
        <p:spPr>
          <a:xfrm>
            <a:off x="3225800" y="4106128"/>
            <a:ext cx="3776663" cy="1789113"/>
          </a:xfrm>
        </p:spPr>
        <p:txBody>
          <a:bodyPr/>
          <a:lstStyle>
            <a:lvl1pPr>
              <a:defRPr sz="11000">
                <a:solidFill>
                  <a:schemeClr val="accent1"/>
                </a:solidFill>
                <a:latin typeface="+mj-lt"/>
              </a:defRPr>
            </a:lvl1pPr>
          </a:lstStyle>
          <a:p>
            <a:pPr lvl="0"/>
            <a:r>
              <a:rPr lang="en-GB"/>
              <a:t>00</a:t>
            </a:r>
          </a:p>
        </p:txBody>
      </p:sp>
      <p:sp>
        <p:nvSpPr>
          <p:cNvPr id="8" name="Footer Placeholder 4">
            <a:extLst>
              <a:ext uri="{FF2B5EF4-FFF2-40B4-BE49-F238E27FC236}">
                <a16:creationId xmlns:a16="http://schemas.microsoft.com/office/drawing/2014/main" id="{9FE0DB2D-5681-9C6E-43DA-7FD40833A146}"/>
              </a:ext>
            </a:extLst>
          </p:cNvPr>
          <p:cNvSpPr>
            <a:spLocks noGrp="1"/>
          </p:cNvSpPr>
          <p:nvPr>
            <p:ph type="ftr" sz="quarter" idx="3"/>
          </p:nvPr>
        </p:nvSpPr>
        <p:spPr>
          <a:xfrm>
            <a:off x="288259" y="5966467"/>
            <a:ext cx="279466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a:t>Job Aid and Guidance Document still under review.</a:t>
            </a:r>
          </a:p>
        </p:txBody>
      </p:sp>
    </p:spTree>
    <p:extLst>
      <p:ext uri="{BB962C8B-B14F-4D97-AF65-F5344CB8AC3E}">
        <p14:creationId xmlns:p14="http://schemas.microsoft.com/office/powerpoint/2010/main" val="2795712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E88F223-1D7A-707E-10AB-5C41663BE54B}"/>
              </a:ext>
            </a:extLst>
          </p:cNvPr>
          <p:cNvSpPr/>
          <p:nvPr userDrawn="1"/>
        </p:nvSpPr>
        <p:spPr>
          <a:xfrm>
            <a:off x="6583680" y="0"/>
            <a:ext cx="560832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7"/>
            <a:ext cx="5733085" cy="3427413"/>
          </a:xfrm>
        </p:spPr>
        <p:txBody>
          <a:body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8" name="Title 7">
            <a:extLst>
              <a:ext uri="{FF2B5EF4-FFF2-40B4-BE49-F238E27FC236}">
                <a16:creationId xmlns:a16="http://schemas.microsoft.com/office/drawing/2014/main" id="{A4141273-8612-0373-5CE1-A74C8304F40A}"/>
              </a:ext>
            </a:extLst>
          </p:cNvPr>
          <p:cNvSpPr>
            <a:spLocks noGrp="1"/>
          </p:cNvSpPr>
          <p:nvPr>
            <p:ph type="title" hasCustomPrompt="1"/>
          </p:nvPr>
        </p:nvSpPr>
        <p:spPr>
          <a:xfrm>
            <a:off x="288303" y="262800"/>
            <a:ext cx="5733084" cy="454529"/>
          </a:xfrm>
        </p:spPr>
        <p:txBody>
          <a:bodyPr/>
          <a:lstStyle/>
          <a:p>
            <a:r>
              <a:rPr lang="en-US"/>
              <a:t>Master title style</a:t>
            </a:r>
            <a:endParaRPr lang="en-GB"/>
          </a:p>
        </p:txBody>
      </p:sp>
      <p:sp>
        <p:nvSpPr>
          <p:cNvPr id="7" name="Subtitle 2">
            <a:extLst>
              <a:ext uri="{FF2B5EF4-FFF2-40B4-BE49-F238E27FC236}">
                <a16:creationId xmlns:a16="http://schemas.microsoft.com/office/drawing/2014/main" id="{460EC19D-5C44-4557-54CE-FA6CE565E479}"/>
              </a:ext>
            </a:extLst>
          </p:cNvPr>
          <p:cNvSpPr>
            <a:spLocks noGrp="1"/>
          </p:cNvSpPr>
          <p:nvPr>
            <p:ph type="subTitle" idx="19" hasCustomPrompt="1"/>
          </p:nvPr>
        </p:nvSpPr>
        <p:spPr>
          <a:xfrm>
            <a:off x="288302" y="713620"/>
            <a:ext cx="5733084"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13" name="Text Placeholder 12">
            <a:extLst>
              <a:ext uri="{FF2B5EF4-FFF2-40B4-BE49-F238E27FC236}">
                <a16:creationId xmlns:a16="http://schemas.microsoft.com/office/drawing/2014/main" id="{2D949BE1-5181-CCD9-89D9-3FDED96843C5}"/>
              </a:ext>
            </a:extLst>
          </p:cNvPr>
          <p:cNvSpPr>
            <a:spLocks noGrp="1"/>
          </p:cNvSpPr>
          <p:nvPr>
            <p:ph type="body" sz="quarter" idx="20" hasCustomPrompt="1"/>
          </p:nvPr>
        </p:nvSpPr>
        <p:spPr>
          <a:xfrm>
            <a:off x="7145337" y="2338388"/>
            <a:ext cx="4757737" cy="3427412"/>
          </a:xfrm>
        </p:spPr>
        <p:txBody>
          <a:bodyPr/>
          <a:lstStyle>
            <a:lvl1pPr>
              <a:lnSpc>
                <a:spcPct val="80000"/>
              </a:lnSpc>
              <a:defRPr sz="5400">
                <a:solidFill>
                  <a:schemeClr val="bg1"/>
                </a:solidFill>
                <a:latin typeface="+mj-lt"/>
              </a:defRPr>
            </a:lvl1pPr>
            <a:lvl2pPr>
              <a:defRPr lang="en-GB" dirty="0" smtClean="0">
                <a:solidFill>
                  <a:schemeClr val="bg1"/>
                </a:solidFill>
              </a:defRPr>
            </a:lvl2pPr>
            <a:lvl3pPr>
              <a:defRPr lang="en-GB" dirty="0" smtClean="0">
                <a:solidFill>
                  <a:schemeClr val="bg1"/>
                </a:solidFill>
              </a:defRPr>
            </a:lvl3pPr>
            <a:lvl4pPr>
              <a:defRPr lang="en-GB" dirty="0" smtClean="0">
                <a:solidFill>
                  <a:schemeClr val="bg1"/>
                </a:solidFill>
              </a:defRPr>
            </a:lvl4pPr>
            <a:lvl5pPr>
              <a:defRPr lang="en-US" dirty="0">
                <a:solidFill>
                  <a:schemeClr val="bg1"/>
                </a:solidFill>
              </a:defRPr>
            </a:lvl5pPr>
          </a:lstStyle>
          <a:p>
            <a:pPr lvl="0"/>
            <a:r>
              <a:rPr lang="en-GB"/>
              <a:t>“Quote goes here. Delete speech marks if not required.”</a:t>
            </a:r>
          </a:p>
          <a:p>
            <a:pPr lvl="1"/>
            <a:r>
              <a:rPr lang="en-US"/>
              <a:t>Second level</a:t>
            </a:r>
          </a:p>
          <a:p>
            <a:pPr lvl="2"/>
            <a:r>
              <a:rPr lang="en-US"/>
              <a:t>Third level</a:t>
            </a:r>
          </a:p>
          <a:p>
            <a:pPr lvl="3"/>
            <a:r>
              <a:rPr lang="en-US"/>
              <a:t>Fourth level</a:t>
            </a:r>
          </a:p>
          <a:p>
            <a:pPr lvl="4"/>
            <a:r>
              <a:rPr lang="en-US"/>
              <a:t>Fifth level</a:t>
            </a:r>
          </a:p>
        </p:txBody>
      </p:sp>
      <p:sp>
        <p:nvSpPr>
          <p:cNvPr id="14" name="Text Placeholder 7">
            <a:extLst>
              <a:ext uri="{FF2B5EF4-FFF2-40B4-BE49-F238E27FC236}">
                <a16:creationId xmlns:a16="http://schemas.microsoft.com/office/drawing/2014/main" id="{9616647F-6551-5C71-EECF-7BC298E933EF}"/>
              </a:ext>
            </a:extLst>
          </p:cNvPr>
          <p:cNvSpPr>
            <a:spLocks noGrp="1"/>
          </p:cNvSpPr>
          <p:nvPr>
            <p:ph type="body" sz="quarter" idx="14" hasCustomPrompt="1"/>
          </p:nvPr>
        </p:nvSpPr>
        <p:spPr>
          <a:xfrm>
            <a:off x="8124825" y="295200"/>
            <a:ext cx="3778250" cy="876375"/>
          </a:xfrm>
        </p:spPr>
        <p:txBody>
          <a:bodyPr/>
          <a:lstStyle>
            <a:lvl1pPr>
              <a:defRPr sz="1400">
                <a:solidFill>
                  <a:schemeClr val="bg1"/>
                </a:solidFill>
              </a:defRPr>
            </a:lvl1pPr>
            <a:lvl2pPr>
              <a:defRPr sz="1400">
                <a:solidFill>
                  <a:schemeClr val="bg1"/>
                </a:solidFill>
              </a:defRPr>
            </a:lvl2pPr>
            <a:lvl3pPr>
              <a:defRPr sz="1200">
                <a:solidFill>
                  <a:schemeClr val="bg1"/>
                </a:solidFill>
              </a:defRPr>
            </a:lvl3pPr>
          </a:lstStyle>
          <a:p>
            <a:pPr lvl="0"/>
            <a:r>
              <a:rPr lang="en-GB"/>
              <a:t>Click to add text. Delete if not required. </a:t>
            </a:r>
          </a:p>
          <a:p>
            <a:pPr lvl="1"/>
            <a:r>
              <a:rPr lang="en-GB"/>
              <a:t>Second level</a:t>
            </a:r>
          </a:p>
          <a:p>
            <a:pPr lvl="2"/>
            <a:r>
              <a:rPr lang="en-GB"/>
              <a:t>Third level</a:t>
            </a:r>
          </a:p>
        </p:txBody>
      </p:sp>
      <p:sp>
        <p:nvSpPr>
          <p:cNvPr id="6" name="Footer Placeholder 4">
            <a:extLst>
              <a:ext uri="{FF2B5EF4-FFF2-40B4-BE49-F238E27FC236}">
                <a16:creationId xmlns:a16="http://schemas.microsoft.com/office/drawing/2014/main" id="{6BEC8F6E-46BB-F39D-C0DC-751CB89132B6}"/>
              </a:ext>
            </a:extLst>
          </p:cNvPr>
          <p:cNvSpPr>
            <a:spLocks noGrp="1"/>
          </p:cNvSpPr>
          <p:nvPr>
            <p:ph type="ftr" sz="quarter" idx="3"/>
          </p:nvPr>
        </p:nvSpPr>
        <p:spPr>
          <a:xfrm>
            <a:off x="288259" y="5966467"/>
            <a:ext cx="5733129"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319385677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Quote [Accessible Version]">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lvl1pPr>
              <a:defRPr>
                <a:solidFill>
                  <a:schemeClr val="tx1"/>
                </a:solidFill>
              </a:defRPr>
            </a:lvl1pPr>
          </a:lstStyle>
          <a:p>
            <a:fld id="{AEC8D767-5246-2244-A4A3-B8AFB218393C}" type="slidenum">
              <a:rPr lang="en-GB" smtClean="0"/>
              <a:pPr/>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8"/>
            <a:ext cx="5733085" cy="3427412"/>
          </a:xfrm>
        </p:spPr>
        <p:txBody>
          <a:body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8" name="Title 7">
            <a:extLst>
              <a:ext uri="{FF2B5EF4-FFF2-40B4-BE49-F238E27FC236}">
                <a16:creationId xmlns:a16="http://schemas.microsoft.com/office/drawing/2014/main" id="{A4141273-8612-0373-5CE1-A74C8304F40A}"/>
              </a:ext>
            </a:extLst>
          </p:cNvPr>
          <p:cNvSpPr>
            <a:spLocks noGrp="1"/>
          </p:cNvSpPr>
          <p:nvPr>
            <p:ph type="title" hasCustomPrompt="1"/>
          </p:nvPr>
        </p:nvSpPr>
        <p:spPr>
          <a:xfrm>
            <a:off x="288303" y="262800"/>
            <a:ext cx="5733084" cy="454529"/>
          </a:xfrm>
        </p:spPr>
        <p:txBody>
          <a:bodyPr/>
          <a:lstStyle/>
          <a:p>
            <a:r>
              <a:rPr lang="en-US"/>
              <a:t>Master title style</a:t>
            </a:r>
            <a:endParaRPr lang="en-GB"/>
          </a:p>
        </p:txBody>
      </p:sp>
      <p:sp>
        <p:nvSpPr>
          <p:cNvPr id="7" name="Subtitle 2">
            <a:extLst>
              <a:ext uri="{FF2B5EF4-FFF2-40B4-BE49-F238E27FC236}">
                <a16:creationId xmlns:a16="http://schemas.microsoft.com/office/drawing/2014/main" id="{460EC19D-5C44-4557-54CE-FA6CE565E479}"/>
              </a:ext>
            </a:extLst>
          </p:cNvPr>
          <p:cNvSpPr>
            <a:spLocks noGrp="1"/>
          </p:cNvSpPr>
          <p:nvPr>
            <p:ph type="subTitle" idx="19" hasCustomPrompt="1"/>
          </p:nvPr>
        </p:nvSpPr>
        <p:spPr>
          <a:xfrm>
            <a:off x="288302" y="713620"/>
            <a:ext cx="5733084"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13" name="Text Placeholder 12">
            <a:extLst>
              <a:ext uri="{FF2B5EF4-FFF2-40B4-BE49-F238E27FC236}">
                <a16:creationId xmlns:a16="http://schemas.microsoft.com/office/drawing/2014/main" id="{2D949BE1-5181-CCD9-89D9-3FDED96843C5}"/>
              </a:ext>
            </a:extLst>
          </p:cNvPr>
          <p:cNvSpPr>
            <a:spLocks noGrp="1"/>
          </p:cNvSpPr>
          <p:nvPr>
            <p:ph type="body" sz="quarter" idx="20" hasCustomPrompt="1"/>
          </p:nvPr>
        </p:nvSpPr>
        <p:spPr>
          <a:xfrm>
            <a:off x="7145337" y="2338388"/>
            <a:ext cx="4757737" cy="3427412"/>
          </a:xfrm>
        </p:spPr>
        <p:txBody>
          <a:bodyPr/>
          <a:lstStyle>
            <a:lvl1pPr>
              <a:lnSpc>
                <a:spcPct val="80000"/>
              </a:lnSpc>
              <a:defRPr sz="5400" i="0">
                <a:solidFill>
                  <a:schemeClr val="accent1"/>
                </a:solidFill>
                <a:latin typeface="+mj-lt"/>
              </a:defRPr>
            </a:lvl1pPr>
            <a:lvl2pPr>
              <a:defRPr lang="en-GB" dirty="0" smtClean="0">
                <a:solidFill>
                  <a:schemeClr val="tx1"/>
                </a:solidFill>
              </a:defRPr>
            </a:lvl2pPr>
            <a:lvl3pPr>
              <a:defRPr lang="en-GB" dirty="0" smtClean="0">
                <a:solidFill>
                  <a:schemeClr val="tx1"/>
                </a:solidFill>
              </a:defRPr>
            </a:lvl3pPr>
            <a:lvl4pPr>
              <a:defRPr lang="en-GB" dirty="0" smtClean="0">
                <a:solidFill>
                  <a:schemeClr val="tx1"/>
                </a:solidFill>
              </a:defRPr>
            </a:lvl4pPr>
            <a:lvl5pPr>
              <a:defRPr lang="en-US" dirty="0">
                <a:solidFill>
                  <a:schemeClr val="tx1"/>
                </a:solidFill>
              </a:defRPr>
            </a:lvl5pPr>
          </a:lstStyle>
          <a:p>
            <a:pPr lvl="0"/>
            <a:r>
              <a:rPr lang="en-GB"/>
              <a:t>“Quote goes here. Delete speech marks if not required.”</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ext Placeholder 7">
            <a:extLst>
              <a:ext uri="{FF2B5EF4-FFF2-40B4-BE49-F238E27FC236}">
                <a16:creationId xmlns:a16="http://schemas.microsoft.com/office/drawing/2014/main" id="{262EBE26-5504-780B-C8F1-AFCE93039485}"/>
              </a:ext>
            </a:extLst>
          </p:cNvPr>
          <p:cNvSpPr>
            <a:spLocks noGrp="1"/>
          </p:cNvSpPr>
          <p:nvPr>
            <p:ph type="body" sz="quarter" idx="14" hasCustomPrompt="1"/>
          </p:nvPr>
        </p:nvSpPr>
        <p:spPr>
          <a:xfrm>
            <a:off x="8124825" y="295200"/>
            <a:ext cx="3778250" cy="876375"/>
          </a:xfrm>
        </p:spPr>
        <p:txBody>
          <a:bodyPr/>
          <a:lstStyle>
            <a:lvl1pPr>
              <a:defRPr sz="1400"/>
            </a:lvl1pPr>
            <a:lvl2pPr>
              <a:defRPr sz="1400"/>
            </a:lvl2pPr>
            <a:lvl3pPr>
              <a:defRPr sz="1200"/>
            </a:lvl3pPr>
          </a:lstStyle>
          <a:p>
            <a:pPr lvl="0"/>
            <a:r>
              <a:rPr lang="en-GB"/>
              <a:t>Click to add text. Delete if not required.</a:t>
            </a:r>
          </a:p>
          <a:p>
            <a:pPr lvl="1"/>
            <a:r>
              <a:rPr lang="en-GB"/>
              <a:t>Second level</a:t>
            </a:r>
          </a:p>
          <a:p>
            <a:pPr lvl="2"/>
            <a:r>
              <a:rPr lang="en-GB"/>
              <a:t>Third level</a:t>
            </a:r>
          </a:p>
        </p:txBody>
      </p:sp>
      <p:sp>
        <p:nvSpPr>
          <p:cNvPr id="6" name="Footer Placeholder 4">
            <a:extLst>
              <a:ext uri="{FF2B5EF4-FFF2-40B4-BE49-F238E27FC236}">
                <a16:creationId xmlns:a16="http://schemas.microsoft.com/office/drawing/2014/main" id="{FF5227C2-8D93-ABD3-A0D2-E4BD40BC778D}"/>
              </a:ext>
            </a:extLst>
          </p:cNvPr>
          <p:cNvSpPr>
            <a:spLocks noGrp="1"/>
          </p:cNvSpPr>
          <p:nvPr>
            <p:ph type="ftr" sz="quarter" idx="3"/>
          </p:nvPr>
        </p:nvSpPr>
        <p:spPr>
          <a:xfrm>
            <a:off x="288259" y="5966467"/>
            <a:ext cx="5733084"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363234743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Right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6F6140-34D9-F6B3-6BCD-3A50DD37FE45}"/>
              </a:ext>
            </a:extLst>
          </p:cNvPr>
          <p:cNvSpPr>
            <a:spLocks noGrp="1"/>
          </p:cNvSpPr>
          <p:nvPr>
            <p:ph type="title" hasCustomPrompt="1"/>
          </p:nvPr>
        </p:nvSpPr>
        <p:spPr>
          <a:xfrm>
            <a:off x="288303" y="262267"/>
            <a:ext cx="5733084" cy="468590"/>
          </a:xfrm>
        </p:spPr>
        <p:txBody>
          <a:bodyPr/>
          <a:lstStyle/>
          <a:p>
            <a:r>
              <a:rPr lang="en-GB"/>
              <a:t>Master title style</a:t>
            </a:r>
          </a:p>
        </p:txBody>
      </p:sp>
      <p:sp>
        <p:nvSpPr>
          <p:cNvPr id="7" name="Content Placeholder 6">
            <a:extLst>
              <a:ext uri="{FF2B5EF4-FFF2-40B4-BE49-F238E27FC236}">
                <a16:creationId xmlns:a16="http://schemas.microsoft.com/office/drawing/2014/main" id="{BA7EE611-EA9F-2CB5-2ACF-EF4D756FF28C}"/>
              </a:ext>
            </a:extLst>
          </p:cNvPr>
          <p:cNvSpPr>
            <a:spLocks noGrp="1"/>
          </p:cNvSpPr>
          <p:nvPr>
            <p:ph sz="quarter" idx="14"/>
          </p:nvPr>
        </p:nvSpPr>
        <p:spPr>
          <a:xfrm>
            <a:off x="6166800" y="270000"/>
            <a:ext cx="5737225" cy="5495800"/>
          </a:xfrm>
        </p:spPr>
        <p:txBody>
          <a:bodyPr/>
          <a:lstStyle>
            <a:lvl1pPr>
              <a:defRPr sz="1800"/>
            </a:lvl1pPr>
            <a:lvl2pPr>
              <a:defRPr sz="1800"/>
            </a:lvl2pPr>
            <a:lvl3pPr>
              <a:defRPr sz="16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9781BB63-AF6A-9F70-47D8-BF333C16188A}"/>
              </a:ext>
            </a:extLst>
          </p:cNvPr>
          <p:cNvSpPr>
            <a:spLocks noGrp="1"/>
          </p:cNvSpPr>
          <p:nvPr>
            <p:ph type="body" sz="quarter" idx="15" hasCustomPrompt="1"/>
          </p:nvPr>
        </p:nvSpPr>
        <p:spPr>
          <a:xfrm>
            <a:off x="288925" y="3867150"/>
            <a:ext cx="3778250" cy="1816002"/>
          </a:xfrm>
        </p:spPr>
        <p:txBody>
          <a:bodyPr/>
          <a:lstStyle/>
          <a:p>
            <a:pPr lvl="0"/>
            <a:r>
              <a:rPr lang="en-GB"/>
              <a:t>Click to add text. Delete if not required.</a:t>
            </a:r>
          </a:p>
          <a:p>
            <a:pPr lvl="1"/>
            <a:r>
              <a:rPr lang="en-GB"/>
              <a:t>Second level</a:t>
            </a:r>
          </a:p>
          <a:p>
            <a:pPr lvl="2"/>
            <a:r>
              <a:rPr lang="en-GB"/>
              <a:t>Third level</a:t>
            </a:r>
          </a:p>
        </p:txBody>
      </p:sp>
      <p:sp>
        <p:nvSpPr>
          <p:cNvPr id="6" name="Slide Number Placeholder 5">
            <a:extLst>
              <a:ext uri="{FF2B5EF4-FFF2-40B4-BE49-F238E27FC236}">
                <a16:creationId xmlns:a16="http://schemas.microsoft.com/office/drawing/2014/main" id="{3FB68AB9-3222-3CF5-BF4D-DB291E974D21}"/>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8" name="Subtitle 2">
            <a:extLst>
              <a:ext uri="{FF2B5EF4-FFF2-40B4-BE49-F238E27FC236}">
                <a16:creationId xmlns:a16="http://schemas.microsoft.com/office/drawing/2014/main" id="{7093E36D-AA36-08D5-DD80-6469123BEA1A}"/>
              </a:ext>
            </a:extLst>
          </p:cNvPr>
          <p:cNvSpPr>
            <a:spLocks noGrp="1"/>
          </p:cNvSpPr>
          <p:nvPr>
            <p:ph type="subTitle" idx="1" hasCustomPrompt="1"/>
          </p:nvPr>
        </p:nvSpPr>
        <p:spPr>
          <a:xfrm>
            <a:off x="288302" y="713620"/>
            <a:ext cx="5733083" cy="292965"/>
          </a:xfrm>
        </p:spPr>
        <p:txBody>
          <a:bodyPr wrap="square" anchor="t">
            <a:spAutoFit/>
          </a:bodyPr>
          <a:lstStyle>
            <a:lvl1pPr marL="0" indent="0" algn="l">
              <a:lnSpc>
                <a:spcPct val="110000"/>
              </a:lnSpc>
              <a:spcBef>
                <a:spcPts val="0"/>
              </a:spcBef>
              <a:spcAft>
                <a:spcPts val="0"/>
              </a:spcAft>
              <a:buNone/>
              <a:tabLst/>
              <a:defRPr lang="en-GB" sz="18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Subtitle. Delete if not required.</a:t>
            </a:r>
          </a:p>
        </p:txBody>
      </p:sp>
      <p:sp>
        <p:nvSpPr>
          <p:cNvPr id="4" name="Footer Placeholder 4">
            <a:extLst>
              <a:ext uri="{FF2B5EF4-FFF2-40B4-BE49-F238E27FC236}">
                <a16:creationId xmlns:a16="http://schemas.microsoft.com/office/drawing/2014/main" id="{09011399-EA78-1501-D5C3-39F7E534C30C}"/>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38225394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AC08568-CB34-FA3A-354B-5E34EE1B1FD2}"/>
              </a:ext>
            </a:extLst>
          </p:cNvPr>
          <p:cNvSpPr>
            <a:spLocks noGrp="1"/>
          </p:cNvSpPr>
          <p:nvPr>
            <p:ph type="title"/>
          </p:nvPr>
        </p:nvSpPr>
        <p:spPr>
          <a:xfrm>
            <a:off x="288303" y="262267"/>
            <a:ext cx="6713538" cy="457818"/>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80450DE-2BB5-2901-3769-3BBFA07946C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7">
            <a:extLst>
              <a:ext uri="{FF2B5EF4-FFF2-40B4-BE49-F238E27FC236}">
                <a16:creationId xmlns:a16="http://schemas.microsoft.com/office/drawing/2014/main" id="{65B587F7-0E47-48EC-A5BC-5623F62D615C}"/>
              </a:ext>
            </a:extLst>
          </p:cNvPr>
          <p:cNvSpPr>
            <a:spLocks noGrp="1"/>
          </p:cNvSpPr>
          <p:nvPr>
            <p:ph type="body" sz="quarter" idx="14" hasCustomPrompt="1"/>
          </p:nvPr>
        </p:nvSpPr>
        <p:spPr>
          <a:xfrm>
            <a:off x="8124825" y="295200"/>
            <a:ext cx="3778250" cy="876375"/>
          </a:xfrm>
        </p:spPr>
        <p:txBody>
          <a:bodyPr/>
          <a:lstStyle>
            <a:lvl1pPr>
              <a:defRPr sz="1400"/>
            </a:lvl1pPr>
            <a:lvl2pPr>
              <a:defRPr sz="1400"/>
            </a:lvl2pPr>
            <a:lvl3pPr>
              <a:defRPr sz="1200"/>
            </a:lvl3pPr>
          </a:lstStyle>
          <a:p>
            <a:pPr lvl="0"/>
            <a:r>
              <a:rPr lang="en-GB"/>
              <a:t>Click to add text. Delete if not required.</a:t>
            </a:r>
          </a:p>
          <a:p>
            <a:pPr lvl="1"/>
            <a:r>
              <a:rPr lang="en-GB"/>
              <a:t>Second level</a:t>
            </a:r>
          </a:p>
          <a:p>
            <a:pPr lvl="2"/>
            <a:r>
              <a:rPr lang="en-GB"/>
              <a:t>Third level</a:t>
            </a:r>
          </a:p>
        </p:txBody>
      </p:sp>
      <p:sp>
        <p:nvSpPr>
          <p:cNvPr id="6" name="Slide Number Placeholder 5">
            <a:extLst>
              <a:ext uri="{FF2B5EF4-FFF2-40B4-BE49-F238E27FC236}">
                <a16:creationId xmlns:a16="http://schemas.microsoft.com/office/drawing/2014/main" id="{3FB68AB9-3222-3CF5-BF4D-DB291E974D21}"/>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4" name="Subtitle 2">
            <a:extLst>
              <a:ext uri="{FF2B5EF4-FFF2-40B4-BE49-F238E27FC236}">
                <a16:creationId xmlns:a16="http://schemas.microsoft.com/office/drawing/2014/main" id="{443DEE11-107C-6B66-46B9-BE5E88B65B71}"/>
              </a:ext>
            </a:extLst>
          </p:cNvPr>
          <p:cNvSpPr>
            <a:spLocks noGrp="1"/>
          </p:cNvSpPr>
          <p:nvPr>
            <p:ph type="subTitle" idx="15" hasCustomPrompt="1"/>
          </p:nvPr>
        </p:nvSpPr>
        <p:spPr>
          <a:xfrm>
            <a:off x="288302" y="713620"/>
            <a:ext cx="5733083" cy="292965"/>
          </a:xfrm>
        </p:spPr>
        <p:txBody>
          <a:bodyPr wrap="square" anchor="t">
            <a:spAutoFit/>
          </a:bodyPr>
          <a:lstStyle>
            <a:lvl1pPr marL="0" indent="0" algn="l">
              <a:lnSpc>
                <a:spcPct val="110000"/>
              </a:lnSpc>
              <a:spcBef>
                <a:spcPts val="0"/>
              </a:spcBef>
              <a:spcAft>
                <a:spcPts val="0"/>
              </a:spcAft>
              <a:buNone/>
              <a:tabLst/>
              <a:defRPr lang="en-GB" sz="1800" b="1" dirty="0" smtClean="0">
                <a:solidFill>
                  <a:schemeClr val="tx1"/>
                </a:solidFill>
                <a:latin typeface="+mn-lt"/>
              </a:defRPr>
            </a:lvl1pPr>
            <a:lvl2pPr marL="0" indent="0" algn="l">
              <a:lnSpc>
                <a:spcPct val="110000"/>
              </a:lnSpc>
              <a:spcBef>
                <a:spcPts val="0"/>
              </a:spcBef>
              <a:spcAft>
                <a:spcPts val="0"/>
              </a:spcAft>
              <a:buNone/>
              <a:tabLst/>
              <a:defRPr lang="en-GB" sz="1800" dirty="0" smtClean="0">
                <a:solidFill>
                  <a:schemeClr val="tx1"/>
                </a:solidFill>
                <a:latin typeface="+mn-lt"/>
              </a:defRPr>
            </a:lvl2pPr>
            <a:lvl3pPr marL="0" indent="0" algn="l">
              <a:lnSpc>
                <a:spcPct val="110000"/>
              </a:lnSpc>
              <a:spcBef>
                <a:spcPts val="0"/>
              </a:spcBef>
              <a:spcAft>
                <a:spcPts val="0"/>
              </a:spcAft>
              <a:buNone/>
              <a:tabLst/>
              <a:defRPr lang="en-GB" sz="1800" dirty="0" smtClean="0">
                <a:solidFill>
                  <a:schemeClr val="tx1"/>
                </a:solidFill>
                <a:latin typeface="+mn-lt"/>
              </a:defRPr>
            </a:lvl3pPr>
            <a:lvl4pPr marL="0" indent="0" algn="l">
              <a:lnSpc>
                <a:spcPct val="110000"/>
              </a:lnSpc>
              <a:spcBef>
                <a:spcPts val="0"/>
              </a:spcBef>
              <a:spcAft>
                <a:spcPts val="0"/>
              </a:spcAft>
              <a:buNone/>
              <a:tabLst/>
              <a:defRPr lang="en-GB" sz="1800" dirty="0" smtClean="0">
                <a:solidFill>
                  <a:schemeClr val="tx1"/>
                </a:solidFill>
                <a:latin typeface="+mn-lt"/>
              </a:defRPr>
            </a:lvl4pPr>
            <a:lvl5pPr marL="0" indent="0" algn="l">
              <a:lnSpc>
                <a:spcPct val="110000"/>
              </a:lnSpc>
              <a:spcBef>
                <a:spcPts val="0"/>
              </a:spcBef>
              <a:spcAft>
                <a:spcPts val="0"/>
              </a:spcAft>
              <a:buNone/>
              <a:tabLst/>
              <a:defRPr lang="en-GB" sz="1800" dirty="0" smtClean="0">
                <a:solidFill>
                  <a:schemeClr val="tx1"/>
                </a:solidFill>
                <a:latin typeface="+mn-lt"/>
              </a:defRPr>
            </a:lvl5pPr>
            <a:lvl6pPr marL="0" indent="0" algn="l">
              <a:lnSpc>
                <a:spcPct val="110000"/>
              </a:lnSpc>
              <a:spcBef>
                <a:spcPts val="0"/>
              </a:spcBef>
              <a:spcAft>
                <a:spcPts val="0"/>
              </a:spcAft>
              <a:buNone/>
              <a:tabLst/>
              <a:defRPr lang="en-GB" sz="1800" dirty="0" smtClean="0">
                <a:solidFill>
                  <a:schemeClr val="tx1"/>
                </a:solidFill>
                <a:latin typeface="+mn-lt"/>
              </a:defRPr>
            </a:lvl6pPr>
            <a:lvl7pPr marL="0" indent="0" algn="l">
              <a:lnSpc>
                <a:spcPct val="110000"/>
              </a:lnSpc>
              <a:spcBef>
                <a:spcPts val="0"/>
              </a:spcBef>
              <a:spcAft>
                <a:spcPts val="0"/>
              </a:spcAft>
              <a:buNone/>
              <a:tabLst/>
              <a:defRPr lang="en-GB" sz="1800" dirty="0" smtClean="0">
                <a:solidFill>
                  <a:schemeClr val="tx1"/>
                </a:solidFill>
                <a:latin typeface="+mn-lt"/>
              </a:defRPr>
            </a:lvl7pPr>
            <a:lvl8pPr marL="0" indent="0" algn="l">
              <a:lnSpc>
                <a:spcPct val="110000"/>
              </a:lnSpc>
              <a:spcBef>
                <a:spcPts val="0"/>
              </a:spcBef>
              <a:spcAft>
                <a:spcPts val="0"/>
              </a:spcAft>
              <a:buNone/>
              <a:tabLst/>
              <a:defRPr lang="en-GB" sz="1800" dirty="0" smtClean="0">
                <a:solidFill>
                  <a:schemeClr val="tx1"/>
                </a:solidFill>
                <a:latin typeface="+mn-lt"/>
              </a:defRPr>
            </a:lvl8pPr>
            <a:lvl9pPr marL="0" indent="0" algn="l">
              <a:lnSpc>
                <a:spcPct val="110000"/>
              </a:lnSpc>
              <a:spcBef>
                <a:spcPts val="0"/>
              </a:spcBef>
              <a:spcAft>
                <a:spcPts val="0"/>
              </a:spcAft>
              <a:buNone/>
              <a:tabLst/>
              <a:defRPr lang="en-GB" sz="1800" dirty="0">
                <a:solidFill>
                  <a:schemeClr val="tx1"/>
                </a:solidFill>
                <a:latin typeface="+mn-lt"/>
              </a:defRPr>
            </a:lvl9pPr>
          </a:lstStyle>
          <a:p>
            <a:pPr lvl="0"/>
            <a:r>
              <a:rPr lang="en-GB"/>
              <a:t>Subtitle. Delete if not required.</a:t>
            </a:r>
          </a:p>
        </p:txBody>
      </p:sp>
      <p:sp>
        <p:nvSpPr>
          <p:cNvPr id="8" name="Footer Placeholder 4">
            <a:extLst>
              <a:ext uri="{FF2B5EF4-FFF2-40B4-BE49-F238E27FC236}">
                <a16:creationId xmlns:a16="http://schemas.microsoft.com/office/drawing/2014/main" id="{7234E43D-E2A8-6090-A515-BA67D1DC031F}"/>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191035494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4D7FB2-B0CA-4C96-0E9E-CB4BA9057AF8}"/>
              </a:ext>
            </a:extLst>
          </p:cNvPr>
          <p:cNvSpPr>
            <a:spLocks noGrp="1"/>
          </p:cNvSpPr>
          <p:nvPr>
            <p:ph type="title"/>
          </p:nvPr>
        </p:nvSpPr>
        <p:spPr>
          <a:xfrm>
            <a:off x="288303" y="262267"/>
            <a:ext cx="6713538" cy="457818"/>
          </a:xfrm>
        </p:spPr>
        <p:txBody>
          <a:bodyPr/>
          <a:lstStyle/>
          <a:p>
            <a:r>
              <a:rPr lang="en-US"/>
              <a:t>Click to edit Master title style</a:t>
            </a:r>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822449"/>
            <a:ext cx="5732003" cy="3943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6165851" y="1822450"/>
            <a:ext cx="5734049" cy="3943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7">
            <a:extLst>
              <a:ext uri="{FF2B5EF4-FFF2-40B4-BE49-F238E27FC236}">
                <a16:creationId xmlns:a16="http://schemas.microsoft.com/office/drawing/2014/main" id="{F80BC13B-177D-A0D3-7A97-8F3C3A8E7391}"/>
              </a:ext>
            </a:extLst>
          </p:cNvPr>
          <p:cNvSpPr>
            <a:spLocks noGrp="1"/>
          </p:cNvSpPr>
          <p:nvPr>
            <p:ph type="body" sz="quarter" idx="14" hasCustomPrompt="1"/>
          </p:nvPr>
        </p:nvSpPr>
        <p:spPr>
          <a:xfrm>
            <a:off x="8124825" y="295200"/>
            <a:ext cx="3778250" cy="876375"/>
          </a:xfrm>
        </p:spPr>
        <p:txBody>
          <a:bodyPr/>
          <a:lstStyle>
            <a:lvl1pPr>
              <a:defRPr sz="1400"/>
            </a:lvl1pPr>
            <a:lvl2pPr>
              <a:defRPr sz="1400"/>
            </a:lvl2pPr>
            <a:lvl3pPr>
              <a:defRPr sz="1200"/>
            </a:lvl3pPr>
          </a:lstStyle>
          <a:p>
            <a:pPr lvl="0"/>
            <a:r>
              <a:rPr lang="en-GB"/>
              <a:t>Click to add text. Delete if not required.</a:t>
            </a:r>
          </a:p>
          <a:p>
            <a:pPr lvl="1"/>
            <a:r>
              <a:rPr lang="en-GB"/>
              <a:t>Second level</a:t>
            </a:r>
          </a:p>
          <a:p>
            <a:pPr lvl="2"/>
            <a:r>
              <a:rPr lang="en-GB"/>
              <a:t>Third level</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2" name="Subtitle 2">
            <a:extLst>
              <a:ext uri="{FF2B5EF4-FFF2-40B4-BE49-F238E27FC236}">
                <a16:creationId xmlns:a16="http://schemas.microsoft.com/office/drawing/2014/main" id="{56361D27-85D4-45EB-31D3-6D805D2E106E}"/>
              </a:ext>
            </a:extLst>
          </p:cNvPr>
          <p:cNvSpPr>
            <a:spLocks noGrp="1"/>
          </p:cNvSpPr>
          <p:nvPr>
            <p:ph type="subTitle" idx="15"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5" name="Footer Placeholder 4">
            <a:extLst>
              <a:ext uri="{FF2B5EF4-FFF2-40B4-BE49-F238E27FC236}">
                <a16:creationId xmlns:a16="http://schemas.microsoft.com/office/drawing/2014/main" id="{22BA91C6-E980-9240-DC55-BBA4867CB9FE}"/>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88822247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BC8828CA-7D5C-3E61-D35B-06A376A834B0}"/>
              </a:ext>
            </a:extLst>
          </p:cNvPr>
          <p:cNvSpPr>
            <a:spLocks noGrp="1"/>
          </p:cNvSpPr>
          <p:nvPr>
            <p:ph type="title"/>
          </p:nvPr>
        </p:nvSpPr>
        <p:spPr>
          <a:xfrm>
            <a:off x="288303" y="262267"/>
            <a:ext cx="6713538" cy="457818"/>
          </a:xfrm>
        </p:spPr>
        <p:txBody>
          <a:bodyPr/>
          <a:lstStyle/>
          <a:p>
            <a:r>
              <a:rPr lang="en-US"/>
              <a:t>Click to edit Master title style</a:t>
            </a:r>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822451"/>
            <a:ext cx="3773029" cy="39433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4208923" y="1822451"/>
            <a:ext cx="3773028" cy="39433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2D07DFA4-9148-416B-352F-29E5676A6A00}"/>
              </a:ext>
            </a:extLst>
          </p:cNvPr>
          <p:cNvSpPr>
            <a:spLocks noGrp="1"/>
          </p:cNvSpPr>
          <p:nvPr>
            <p:ph idx="14"/>
          </p:nvPr>
        </p:nvSpPr>
        <p:spPr>
          <a:xfrm>
            <a:off x="8129587" y="1822451"/>
            <a:ext cx="3773028" cy="39433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7">
            <a:extLst>
              <a:ext uri="{FF2B5EF4-FFF2-40B4-BE49-F238E27FC236}">
                <a16:creationId xmlns:a16="http://schemas.microsoft.com/office/drawing/2014/main" id="{66A26018-CD47-11D0-838D-A1A2D71C4DE9}"/>
              </a:ext>
            </a:extLst>
          </p:cNvPr>
          <p:cNvSpPr>
            <a:spLocks noGrp="1"/>
          </p:cNvSpPr>
          <p:nvPr>
            <p:ph type="body" sz="quarter" idx="15" hasCustomPrompt="1"/>
          </p:nvPr>
        </p:nvSpPr>
        <p:spPr>
          <a:xfrm>
            <a:off x="8125200" y="295200"/>
            <a:ext cx="3773488" cy="876375"/>
          </a:xfrm>
        </p:spPr>
        <p:txBody>
          <a:bodyPr/>
          <a:lstStyle>
            <a:lvl1pPr>
              <a:defRPr sz="1400"/>
            </a:lvl1pPr>
            <a:lvl2pPr>
              <a:defRPr sz="1400"/>
            </a:lvl2pPr>
            <a:lvl3pPr>
              <a:defRPr sz="1200"/>
            </a:lvl3pPr>
          </a:lstStyle>
          <a:p>
            <a:pPr lvl="0"/>
            <a:r>
              <a:rPr lang="en-GB"/>
              <a:t>Click to add text. Delete if not required.</a:t>
            </a:r>
          </a:p>
          <a:p>
            <a:pPr lvl="1"/>
            <a:r>
              <a:rPr lang="en-GB"/>
              <a:t>Second level</a:t>
            </a:r>
          </a:p>
          <a:p>
            <a:pPr lvl="2"/>
            <a:r>
              <a:rPr lang="en-GB"/>
              <a:t>Third level</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5" name="Subtitle 2">
            <a:extLst>
              <a:ext uri="{FF2B5EF4-FFF2-40B4-BE49-F238E27FC236}">
                <a16:creationId xmlns:a16="http://schemas.microsoft.com/office/drawing/2014/main" id="{D960C6BF-F9C7-01C8-7601-5B209FAE017D}"/>
              </a:ext>
            </a:extLst>
          </p:cNvPr>
          <p:cNvSpPr>
            <a:spLocks noGrp="1"/>
          </p:cNvSpPr>
          <p:nvPr>
            <p:ph type="subTitle" idx="16"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2" name="Footer Placeholder 4">
            <a:extLst>
              <a:ext uri="{FF2B5EF4-FFF2-40B4-BE49-F238E27FC236}">
                <a16:creationId xmlns:a16="http://schemas.microsoft.com/office/drawing/2014/main" id="{67699C8C-E675-503A-24B2-BFCC24CE49A7}"/>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109358798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Images and Text">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FD914B4A-06B9-EB7A-743E-14A6560485EF}"/>
              </a:ext>
            </a:extLst>
          </p:cNvPr>
          <p:cNvSpPr>
            <a:spLocks noGrp="1"/>
          </p:cNvSpPr>
          <p:nvPr>
            <p:ph type="title"/>
          </p:nvPr>
        </p:nvSpPr>
        <p:spPr>
          <a:xfrm>
            <a:off x="288303" y="262267"/>
            <a:ext cx="6713538" cy="457818"/>
          </a:xfrm>
        </p:spPr>
        <p:txBody>
          <a:bodyPr/>
          <a:lstStyle/>
          <a:p>
            <a:r>
              <a:rPr lang="en-US"/>
              <a:t>Click to edit Master title style</a:t>
            </a:r>
            <a:endParaRPr lang="en-GB"/>
          </a:p>
        </p:txBody>
      </p:sp>
      <p:sp>
        <p:nvSpPr>
          <p:cNvPr id="4" name="Picture Placeholder 3">
            <a:extLst>
              <a:ext uri="{FF2B5EF4-FFF2-40B4-BE49-F238E27FC236}">
                <a16:creationId xmlns:a16="http://schemas.microsoft.com/office/drawing/2014/main" id="{A2903A13-6903-3CAB-953B-86997724B440}"/>
              </a:ext>
            </a:extLst>
          </p:cNvPr>
          <p:cNvSpPr>
            <a:spLocks noGrp="1"/>
          </p:cNvSpPr>
          <p:nvPr>
            <p:ph type="pic" sz="quarter" idx="15" hasCustomPrompt="1"/>
          </p:nvPr>
        </p:nvSpPr>
        <p:spPr>
          <a:xfrm>
            <a:off x="292099" y="1306514"/>
            <a:ext cx="3770314" cy="1908174"/>
          </a:xfrm>
          <a:solidFill>
            <a:schemeClr val="tx2"/>
          </a:solidFill>
        </p:spPr>
        <p:txBody>
          <a:bodyPr vert="horz" lIns="0" tIns="0" rIns="0" bIns="0" rtlCol="0">
            <a:noAutofit/>
          </a:bodyPr>
          <a:lstStyle>
            <a:lvl1pPr>
              <a:defRPr lang="en-GB" dirty="0">
                <a:solidFill>
                  <a:schemeClr val="tx1"/>
                </a:solidFill>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0" name="Picture Placeholder 3">
            <a:extLst>
              <a:ext uri="{FF2B5EF4-FFF2-40B4-BE49-F238E27FC236}">
                <a16:creationId xmlns:a16="http://schemas.microsoft.com/office/drawing/2014/main" id="{1B5E5492-00A8-B509-4464-956D8959E92C}"/>
              </a:ext>
            </a:extLst>
          </p:cNvPr>
          <p:cNvSpPr>
            <a:spLocks noGrp="1"/>
          </p:cNvSpPr>
          <p:nvPr>
            <p:ph type="pic" sz="quarter" idx="16" hasCustomPrompt="1"/>
          </p:nvPr>
        </p:nvSpPr>
        <p:spPr>
          <a:xfrm>
            <a:off x="4206876" y="1306514"/>
            <a:ext cx="3775076" cy="1908174"/>
          </a:xfrm>
          <a:solidFill>
            <a:schemeClr val="tx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1" name="Picture Placeholder 3">
            <a:extLst>
              <a:ext uri="{FF2B5EF4-FFF2-40B4-BE49-F238E27FC236}">
                <a16:creationId xmlns:a16="http://schemas.microsoft.com/office/drawing/2014/main" id="{5230A832-8B14-0097-7902-DB48A4A889E3}"/>
              </a:ext>
            </a:extLst>
          </p:cNvPr>
          <p:cNvSpPr>
            <a:spLocks noGrp="1"/>
          </p:cNvSpPr>
          <p:nvPr>
            <p:ph type="pic" sz="quarter" idx="17" hasCustomPrompt="1"/>
          </p:nvPr>
        </p:nvSpPr>
        <p:spPr>
          <a:xfrm>
            <a:off x="8124824" y="1306514"/>
            <a:ext cx="3775075" cy="1908174"/>
          </a:xfrm>
          <a:solidFill>
            <a:schemeClr val="tx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3" name="Text Placeholder 7">
            <a:extLst>
              <a:ext uri="{FF2B5EF4-FFF2-40B4-BE49-F238E27FC236}">
                <a16:creationId xmlns:a16="http://schemas.microsoft.com/office/drawing/2014/main" id="{8C00D127-E34B-E7AD-7F27-D3CB55135083}"/>
              </a:ext>
            </a:extLst>
          </p:cNvPr>
          <p:cNvSpPr>
            <a:spLocks noGrp="1"/>
          </p:cNvSpPr>
          <p:nvPr>
            <p:ph type="body" sz="quarter" idx="18" hasCustomPrompt="1"/>
          </p:nvPr>
        </p:nvSpPr>
        <p:spPr>
          <a:xfrm>
            <a:off x="8124205" y="295200"/>
            <a:ext cx="3778870" cy="876375"/>
          </a:xfrm>
        </p:spPr>
        <p:txBody>
          <a:bodyPr/>
          <a:lstStyle>
            <a:lvl1pPr>
              <a:defRPr sz="1400"/>
            </a:lvl1pPr>
            <a:lvl2pPr>
              <a:defRPr sz="1400"/>
            </a:lvl2pPr>
            <a:lvl3pPr>
              <a:defRPr sz="1200"/>
            </a:lvl3pPr>
          </a:lstStyle>
          <a:p>
            <a:pPr lvl="0"/>
            <a:r>
              <a:rPr lang="en-GB"/>
              <a:t>Click to add text. Delete if not required.</a:t>
            </a:r>
          </a:p>
          <a:p>
            <a:pPr lvl="1"/>
            <a:r>
              <a:rPr lang="en-GB"/>
              <a:t>Second level</a:t>
            </a:r>
          </a:p>
          <a:p>
            <a:pPr lvl="2"/>
            <a:r>
              <a:rPr lang="en-GB"/>
              <a:t>Third level</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2" name="Subtitle 2">
            <a:extLst>
              <a:ext uri="{FF2B5EF4-FFF2-40B4-BE49-F238E27FC236}">
                <a16:creationId xmlns:a16="http://schemas.microsoft.com/office/drawing/2014/main" id="{A957F58C-3461-45A3-5C7B-FEC0AE9787AA}"/>
              </a:ext>
            </a:extLst>
          </p:cNvPr>
          <p:cNvSpPr>
            <a:spLocks noGrp="1"/>
          </p:cNvSpPr>
          <p:nvPr>
            <p:ph type="subTitle" idx="19"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12" name="Text Placeholder 11">
            <a:extLst>
              <a:ext uri="{FF2B5EF4-FFF2-40B4-BE49-F238E27FC236}">
                <a16:creationId xmlns:a16="http://schemas.microsoft.com/office/drawing/2014/main" id="{C0E54879-16D3-D32C-7096-C2022A52D2DF}"/>
              </a:ext>
            </a:extLst>
          </p:cNvPr>
          <p:cNvSpPr>
            <a:spLocks noGrp="1"/>
          </p:cNvSpPr>
          <p:nvPr>
            <p:ph type="body" sz="quarter" idx="20"/>
          </p:nvPr>
        </p:nvSpPr>
        <p:spPr>
          <a:xfrm>
            <a:off x="288925" y="3357563"/>
            <a:ext cx="3769200" cy="2408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1">
            <a:extLst>
              <a:ext uri="{FF2B5EF4-FFF2-40B4-BE49-F238E27FC236}">
                <a16:creationId xmlns:a16="http://schemas.microsoft.com/office/drawing/2014/main" id="{111B2AEB-EC1B-D6B6-2A0C-C42A73F419DD}"/>
              </a:ext>
            </a:extLst>
          </p:cNvPr>
          <p:cNvSpPr>
            <a:spLocks noGrp="1"/>
          </p:cNvSpPr>
          <p:nvPr>
            <p:ph type="body" sz="quarter" idx="21"/>
          </p:nvPr>
        </p:nvSpPr>
        <p:spPr>
          <a:xfrm>
            <a:off x="4206876" y="3357563"/>
            <a:ext cx="3776400" cy="2408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1">
            <a:extLst>
              <a:ext uri="{FF2B5EF4-FFF2-40B4-BE49-F238E27FC236}">
                <a16:creationId xmlns:a16="http://schemas.microsoft.com/office/drawing/2014/main" id="{604DF7D6-F323-CF70-9E5E-634416CD4FA3}"/>
              </a:ext>
            </a:extLst>
          </p:cNvPr>
          <p:cNvSpPr>
            <a:spLocks noGrp="1"/>
          </p:cNvSpPr>
          <p:nvPr>
            <p:ph type="body" sz="quarter" idx="22"/>
          </p:nvPr>
        </p:nvSpPr>
        <p:spPr>
          <a:xfrm>
            <a:off x="8124824" y="3357563"/>
            <a:ext cx="3776400" cy="2408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4">
            <a:extLst>
              <a:ext uri="{FF2B5EF4-FFF2-40B4-BE49-F238E27FC236}">
                <a16:creationId xmlns:a16="http://schemas.microsoft.com/office/drawing/2014/main" id="{A50A90C1-8224-5C16-1EC9-D3E24C8CF223}"/>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428990010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F7510D54-8AF6-FB56-756F-08A956F574D9}"/>
              </a:ext>
            </a:extLst>
          </p:cNvPr>
          <p:cNvSpPr>
            <a:spLocks noGrp="1"/>
          </p:cNvSpPr>
          <p:nvPr>
            <p:ph type="title"/>
          </p:nvPr>
        </p:nvSpPr>
        <p:spPr>
          <a:xfrm>
            <a:off x="288303" y="262267"/>
            <a:ext cx="6713538" cy="457818"/>
          </a:xfrm>
        </p:spPr>
        <p:txBody>
          <a:bodyPr/>
          <a:lstStyle/>
          <a:p>
            <a:r>
              <a:rPr lang="en-US"/>
              <a:t>Click to edit Master title style</a:t>
            </a:r>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822449"/>
            <a:ext cx="2793541" cy="3943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6165853" y="1822450"/>
            <a:ext cx="2795586" cy="3943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73E966BC-48D6-0237-3D83-9F8CB77DC975}"/>
              </a:ext>
            </a:extLst>
          </p:cNvPr>
          <p:cNvSpPr>
            <a:spLocks noGrp="1"/>
          </p:cNvSpPr>
          <p:nvPr>
            <p:ph idx="14"/>
          </p:nvPr>
        </p:nvSpPr>
        <p:spPr>
          <a:xfrm>
            <a:off x="3225801" y="1822450"/>
            <a:ext cx="2793542" cy="3943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2">
            <a:extLst>
              <a:ext uri="{FF2B5EF4-FFF2-40B4-BE49-F238E27FC236}">
                <a16:creationId xmlns:a16="http://schemas.microsoft.com/office/drawing/2014/main" id="{48B10B95-D320-4FA6-98CE-883417C5DC22}"/>
              </a:ext>
            </a:extLst>
          </p:cNvPr>
          <p:cNvSpPr>
            <a:spLocks noGrp="1"/>
          </p:cNvSpPr>
          <p:nvPr>
            <p:ph idx="15"/>
          </p:nvPr>
        </p:nvSpPr>
        <p:spPr>
          <a:xfrm>
            <a:off x="9104313" y="1822450"/>
            <a:ext cx="2795587" cy="3943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7">
            <a:extLst>
              <a:ext uri="{FF2B5EF4-FFF2-40B4-BE49-F238E27FC236}">
                <a16:creationId xmlns:a16="http://schemas.microsoft.com/office/drawing/2014/main" id="{E3C7D5F1-8B5D-5312-7A0B-9754F64800D3}"/>
              </a:ext>
            </a:extLst>
          </p:cNvPr>
          <p:cNvSpPr>
            <a:spLocks noGrp="1"/>
          </p:cNvSpPr>
          <p:nvPr>
            <p:ph type="body" sz="quarter" idx="16" hasCustomPrompt="1"/>
          </p:nvPr>
        </p:nvSpPr>
        <p:spPr>
          <a:xfrm>
            <a:off x="8124205" y="295200"/>
            <a:ext cx="3778870" cy="876375"/>
          </a:xfrm>
        </p:spPr>
        <p:txBody>
          <a:bodyPr/>
          <a:lstStyle>
            <a:lvl1pPr>
              <a:defRPr sz="1400"/>
            </a:lvl1pPr>
            <a:lvl2pPr>
              <a:defRPr sz="1400"/>
            </a:lvl2pPr>
            <a:lvl3pPr>
              <a:defRPr sz="1200"/>
            </a:lvl3pPr>
          </a:lstStyle>
          <a:p>
            <a:pPr lvl="0"/>
            <a:r>
              <a:rPr lang="en-GB"/>
              <a:t>Click to add text. Delete if not required.</a:t>
            </a:r>
          </a:p>
          <a:p>
            <a:pPr lvl="1"/>
            <a:r>
              <a:rPr lang="en-GB"/>
              <a:t>Second level</a:t>
            </a:r>
          </a:p>
          <a:p>
            <a:pPr lvl="2"/>
            <a:r>
              <a:rPr lang="en-GB"/>
              <a:t>Third level</a:t>
            </a:r>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2" name="Subtitle 2">
            <a:extLst>
              <a:ext uri="{FF2B5EF4-FFF2-40B4-BE49-F238E27FC236}">
                <a16:creationId xmlns:a16="http://schemas.microsoft.com/office/drawing/2014/main" id="{722B44CB-D9B7-ACB7-EC09-74A55C85B1AA}"/>
              </a:ext>
            </a:extLst>
          </p:cNvPr>
          <p:cNvSpPr>
            <a:spLocks noGrp="1"/>
          </p:cNvSpPr>
          <p:nvPr>
            <p:ph type="subTitle" idx="17"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10" name="Footer Placeholder 4">
            <a:extLst>
              <a:ext uri="{FF2B5EF4-FFF2-40B4-BE49-F238E27FC236}">
                <a16:creationId xmlns:a16="http://schemas.microsoft.com/office/drawing/2014/main" id="{2FD518FF-79D2-C6D5-01D5-64DFE231209A}"/>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73584206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5EFD4EAF-3D60-DC5D-9020-CF7FB8FB51D2}"/>
              </a:ext>
            </a:extLst>
          </p:cNvPr>
          <p:cNvSpPr>
            <a:spLocks noGrp="1"/>
          </p:cNvSpPr>
          <p:nvPr>
            <p:ph type="title"/>
          </p:nvPr>
        </p:nvSpPr>
        <p:spPr>
          <a:xfrm>
            <a:off x="288303" y="262267"/>
            <a:ext cx="6713538" cy="457818"/>
          </a:xfrm>
        </p:spPr>
        <p:txBody>
          <a:bodyPr/>
          <a:lstStyle/>
          <a:p>
            <a:r>
              <a:rPr lang="en-US"/>
              <a:t>Click to edit Master title style</a:t>
            </a:r>
            <a:endParaRPr lang="en-GB"/>
          </a:p>
        </p:txBody>
      </p:sp>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10" name="Picture Placeholder 3">
            <a:extLst>
              <a:ext uri="{FF2B5EF4-FFF2-40B4-BE49-F238E27FC236}">
                <a16:creationId xmlns:a16="http://schemas.microsoft.com/office/drawing/2014/main" id="{4E9C5E07-6992-3F19-1B3D-971FA4CAA6E9}"/>
              </a:ext>
            </a:extLst>
          </p:cNvPr>
          <p:cNvSpPr>
            <a:spLocks noGrp="1"/>
          </p:cNvSpPr>
          <p:nvPr>
            <p:ph type="pic" sz="quarter" idx="16" hasCustomPrompt="1"/>
          </p:nvPr>
        </p:nvSpPr>
        <p:spPr>
          <a:xfrm>
            <a:off x="292100" y="1306514"/>
            <a:ext cx="2790825" cy="1908174"/>
          </a:xfrm>
          <a:solidFill>
            <a:schemeClr val="tx2"/>
          </a:solidFill>
        </p:spPr>
        <p:txBody>
          <a:bodyPr vert="horz" lIns="0" tIns="0" rIns="0" bIns="0" rtlCol="0">
            <a:noAutofit/>
          </a:bodyPr>
          <a:lstStyle>
            <a:lvl1pPr>
              <a:defRPr lang="en-GB">
                <a:solidFill>
                  <a:schemeClr val="tx1"/>
                </a:solidFill>
                <a:latin typeface="+mn-lt"/>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r>
              <a:rPr lang="en-GB"/>
              <a:t> Delete if not required.</a:t>
            </a:r>
            <a:endParaRPr lang="en-US"/>
          </a:p>
        </p:txBody>
      </p:sp>
      <p:sp>
        <p:nvSpPr>
          <p:cNvPr id="11" name="Picture Placeholder 3">
            <a:extLst>
              <a:ext uri="{FF2B5EF4-FFF2-40B4-BE49-F238E27FC236}">
                <a16:creationId xmlns:a16="http://schemas.microsoft.com/office/drawing/2014/main" id="{1DFC9CD2-F9F0-5542-03DE-0F1FE57839DE}"/>
              </a:ext>
            </a:extLst>
          </p:cNvPr>
          <p:cNvSpPr>
            <a:spLocks noGrp="1"/>
          </p:cNvSpPr>
          <p:nvPr>
            <p:ph type="pic" sz="quarter" idx="17" hasCustomPrompt="1"/>
          </p:nvPr>
        </p:nvSpPr>
        <p:spPr>
          <a:xfrm>
            <a:off x="3225800" y="1306515"/>
            <a:ext cx="2795588" cy="1906586"/>
          </a:xfrm>
          <a:solidFill>
            <a:schemeClr val="tx2"/>
          </a:solidFill>
        </p:spPr>
        <p:txBody>
          <a:bodyPr vert="horz" lIns="0" tIns="0" rIns="0" bIns="0" rtlCol="0">
            <a:noAutofit/>
          </a:bodyPr>
          <a:lstStyle>
            <a:lvl1pPr>
              <a:defRPr lang="en-GB" dirty="0">
                <a:solidFill>
                  <a:schemeClr val="tx1"/>
                </a:solidFill>
                <a:latin typeface="+mn-lt"/>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r>
              <a:rPr lang="en-GB"/>
              <a:t> Delete if not required.</a:t>
            </a:r>
            <a:endParaRPr lang="en-US"/>
          </a:p>
        </p:txBody>
      </p:sp>
      <p:sp>
        <p:nvSpPr>
          <p:cNvPr id="12" name="Picture Placeholder 3">
            <a:extLst>
              <a:ext uri="{FF2B5EF4-FFF2-40B4-BE49-F238E27FC236}">
                <a16:creationId xmlns:a16="http://schemas.microsoft.com/office/drawing/2014/main" id="{D5E872F4-C139-6D56-50F9-7D21C3B1C8C0}"/>
              </a:ext>
            </a:extLst>
          </p:cNvPr>
          <p:cNvSpPr>
            <a:spLocks noGrp="1"/>
          </p:cNvSpPr>
          <p:nvPr>
            <p:ph type="pic" sz="quarter" idx="18" hasCustomPrompt="1"/>
          </p:nvPr>
        </p:nvSpPr>
        <p:spPr>
          <a:xfrm>
            <a:off x="6165850" y="1306513"/>
            <a:ext cx="2795588" cy="1908175"/>
          </a:xfrm>
          <a:solidFill>
            <a:schemeClr val="tx2"/>
          </a:solidFill>
        </p:spPr>
        <p:txBody>
          <a:bodyPr vert="horz" lIns="0" tIns="0" rIns="0" bIns="0" rtlCol="0">
            <a:noAutofit/>
          </a:bodyPr>
          <a:lstStyle>
            <a:lvl1pPr>
              <a:defRPr lang="en-GB">
                <a:solidFill>
                  <a:schemeClr val="tx1"/>
                </a:solidFill>
                <a:latin typeface="+mn-lt"/>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r>
              <a:rPr lang="en-GB"/>
              <a:t> Delete if not required.</a:t>
            </a:r>
            <a:endParaRPr lang="en-US"/>
          </a:p>
        </p:txBody>
      </p:sp>
      <p:sp>
        <p:nvSpPr>
          <p:cNvPr id="13" name="Picture Placeholder 3">
            <a:extLst>
              <a:ext uri="{FF2B5EF4-FFF2-40B4-BE49-F238E27FC236}">
                <a16:creationId xmlns:a16="http://schemas.microsoft.com/office/drawing/2014/main" id="{84712E5D-D603-F9AE-3C3A-D37795F75238}"/>
              </a:ext>
            </a:extLst>
          </p:cNvPr>
          <p:cNvSpPr>
            <a:spLocks noGrp="1"/>
          </p:cNvSpPr>
          <p:nvPr>
            <p:ph type="pic" sz="quarter" idx="19" hasCustomPrompt="1"/>
          </p:nvPr>
        </p:nvSpPr>
        <p:spPr>
          <a:xfrm>
            <a:off x="9104313" y="1306513"/>
            <a:ext cx="2799890" cy="1906588"/>
          </a:xfrm>
          <a:solidFill>
            <a:schemeClr val="tx2"/>
          </a:solidFill>
        </p:spPr>
        <p:txBody>
          <a:bodyPr vert="horz" lIns="0" tIns="0" rIns="0" bIns="0" rtlCol="0">
            <a:noAutofit/>
          </a:bodyPr>
          <a:lstStyle>
            <a:lvl1pPr>
              <a:defRPr lang="en-GB" dirty="0">
                <a:solidFill>
                  <a:schemeClr val="tx1"/>
                </a:solidFill>
                <a:latin typeface="+mn-lt"/>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r>
              <a:rPr lang="en-GB"/>
              <a:t> Delete if not required.</a:t>
            </a:r>
            <a:endParaRPr lang="en-US"/>
          </a:p>
        </p:txBody>
      </p:sp>
      <p:sp>
        <p:nvSpPr>
          <p:cNvPr id="5" name="Text Placeholder 7">
            <a:extLst>
              <a:ext uri="{FF2B5EF4-FFF2-40B4-BE49-F238E27FC236}">
                <a16:creationId xmlns:a16="http://schemas.microsoft.com/office/drawing/2014/main" id="{19D9921F-F7C4-B7B7-7BFB-FFFA54F89ACB}"/>
              </a:ext>
            </a:extLst>
          </p:cNvPr>
          <p:cNvSpPr>
            <a:spLocks noGrp="1"/>
          </p:cNvSpPr>
          <p:nvPr>
            <p:ph type="body" sz="quarter" idx="20" hasCustomPrompt="1"/>
          </p:nvPr>
        </p:nvSpPr>
        <p:spPr>
          <a:xfrm>
            <a:off x="8124205" y="295200"/>
            <a:ext cx="3778870" cy="876375"/>
          </a:xfrm>
        </p:spPr>
        <p:txBody>
          <a:bodyPr/>
          <a:lstStyle>
            <a:lvl1pPr>
              <a:defRPr sz="1400"/>
            </a:lvl1pPr>
            <a:lvl2pPr>
              <a:defRPr sz="1400"/>
            </a:lvl2pPr>
            <a:lvl3pPr>
              <a:defRPr sz="1200"/>
            </a:lvl3pPr>
          </a:lstStyle>
          <a:p>
            <a:pPr lvl="0"/>
            <a:r>
              <a:rPr lang="en-GB"/>
              <a:t>Click to add text. Delete if not required.</a:t>
            </a:r>
          </a:p>
          <a:p>
            <a:pPr lvl="1"/>
            <a:r>
              <a:rPr lang="en-GB"/>
              <a:t>Second level</a:t>
            </a:r>
          </a:p>
          <a:p>
            <a:pPr lvl="2"/>
            <a:r>
              <a:rPr lang="en-GB"/>
              <a:t>Third level</a:t>
            </a:r>
          </a:p>
        </p:txBody>
      </p:sp>
      <p:sp>
        <p:nvSpPr>
          <p:cNvPr id="2" name="Subtitle 2">
            <a:extLst>
              <a:ext uri="{FF2B5EF4-FFF2-40B4-BE49-F238E27FC236}">
                <a16:creationId xmlns:a16="http://schemas.microsoft.com/office/drawing/2014/main" id="{A6811233-C261-B7A8-9BF5-E6DBD474B2D8}"/>
              </a:ext>
            </a:extLst>
          </p:cNvPr>
          <p:cNvSpPr>
            <a:spLocks noGrp="1"/>
          </p:cNvSpPr>
          <p:nvPr>
            <p:ph type="subTitle" idx="21"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14" name="Text Placeholder 11">
            <a:extLst>
              <a:ext uri="{FF2B5EF4-FFF2-40B4-BE49-F238E27FC236}">
                <a16:creationId xmlns:a16="http://schemas.microsoft.com/office/drawing/2014/main" id="{AB473CBC-7605-D3E8-783C-F925B286C464}"/>
              </a:ext>
            </a:extLst>
          </p:cNvPr>
          <p:cNvSpPr>
            <a:spLocks noGrp="1"/>
          </p:cNvSpPr>
          <p:nvPr>
            <p:ph type="body" sz="quarter" idx="22"/>
          </p:nvPr>
        </p:nvSpPr>
        <p:spPr>
          <a:xfrm>
            <a:off x="288925" y="3357563"/>
            <a:ext cx="2790825" cy="2408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1">
            <a:extLst>
              <a:ext uri="{FF2B5EF4-FFF2-40B4-BE49-F238E27FC236}">
                <a16:creationId xmlns:a16="http://schemas.microsoft.com/office/drawing/2014/main" id="{D5F5363E-BC98-62D0-50C8-BB47491FC9D2}"/>
              </a:ext>
            </a:extLst>
          </p:cNvPr>
          <p:cNvSpPr>
            <a:spLocks noGrp="1"/>
          </p:cNvSpPr>
          <p:nvPr>
            <p:ph type="body" sz="quarter" idx="23"/>
          </p:nvPr>
        </p:nvSpPr>
        <p:spPr>
          <a:xfrm>
            <a:off x="3233115" y="3357563"/>
            <a:ext cx="2796156" cy="2408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1">
            <a:extLst>
              <a:ext uri="{FF2B5EF4-FFF2-40B4-BE49-F238E27FC236}">
                <a16:creationId xmlns:a16="http://schemas.microsoft.com/office/drawing/2014/main" id="{2CFDC76E-CB6A-2A48-41EF-35223633C7FE}"/>
              </a:ext>
            </a:extLst>
          </p:cNvPr>
          <p:cNvSpPr>
            <a:spLocks noGrp="1"/>
          </p:cNvSpPr>
          <p:nvPr>
            <p:ph type="body" sz="quarter" idx="24"/>
          </p:nvPr>
        </p:nvSpPr>
        <p:spPr>
          <a:xfrm>
            <a:off x="6175321" y="3357563"/>
            <a:ext cx="2796156" cy="2408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1">
            <a:extLst>
              <a:ext uri="{FF2B5EF4-FFF2-40B4-BE49-F238E27FC236}">
                <a16:creationId xmlns:a16="http://schemas.microsoft.com/office/drawing/2014/main" id="{12E56C66-93E1-5486-DC8D-DDF4C1E184CC}"/>
              </a:ext>
            </a:extLst>
          </p:cNvPr>
          <p:cNvSpPr>
            <a:spLocks noGrp="1"/>
          </p:cNvSpPr>
          <p:nvPr>
            <p:ph type="body" sz="quarter" idx="25"/>
          </p:nvPr>
        </p:nvSpPr>
        <p:spPr>
          <a:xfrm>
            <a:off x="9104313" y="3357563"/>
            <a:ext cx="2800800" cy="2408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4">
            <a:extLst>
              <a:ext uri="{FF2B5EF4-FFF2-40B4-BE49-F238E27FC236}">
                <a16:creationId xmlns:a16="http://schemas.microsoft.com/office/drawing/2014/main" id="{9DCAB8AB-4C0B-7253-B5CE-B910AD2A2752}"/>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24050060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2">
    <p:bg>
      <p:bgPr>
        <a:solidFill>
          <a:srgbClr val="5E4F4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p:nvPr>
        </p:nvSpPr>
        <p:spPr>
          <a:xfrm>
            <a:off x="287338" y="266705"/>
            <a:ext cx="7693026" cy="1859099"/>
          </a:xfrm>
        </p:spPr>
        <p:txBody>
          <a:bodyPr anchor="t"/>
          <a:lstStyle>
            <a:lvl1pPr>
              <a:lnSpc>
                <a:spcPct val="80000"/>
              </a:lnSpc>
              <a:defRPr sz="7400" spc="0" baseline="0">
                <a:solidFill>
                  <a:schemeClr val="bg1"/>
                </a:solidFill>
              </a:defRPr>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895F487D-4064-92B3-E439-C4C68E6D7889}"/>
              </a:ext>
            </a:extLst>
          </p:cNvPr>
          <p:cNvSpPr>
            <a:spLocks noGrp="1"/>
          </p:cNvSpPr>
          <p:nvPr>
            <p:ph type="ftr" sz="quarter" idx="11"/>
          </p:nvPr>
        </p:nvSpPr>
        <p:spPr/>
        <p:txBody>
          <a:bodyPr/>
          <a:lstStyle>
            <a:lvl1pPr>
              <a:defRPr>
                <a:solidFill>
                  <a:schemeClr val="bg1"/>
                </a:solidFill>
              </a:defRPr>
            </a:lvl1pPr>
          </a:lstStyle>
          <a:p>
            <a:r>
              <a:rPr lang="en-US"/>
              <a:t>Job Aid and Guidance Document still under review.</a:t>
            </a:r>
            <a:endParaRPr lang="en-GB"/>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4" name="Graphic 8">
            <a:extLst>
              <a:ext uri="{FF2B5EF4-FFF2-40B4-BE49-F238E27FC236}">
                <a16:creationId xmlns:a16="http://schemas.microsoft.com/office/drawing/2014/main" id="{1BEEFE38-569A-A8EF-1D54-81764BE3F5BA}"/>
              </a:ext>
            </a:extLst>
          </p:cNvPr>
          <p:cNvSpPr>
            <a:spLocks noChangeAspect="1"/>
          </p:cNvSpPr>
          <p:nvPr userDrawn="1"/>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a:p>
        </p:txBody>
      </p:sp>
      <p:sp>
        <p:nvSpPr>
          <p:cNvPr id="3" name="Footer Placeholder 4">
            <a:extLst>
              <a:ext uri="{FF2B5EF4-FFF2-40B4-BE49-F238E27FC236}">
                <a16:creationId xmlns:a16="http://schemas.microsoft.com/office/drawing/2014/main" id="{4B482C32-A35C-8889-D0B7-486C3B364D30}"/>
              </a:ext>
            </a:extLst>
          </p:cNvPr>
          <p:cNvSpPr txBox="1">
            <a:spLocks/>
          </p:cNvSpPr>
          <p:nvPr userDrawn="1"/>
        </p:nvSpPr>
        <p:spPr>
          <a:xfrm>
            <a:off x="9772073" y="6424023"/>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0" i="0" kern="1200">
                <a:solidFill>
                  <a:schemeClr val="bg1"/>
                </a:solidFill>
                <a:latin typeface="+mn-lt"/>
                <a:ea typeface="+mn-ea"/>
                <a:cs typeface="+mn-cs"/>
              </a:rPr>
              <a:t>HEALTH CARE COMPLIANCE</a:t>
            </a:r>
          </a:p>
        </p:txBody>
      </p:sp>
    </p:spTree>
    <p:extLst>
      <p:ext uri="{BB962C8B-B14F-4D97-AF65-F5344CB8AC3E}">
        <p14:creationId xmlns:p14="http://schemas.microsoft.com/office/powerpoint/2010/main" val="181385796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821599"/>
            <a:ext cx="2793541" cy="1902675"/>
          </a:xfrm>
        </p:spPr>
        <p:txBody>
          <a:bodyPr/>
          <a:lstStyle>
            <a:lvl1pPr>
              <a:defRPr lang="en-GB" sz="1400" dirty="0" smtClean="0"/>
            </a:lvl1pPr>
            <a:lvl2pPr>
              <a:defRPr lang="en-GB" sz="1400" dirty="0" smtClean="0"/>
            </a:lvl2pPr>
            <a:lvl3pPr>
              <a:defRPr lang="en-GB" sz="1200" dirty="0" smtClean="0"/>
            </a:lvl3pPr>
            <a:lvl4pPr>
              <a:defRPr lang="en-GB" sz="1200" dirty="0" smtClean="0"/>
            </a:lvl4pPr>
            <a:lvl5pPr>
              <a:defRPr lang="en-GB" sz="8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C843A736-3CCC-0374-4B82-29356E6E54DC}"/>
              </a:ext>
            </a:extLst>
          </p:cNvPr>
          <p:cNvSpPr>
            <a:spLocks noGrp="1"/>
          </p:cNvSpPr>
          <p:nvPr>
            <p:ph idx="13"/>
          </p:nvPr>
        </p:nvSpPr>
        <p:spPr>
          <a:xfrm>
            <a:off x="6165852" y="1821599"/>
            <a:ext cx="2793542" cy="1902675"/>
          </a:xfrm>
        </p:spPr>
        <p:txBody>
          <a:bodyPr/>
          <a:lstStyle>
            <a:lvl1pPr>
              <a:defRPr lang="en-GB" sz="1400" smtClean="0"/>
            </a:lvl1pPr>
            <a:lvl2pPr>
              <a:defRPr lang="en-GB" sz="1400"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73E966BC-48D6-0237-3D83-9F8CB77DC975}"/>
              </a:ext>
            </a:extLst>
          </p:cNvPr>
          <p:cNvSpPr>
            <a:spLocks noGrp="1"/>
          </p:cNvSpPr>
          <p:nvPr>
            <p:ph idx="14"/>
          </p:nvPr>
        </p:nvSpPr>
        <p:spPr>
          <a:xfrm>
            <a:off x="3225800" y="1821599"/>
            <a:ext cx="2803525" cy="1902675"/>
          </a:xfrm>
        </p:spPr>
        <p:txBody>
          <a:bodyPr/>
          <a:lstStyle>
            <a:lvl1pPr>
              <a:defRPr lang="en-GB" sz="1400" smtClean="0"/>
            </a:lvl1pPr>
            <a:lvl2pPr>
              <a:defRPr lang="en-GB" sz="1400"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2">
            <a:extLst>
              <a:ext uri="{FF2B5EF4-FFF2-40B4-BE49-F238E27FC236}">
                <a16:creationId xmlns:a16="http://schemas.microsoft.com/office/drawing/2014/main" id="{48B10B95-D320-4FA6-98CE-883417C5DC22}"/>
              </a:ext>
            </a:extLst>
          </p:cNvPr>
          <p:cNvSpPr>
            <a:spLocks noGrp="1"/>
          </p:cNvSpPr>
          <p:nvPr>
            <p:ph idx="15"/>
          </p:nvPr>
        </p:nvSpPr>
        <p:spPr>
          <a:xfrm>
            <a:off x="9105903" y="1821599"/>
            <a:ext cx="2793997" cy="1902675"/>
          </a:xfrm>
        </p:spPr>
        <p:txBody>
          <a:bodyPr/>
          <a:lstStyle>
            <a:lvl1pPr>
              <a:defRPr lang="en-GB" sz="1400" smtClean="0"/>
            </a:lvl1pPr>
            <a:lvl2pPr>
              <a:defRPr lang="en-GB" sz="1400"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2">
            <a:extLst>
              <a:ext uri="{FF2B5EF4-FFF2-40B4-BE49-F238E27FC236}">
                <a16:creationId xmlns:a16="http://schemas.microsoft.com/office/drawing/2014/main" id="{F837F62A-0DBC-5C4E-10B1-0A4CD4ADF81F}"/>
              </a:ext>
            </a:extLst>
          </p:cNvPr>
          <p:cNvSpPr>
            <a:spLocks noGrp="1"/>
          </p:cNvSpPr>
          <p:nvPr>
            <p:ph idx="16"/>
          </p:nvPr>
        </p:nvSpPr>
        <p:spPr>
          <a:xfrm>
            <a:off x="289384" y="3871912"/>
            <a:ext cx="2793541" cy="1902673"/>
          </a:xfrm>
        </p:spPr>
        <p:txBody>
          <a:bodyPr/>
          <a:lstStyle>
            <a:lvl1pPr>
              <a:defRPr lang="en-GB" sz="1400" smtClean="0"/>
            </a:lvl1pPr>
            <a:lvl2pPr>
              <a:defRPr lang="en-GB" sz="1400"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2">
            <a:extLst>
              <a:ext uri="{FF2B5EF4-FFF2-40B4-BE49-F238E27FC236}">
                <a16:creationId xmlns:a16="http://schemas.microsoft.com/office/drawing/2014/main" id="{D19C36C2-D521-FEE7-A6AC-5710B0CDB350}"/>
              </a:ext>
            </a:extLst>
          </p:cNvPr>
          <p:cNvSpPr>
            <a:spLocks noGrp="1"/>
          </p:cNvSpPr>
          <p:nvPr>
            <p:ph idx="17"/>
          </p:nvPr>
        </p:nvSpPr>
        <p:spPr>
          <a:xfrm>
            <a:off x="6165851" y="3871912"/>
            <a:ext cx="2795588" cy="1902674"/>
          </a:xfrm>
        </p:spPr>
        <p:txBody>
          <a:bodyPr/>
          <a:lstStyle>
            <a:lvl1pPr>
              <a:defRPr lang="en-GB" sz="1400" smtClean="0"/>
            </a:lvl1pPr>
            <a:lvl2pPr>
              <a:defRPr lang="en-GB" sz="1400"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2">
            <a:extLst>
              <a:ext uri="{FF2B5EF4-FFF2-40B4-BE49-F238E27FC236}">
                <a16:creationId xmlns:a16="http://schemas.microsoft.com/office/drawing/2014/main" id="{FB6994DE-2295-D9C1-5B16-D2099A816416}"/>
              </a:ext>
            </a:extLst>
          </p:cNvPr>
          <p:cNvSpPr>
            <a:spLocks noGrp="1"/>
          </p:cNvSpPr>
          <p:nvPr>
            <p:ph idx="18"/>
          </p:nvPr>
        </p:nvSpPr>
        <p:spPr>
          <a:xfrm>
            <a:off x="3225801" y="3871912"/>
            <a:ext cx="2795588" cy="1902673"/>
          </a:xfrm>
        </p:spPr>
        <p:txBody>
          <a:bodyPr/>
          <a:lstStyle>
            <a:lvl1pPr>
              <a:defRPr lang="en-GB" sz="1400" smtClean="0"/>
            </a:lvl1pPr>
            <a:lvl2pPr>
              <a:defRPr lang="en-GB" sz="1400"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2">
            <a:extLst>
              <a:ext uri="{FF2B5EF4-FFF2-40B4-BE49-F238E27FC236}">
                <a16:creationId xmlns:a16="http://schemas.microsoft.com/office/drawing/2014/main" id="{35D14BC0-5573-6189-1430-BDA9443B2652}"/>
              </a:ext>
            </a:extLst>
          </p:cNvPr>
          <p:cNvSpPr>
            <a:spLocks noGrp="1"/>
          </p:cNvSpPr>
          <p:nvPr>
            <p:ph idx="19"/>
          </p:nvPr>
        </p:nvSpPr>
        <p:spPr>
          <a:xfrm>
            <a:off x="9104313" y="3871912"/>
            <a:ext cx="2795587" cy="1902674"/>
          </a:xfrm>
        </p:spPr>
        <p:txBody>
          <a:bodyPr/>
          <a:lstStyle>
            <a:lvl1pPr>
              <a:defRPr lang="en-GB" sz="1400" smtClean="0"/>
            </a:lvl1pPr>
            <a:lvl2pPr>
              <a:defRPr lang="en-GB" sz="1400" smtClean="0"/>
            </a:lvl2pPr>
            <a:lvl3pPr>
              <a:defRPr lang="en-GB" sz="1200" smtClean="0"/>
            </a:lvl3pPr>
            <a:lvl4pPr>
              <a:defRPr lang="en-GB" sz="1200" smtClean="0"/>
            </a:lvl4pPr>
            <a:lvl5pPr>
              <a:defRPr lang="en-GB" sz="800" b="0" i="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7">
            <a:extLst>
              <a:ext uri="{FF2B5EF4-FFF2-40B4-BE49-F238E27FC236}">
                <a16:creationId xmlns:a16="http://schemas.microsoft.com/office/drawing/2014/main" id="{18166EB3-B625-A7A5-5E35-6D81B2C4EAAA}"/>
              </a:ext>
            </a:extLst>
          </p:cNvPr>
          <p:cNvSpPr>
            <a:spLocks noGrp="1"/>
          </p:cNvSpPr>
          <p:nvPr>
            <p:ph type="body" sz="quarter" idx="20" hasCustomPrompt="1"/>
          </p:nvPr>
        </p:nvSpPr>
        <p:spPr>
          <a:xfrm>
            <a:off x="8124205" y="295200"/>
            <a:ext cx="3778870" cy="876375"/>
          </a:xfrm>
        </p:spPr>
        <p:txBody>
          <a:bodyPr/>
          <a:lstStyle>
            <a:lvl1pPr>
              <a:defRPr sz="1400"/>
            </a:lvl1pPr>
            <a:lvl2pPr>
              <a:defRPr sz="1400"/>
            </a:lvl2pPr>
            <a:lvl3pPr>
              <a:defRPr sz="1200"/>
            </a:lvl3pPr>
          </a:lstStyle>
          <a:p>
            <a:pPr lvl="0"/>
            <a:r>
              <a:rPr lang="en-GB"/>
              <a:t>Click to add text. Delete if not required.</a:t>
            </a:r>
          </a:p>
          <a:p>
            <a:pPr lvl="1"/>
            <a:r>
              <a:rPr lang="en-GB"/>
              <a:t>Second level</a:t>
            </a:r>
          </a:p>
          <a:p>
            <a:pPr lvl="2"/>
            <a:r>
              <a:rPr lang="en-GB"/>
              <a:t>Third level</a:t>
            </a:r>
          </a:p>
        </p:txBody>
      </p:sp>
      <p:sp>
        <p:nvSpPr>
          <p:cNvPr id="15" name="Title 14">
            <a:extLst>
              <a:ext uri="{FF2B5EF4-FFF2-40B4-BE49-F238E27FC236}">
                <a16:creationId xmlns:a16="http://schemas.microsoft.com/office/drawing/2014/main" id="{EC560DE3-3204-EFCC-1AF1-2D91CA826E4F}"/>
              </a:ext>
            </a:extLst>
          </p:cNvPr>
          <p:cNvSpPr>
            <a:spLocks noGrp="1"/>
          </p:cNvSpPr>
          <p:nvPr>
            <p:ph type="title"/>
          </p:nvPr>
        </p:nvSpPr>
        <p:spPr>
          <a:xfrm>
            <a:off x="288303" y="262267"/>
            <a:ext cx="6713538" cy="457818"/>
          </a:xfrm>
        </p:spPr>
        <p:txBody>
          <a:bodyPr/>
          <a:lstStyle/>
          <a:p>
            <a:r>
              <a:rPr lang="en-US"/>
              <a:t>Click to edit Master title style</a:t>
            </a:r>
            <a:endParaRPr lang="en-GB"/>
          </a:p>
        </p:txBody>
      </p:sp>
      <p:sp>
        <p:nvSpPr>
          <p:cNvPr id="2" name="Subtitle 2">
            <a:extLst>
              <a:ext uri="{FF2B5EF4-FFF2-40B4-BE49-F238E27FC236}">
                <a16:creationId xmlns:a16="http://schemas.microsoft.com/office/drawing/2014/main" id="{09115CA6-F35D-BB63-6BE4-D7293F65797E}"/>
              </a:ext>
            </a:extLst>
          </p:cNvPr>
          <p:cNvSpPr>
            <a:spLocks noGrp="1"/>
          </p:cNvSpPr>
          <p:nvPr>
            <p:ph type="subTitle" idx="21"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14" name="Footer Placeholder 4">
            <a:extLst>
              <a:ext uri="{FF2B5EF4-FFF2-40B4-BE49-F238E27FC236}">
                <a16:creationId xmlns:a16="http://schemas.microsoft.com/office/drawing/2014/main" id="{E13B6904-8EEB-8C52-41B0-27C88B555178}"/>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135512401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and Chart">
    <p:bg>
      <p:bgPr>
        <a:solidFill>
          <a:schemeClr val="tx2"/>
        </a:solidFill>
        <a:effectLst/>
      </p:bgPr>
    </p:bg>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8" name="Content Placeholder 2">
            <a:extLst>
              <a:ext uri="{FF2B5EF4-FFF2-40B4-BE49-F238E27FC236}">
                <a16:creationId xmlns:a16="http://schemas.microsoft.com/office/drawing/2014/main" id="{56A9A479-5865-E7E2-91F8-228379565FE9}"/>
              </a:ext>
            </a:extLst>
          </p:cNvPr>
          <p:cNvSpPr>
            <a:spLocks noGrp="1"/>
          </p:cNvSpPr>
          <p:nvPr>
            <p:ph idx="1"/>
          </p:nvPr>
        </p:nvSpPr>
        <p:spPr>
          <a:xfrm>
            <a:off x="289384" y="1306513"/>
            <a:ext cx="5732003" cy="44592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hart Placeholder 3">
            <a:extLst>
              <a:ext uri="{FF2B5EF4-FFF2-40B4-BE49-F238E27FC236}">
                <a16:creationId xmlns:a16="http://schemas.microsoft.com/office/drawing/2014/main" id="{538B81BC-7790-A8A7-F32D-C3F126E7C5D3}"/>
              </a:ext>
            </a:extLst>
          </p:cNvPr>
          <p:cNvSpPr>
            <a:spLocks noGrp="1"/>
          </p:cNvSpPr>
          <p:nvPr>
            <p:ph type="chart" sz="quarter" idx="15"/>
          </p:nvPr>
        </p:nvSpPr>
        <p:spPr>
          <a:xfrm>
            <a:off x="6165850" y="1306513"/>
            <a:ext cx="5737225" cy="4964112"/>
          </a:xfrm>
          <a:solidFill>
            <a:schemeClr val="bg1"/>
          </a:solidFill>
        </p:spPr>
        <p:txBody>
          <a:bodyPr/>
          <a:lstStyle/>
          <a:p>
            <a:r>
              <a:rPr lang="en-US"/>
              <a:t>Click icon to add chart</a:t>
            </a:r>
          </a:p>
        </p:txBody>
      </p:sp>
      <p:sp>
        <p:nvSpPr>
          <p:cNvPr id="11" name="Text Placeholder 3">
            <a:extLst>
              <a:ext uri="{FF2B5EF4-FFF2-40B4-BE49-F238E27FC236}">
                <a16:creationId xmlns:a16="http://schemas.microsoft.com/office/drawing/2014/main" id="{58257768-4CDB-6207-FCBD-946306C93DAD}"/>
              </a:ext>
            </a:extLst>
          </p:cNvPr>
          <p:cNvSpPr>
            <a:spLocks noGrp="1"/>
          </p:cNvSpPr>
          <p:nvPr>
            <p:ph type="body" sz="quarter" idx="14" hasCustomPrompt="1"/>
          </p:nvPr>
        </p:nvSpPr>
        <p:spPr>
          <a:xfrm>
            <a:off x="10083801" y="330199"/>
            <a:ext cx="1816100" cy="841376"/>
          </a:xfrm>
        </p:spPr>
        <p:txBody>
          <a:bodyPr/>
          <a:lstStyle>
            <a:lvl1pPr>
              <a:spcBef>
                <a:spcPts val="0"/>
              </a:spcBef>
              <a:spcAft>
                <a:spcPts val="300"/>
              </a:spcAft>
              <a:defRPr sz="800" b="0" i="0">
                <a:latin typeface="+mn-lt"/>
              </a:defRPr>
            </a:lvl1pPr>
            <a:lvl2pPr marL="93663" indent="-93663">
              <a:spcBef>
                <a:spcPts val="0"/>
              </a:spcBef>
              <a:spcAft>
                <a:spcPts val="300"/>
              </a:spcAft>
              <a:tabLst/>
              <a:defRPr sz="800" b="0" i="0">
                <a:latin typeface="+mn-lt"/>
              </a:defRPr>
            </a:lvl2pPr>
            <a:lvl3pPr marL="179388" indent="-85725">
              <a:spcBef>
                <a:spcPts val="0"/>
              </a:spcBef>
              <a:spcAft>
                <a:spcPts val="300"/>
              </a:spcAft>
              <a:tabLst/>
              <a:defRPr sz="800" b="0" i="0">
                <a:latin typeface="+mn-lt"/>
              </a:defRPr>
            </a:lvl3pPr>
            <a:lvl4pPr>
              <a:defRPr sz="1000"/>
            </a:lvl4pPr>
            <a:lvl5pPr>
              <a:defRPr sz="1000"/>
            </a:lvl5pPr>
          </a:lstStyle>
          <a:p>
            <a:pPr lvl="0"/>
            <a:r>
              <a:rPr lang="en-GB"/>
              <a:t>Click to add text. Delete if not required.</a:t>
            </a:r>
          </a:p>
          <a:p>
            <a:pPr lvl="1"/>
            <a:r>
              <a:rPr lang="en-GB"/>
              <a:t>Second level</a:t>
            </a:r>
          </a:p>
          <a:p>
            <a:pPr lvl="2"/>
            <a:r>
              <a:rPr lang="en-GB"/>
              <a:t>Third level</a:t>
            </a:r>
          </a:p>
        </p:txBody>
      </p:sp>
      <p:sp>
        <p:nvSpPr>
          <p:cNvPr id="9" name="Title 8">
            <a:extLst>
              <a:ext uri="{FF2B5EF4-FFF2-40B4-BE49-F238E27FC236}">
                <a16:creationId xmlns:a16="http://schemas.microsoft.com/office/drawing/2014/main" id="{6E77B21E-A040-7CC6-4F9B-B89C94289E89}"/>
              </a:ext>
            </a:extLst>
          </p:cNvPr>
          <p:cNvSpPr>
            <a:spLocks noGrp="1"/>
          </p:cNvSpPr>
          <p:nvPr>
            <p:ph type="title"/>
          </p:nvPr>
        </p:nvSpPr>
        <p:spPr>
          <a:xfrm>
            <a:off x="288303" y="262267"/>
            <a:ext cx="6713538" cy="457818"/>
          </a:xfrm>
        </p:spPr>
        <p:txBody>
          <a:bodyPr/>
          <a:lstStyle/>
          <a:p>
            <a:r>
              <a:rPr lang="en-US"/>
              <a:t>Click to edit Master title style</a:t>
            </a:r>
            <a:endParaRPr lang="en-GB"/>
          </a:p>
        </p:txBody>
      </p:sp>
      <p:sp>
        <p:nvSpPr>
          <p:cNvPr id="3" name="Subtitle 2">
            <a:extLst>
              <a:ext uri="{FF2B5EF4-FFF2-40B4-BE49-F238E27FC236}">
                <a16:creationId xmlns:a16="http://schemas.microsoft.com/office/drawing/2014/main" id="{F725C5CD-1985-D608-1D27-9FBC395FE641}"/>
              </a:ext>
            </a:extLst>
          </p:cNvPr>
          <p:cNvSpPr>
            <a:spLocks noGrp="1"/>
          </p:cNvSpPr>
          <p:nvPr>
            <p:ph type="subTitle" idx="16"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2" name="Footer Placeholder 4">
            <a:extLst>
              <a:ext uri="{FF2B5EF4-FFF2-40B4-BE49-F238E27FC236}">
                <a16:creationId xmlns:a16="http://schemas.microsoft.com/office/drawing/2014/main" id="{14E01DA7-F0B0-D0D7-0F82-2CEA274588EC}"/>
              </a:ext>
            </a:extLst>
          </p:cNvPr>
          <p:cNvSpPr>
            <a:spLocks noGrp="1"/>
          </p:cNvSpPr>
          <p:nvPr>
            <p:ph type="ftr" sz="quarter" idx="3"/>
          </p:nvPr>
        </p:nvSpPr>
        <p:spPr>
          <a:xfrm>
            <a:off x="288259" y="5966467"/>
            <a:ext cx="5733129"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96806733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ree Chart">
    <p:bg>
      <p:bgPr>
        <a:solidFill>
          <a:schemeClr val="tx2"/>
        </a:solidFill>
        <a:effectLst/>
      </p:bgPr>
    </p:bg>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4" name="Text Placeholder 7">
            <a:extLst>
              <a:ext uri="{FF2B5EF4-FFF2-40B4-BE49-F238E27FC236}">
                <a16:creationId xmlns:a16="http://schemas.microsoft.com/office/drawing/2014/main" id="{66A26018-CD47-11D0-838D-A1A2D71C4DE9}"/>
              </a:ext>
            </a:extLst>
          </p:cNvPr>
          <p:cNvSpPr>
            <a:spLocks noGrp="1"/>
          </p:cNvSpPr>
          <p:nvPr>
            <p:ph type="body" sz="quarter" idx="15" hasCustomPrompt="1"/>
          </p:nvPr>
        </p:nvSpPr>
        <p:spPr>
          <a:xfrm>
            <a:off x="8124205" y="293525"/>
            <a:ext cx="3778870" cy="878050"/>
          </a:xfrm>
        </p:spPr>
        <p:txBody>
          <a:bodyPr/>
          <a:lstStyle>
            <a:lvl1pPr>
              <a:defRPr sz="1400"/>
            </a:lvl1pPr>
            <a:lvl2pPr>
              <a:defRPr sz="1400"/>
            </a:lvl2pPr>
            <a:lvl3pPr>
              <a:defRPr sz="1200"/>
            </a:lvl3pPr>
          </a:lstStyle>
          <a:p>
            <a:pPr lvl="0"/>
            <a:r>
              <a:rPr lang="en-GB"/>
              <a:t>Click to add text. Delete if not required.</a:t>
            </a:r>
          </a:p>
          <a:p>
            <a:pPr lvl="1"/>
            <a:r>
              <a:rPr lang="en-GB"/>
              <a:t>Second level</a:t>
            </a:r>
          </a:p>
          <a:p>
            <a:pPr lvl="2"/>
            <a:r>
              <a:rPr lang="en-GB"/>
              <a:t>Third level</a:t>
            </a:r>
          </a:p>
        </p:txBody>
      </p:sp>
      <p:sp>
        <p:nvSpPr>
          <p:cNvPr id="11" name="Chart Placeholder 10">
            <a:extLst>
              <a:ext uri="{FF2B5EF4-FFF2-40B4-BE49-F238E27FC236}">
                <a16:creationId xmlns:a16="http://schemas.microsoft.com/office/drawing/2014/main" id="{698C230B-5408-E1A5-CFA9-2F383131120D}"/>
              </a:ext>
            </a:extLst>
          </p:cNvPr>
          <p:cNvSpPr>
            <a:spLocks noGrp="1"/>
          </p:cNvSpPr>
          <p:nvPr>
            <p:ph type="chart" sz="quarter" idx="16"/>
          </p:nvPr>
        </p:nvSpPr>
        <p:spPr>
          <a:xfrm>
            <a:off x="292100" y="1306512"/>
            <a:ext cx="3770313" cy="3440113"/>
          </a:xfrm>
          <a:solidFill>
            <a:schemeClr val="bg1"/>
          </a:solidFill>
        </p:spPr>
        <p:txBody>
          <a:bodyPr/>
          <a:lstStyle/>
          <a:p>
            <a:r>
              <a:rPr lang="en-US"/>
              <a:t>Click icon to add chart</a:t>
            </a:r>
          </a:p>
        </p:txBody>
      </p:sp>
      <p:sp>
        <p:nvSpPr>
          <p:cNvPr id="12" name="Text Placeholder 7">
            <a:extLst>
              <a:ext uri="{FF2B5EF4-FFF2-40B4-BE49-F238E27FC236}">
                <a16:creationId xmlns:a16="http://schemas.microsoft.com/office/drawing/2014/main" id="{6BA18FE4-4638-2816-D5EB-4ABC0612973F}"/>
              </a:ext>
            </a:extLst>
          </p:cNvPr>
          <p:cNvSpPr>
            <a:spLocks noGrp="1"/>
          </p:cNvSpPr>
          <p:nvPr>
            <p:ph type="body" sz="quarter" idx="17" hasCustomPrompt="1"/>
          </p:nvPr>
        </p:nvSpPr>
        <p:spPr>
          <a:xfrm>
            <a:off x="291480" y="4894903"/>
            <a:ext cx="3770934" cy="876300"/>
          </a:xfrm>
        </p:spPr>
        <p:txBody>
          <a:bodyPr/>
          <a:lstStyle>
            <a:lvl1pPr>
              <a:defRPr sz="1200"/>
            </a:lvl1pPr>
            <a:lvl2pPr>
              <a:defRPr sz="1200"/>
            </a:lvl2pPr>
            <a:lvl3pPr>
              <a:defRPr sz="1100"/>
            </a:lvl3pPr>
          </a:lstStyle>
          <a:p>
            <a:pPr lvl="0"/>
            <a:r>
              <a:rPr lang="en-GB"/>
              <a:t>Click to add text. Delete if not required.</a:t>
            </a:r>
          </a:p>
          <a:p>
            <a:pPr lvl="1"/>
            <a:r>
              <a:rPr lang="en-GB"/>
              <a:t>Second level</a:t>
            </a:r>
          </a:p>
          <a:p>
            <a:pPr lvl="2"/>
            <a:r>
              <a:rPr lang="en-GB"/>
              <a:t>Third level</a:t>
            </a:r>
          </a:p>
        </p:txBody>
      </p:sp>
      <p:sp>
        <p:nvSpPr>
          <p:cNvPr id="13" name="Chart Placeholder 10">
            <a:extLst>
              <a:ext uri="{FF2B5EF4-FFF2-40B4-BE49-F238E27FC236}">
                <a16:creationId xmlns:a16="http://schemas.microsoft.com/office/drawing/2014/main" id="{446A3E25-507C-4190-4950-DA0C712EB336}"/>
              </a:ext>
            </a:extLst>
          </p:cNvPr>
          <p:cNvSpPr>
            <a:spLocks noGrp="1"/>
          </p:cNvSpPr>
          <p:nvPr>
            <p:ph type="chart" sz="quarter" idx="18"/>
          </p:nvPr>
        </p:nvSpPr>
        <p:spPr>
          <a:xfrm>
            <a:off x="4206875" y="1306513"/>
            <a:ext cx="3775076" cy="3440112"/>
          </a:xfrm>
          <a:solidFill>
            <a:schemeClr val="bg1"/>
          </a:solidFill>
        </p:spPr>
        <p:txBody>
          <a:bodyPr/>
          <a:lstStyle/>
          <a:p>
            <a:r>
              <a:rPr lang="en-US"/>
              <a:t>Click icon to add chart</a:t>
            </a:r>
          </a:p>
        </p:txBody>
      </p:sp>
      <p:sp>
        <p:nvSpPr>
          <p:cNvPr id="14" name="Text Placeholder 7">
            <a:extLst>
              <a:ext uri="{FF2B5EF4-FFF2-40B4-BE49-F238E27FC236}">
                <a16:creationId xmlns:a16="http://schemas.microsoft.com/office/drawing/2014/main" id="{DDD2F21A-FE62-6E81-6F5B-9A76691ED2EE}"/>
              </a:ext>
            </a:extLst>
          </p:cNvPr>
          <p:cNvSpPr>
            <a:spLocks noGrp="1"/>
          </p:cNvSpPr>
          <p:nvPr>
            <p:ph type="body" sz="quarter" idx="19" hasCustomPrompt="1"/>
          </p:nvPr>
        </p:nvSpPr>
        <p:spPr>
          <a:xfrm>
            <a:off x="4206874" y="4894903"/>
            <a:ext cx="3775076" cy="876300"/>
          </a:xfrm>
        </p:spPr>
        <p:txBody>
          <a:bodyPr/>
          <a:lstStyle>
            <a:lvl1pPr>
              <a:defRPr sz="1200"/>
            </a:lvl1pPr>
            <a:lvl2pPr>
              <a:defRPr sz="1200"/>
            </a:lvl2pPr>
            <a:lvl3pPr>
              <a:defRPr sz="1100"/>
            </a:lvl3pPr>
          </a:lstStyle>
          <a:p>
            <a:pPr lvl="0"/>
            <a:r>
              <a:rPr lang="en-GB"/>
              <a:t>Click to add text. Delete if not required.</a:t>
            </a:r>
          </a:p>
          <a:p>
            <a:pPr lvl="1"/>
            <a:r>
              <a:rPr lang="en-GB"/>
              <a:t>Second level</a:t>
            </a:r>
          </a:p>
          <a:p>
            <a:pPr lvl="2"/>
            <a:r>
              <a:rPr lang="en-GB"/>
              <a:t>Third level</a:t>
            </a:r>
          </a:p>
        </p:txBody>
      </p:sp>
      <p:sp>
        <p:nvSpPr>
          <p:cNvPr id="15" name="Chart Placeholder 10">
            <a:extLst>
              <a:ext uri="{FF2B5EF4-FFF2-40B4-BE49-F238E27FC236}">
                <a16:creationId xmlns:a16="http://schemas.microsoft.com/office/drawing/2014/main" id="{94EF43E1-5534-96EF-52FD-3CD0B7B21E71}"/>
              </a:ext>
            </a:extLst>
          </p:cNvPr>
          <p:cNvSpPr>
            <a:spLocks noGrp="1"/>
          </p:cNvSpPr>
          <p:nvPr>
            <p:ph type="chart" sz="quarter" idx="20"/>
          </p:nvPr>
        </p:nvSpPr>
        <p:spPr>
          <a:xfrm>
            <a:off x="8124825" y="1306512"/>
            <a:ext cx="3770313" cy="3440113"/>
          </a:xfrm>
          <a:solidFill>
            <a:schemeClr val="bg1"/>
          </a:solidFill>
        </p:spPr>
        <p:txBody>
          <a:bodyPr/>
          <a:lstStyle/>
          <a:p>
            <a:r>
              <a:rPr lang="en-US"/>
              <a:t>Click icon to add chart</a:t>
            </a:r>
          </a:p>
        </p:txBody>
      </p:sp>
      <p:sp>
        <p:nvSpPr>
          <p:cNvPr id="16" name="Text Placeholder 7">
            <a:extLst>
              <a:ext uri="{FF2B5EF4-FFF2-40B4-BE49-F238E27FC236}">
                <a16:creationId xmlns:a16="http://schemas.microsoft.com/office/drawing/2014/main" id="{074660EF-5B4C-59FD-5DE9-C6AEEC3EA783}"/>
              </a:ext>
            </a:extLst>
          </p:cNvPr>
          <p:cNvSpPr>
            <a:spLocks noGrp="1"/>
          </p:cNvSpPr>
          <p:nvPr>
            <p:ph type="body" sz="quarter" idx="21" hasCustomPrompt="1"/>
          </p:nvPr>
        </p:nvSpPr>
        <p:spPr>
          <a:xfrm>
            <a:off x="8124205" y="4894903"/>
            <a:ext cx="3770934" cy="876300"/>
          </a:xfrm>
        </p:spPr>
        <p:txBody>
          <a:bodyPr/>
          <a:lstStyle>
            <a:lvl1pPr>
              <a:defRPr sz="1200"/>
            </a:lvl1pPr>
            <a:lvl2pPr>
              <a:defRPr sz="1200"/>
            </a:lvl2pPr>
            <a:lvl3pPr>
              <a:defRPr sz="1100"/>
            </a:lvl3pPr>
          </a:lstStyle>
          <a:p>
            <a:pPr lvl="0"/>
            <a:r>
              <a:rPr lang="en-GB"/>
              <a:t>Click to add text. Delete if not required.</a:t>
            </a:r>
          </a:p>
          <a:p>
            <a:pPr lvl="1"/>
            <a:r>
              <a:rPr lang="en-GB"/>
              <a:t>Second level</a:t>
            </a:r>
          </a:p>
          <a:p>
            <a:pPr lvl="2"/>
            <a:r>
              <a:rPr lang="en-GB"/>
              <a:t>Third level</a:t>
            </a:r>
          </a:p>
        </p:txBody>
      </p:sp>
      <p:sp>
        <p:nvSpPr>
          <p:cNvPr id="9" name="Title 8">
            <a:extLst>
              <a:ext uri="{FF2B5EF4-FFF2-40B4-BE49-F238E27FC236}">
                <a16:creationId xmlns:a16="http://schemas.microsoft.com/office/drawing/2014/main" id="{5FD82D33-FC73-4137-A0A9-8EB43DA1A810}"/>
              </a:ext>
            </a:extLst>
          </p:cNvPr>
          <p:cNvSpPr>
            <a:spLocks noGrp="1"/>
          </p:cNvSpPr>
          <p:nvPr>
            <p:ph type="title"/>
          </p:nvPr>
        </p:nvSpPr>
        <p:spPr>
          <a:xfrm>
            <a:off x="288303" y="262267"/>
            <a:ext cx="6713538" cy="457818"/>
          </a:xfrm>
        </p:spPr>
        <p:txBody>
          <a:bodyPr/>
          <a:lstStyle/>
          <a:p>
            <a:r>
              <a:rPr lang="en-US"/>
              <a:t>Click to edit Master title style</a:t>
            </a:r>
            <a:endParaRPr lang="en-GB"/>
          </a:p>
        </p:txBody>
      </p:sp>
      <p:sp>
        <p:nvSpPr>
          <p:cNvPr id="3" name="Subtitle 2">
            <a:extLst>
              <a:ext uri="{FF2B5EF4-FFF2-40B4-BE49-F238E27FC236}">
                <a16:creationId xmlns:a16="http://schemas.microsoft.com/office/drawing/2014/main" id="{EA959997-A6D7-96D1-8672-5FCDE45DB7B3}"/>
              </a:ext>
            </a:extLst>
          </p:cNvPr>
          <p:cNvSpPr>
            <a:spLocks noGrp="1"/>
          </p:cNvSpPr>
          <p:nvPr>
            <p:ph type="subTitle" idx="22"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2" name="Footer Placeholder 4">
            <a:extLst>
              <a:ext uri="{FF2B5EF4-FFF2-40B4-BE49-F238E27FC236}">
                <a16:creationId xmlns:a16="http://schemas.microsoft.com/office/drawing/2014/main" id="{FBE4CD19-6DA9-A930-91EE-59CB48D45E41}"/>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152623101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10" name="Table Placeholder 5">
            <a:extLst>
              <a:ext uri="{FF2B5EF4-FFF2-40B4-BE49-F238E27FC236}">
                <a16:creationId xmlns:a16="http://schemas.microsoft.com/office/drawing/2014/main" id="{AA00D851-11FE-02AE-0FE0-9A7CAC67EF7D}"/>
              </a:ext>
            </a:extLst>
          </p:cNvPr>
          <p:cNvSpPr>
            <a:spLocks noGrp="1"/>
          </p:cNvSpPr>
          <p:nvPr>
            <p:ph type="tbl" sz="quarter" idx="13"/>
          </p:nvPr>
        </p:nvSpPr>
        <p:spPr>
          <a:xfrm>
            <a:off x="292100" y="2847975"/>
            <a:ext cx="11610975" cy="2917825"/>
          </a:xfrm>
        </p:spPr>
        <p:txBody>
          <a:bodyPr/>
          <a:lstStyle/>
          <a:p>
            <a:r>
              <a:rPr lang="en-US"/>
              <a:t>Click icon to add table</a:t>
            </a:r>
            <a:endParaRPr lang="en-GB"/>
          </a:p>
        </p:txBody>
      </p:sp>
      <p:sp>
        <p:nvSpPr>
          <p:cNvPr id="3" name="Title 2">
            <a:extLst>
              <a:ext uri="{FF2B5EF4-FFF2-40B4-BE49-F238E27FC236}">
                <a16:creationId xmlns:a16="http://schemas.microsoft.com/office/drawing/2014/main" id="{2CDD0AA4-DA06-999E-8621-24713C5D3AF7}"/>
              </a:ext>
            </a:extLst>
          </p:cNvPr>
          <p:cNvSpPr>
            <a:spLocks noGrp="1"/>
          </p:cNvSpPr>
          <p:nvPr>
            <p:ph type="title"/>
          </p:nvPr>
        </p:nvSpPr>
        <p:spPr>
          <a:xfrm>
            <a:off x="288303" y="262267"/>
            <a:ext cx="6713538" cy="457818"/>
          </a:xfrm>
        </p:spPr>
        <p:txBody>
          <a:bodyPr/>
          <a:lstStyle/>
          <a:p>
            <a:r>
              <a:rPr lang="en-US"/>
              <a:t>Click to edit Master title style</a:t>
            </a:r>
            <a:endParaRPr lang="en-GB"/>
          </a:p>
        </p:txBody>
      </p:sp>
      <p:sp>
        <p:nvSpPr>
          <p:cNvPr id="4" name="Text Placeholder 7">
            <a:extLst>
              <a:ext uri="{FF2B5EF4-FFF2-40B4-BE49-F238E27FC236}">
                <a16:creationId xmlns:a16="http://schemas.microsoft.com/office/drawing/2014/main" id="{AF1CADF7-2181-199A-E8E5-8BFDAFCB655B}"/>
              </a:ext>
            </a:extLst>
          </p:cNvPr>
          <p:cNvSpPr>
            <a:spLocks noGrp="1"/>
          </p:cNvSpPr>
          <p:nvPr>
            <p:ph type="body" sz="quarter" idx="15" hasCustomPrompt="1"/>
          </p:nvPr>
        </p:nvSpPr>
        <p:spPr>
          <a:xfrm>
            <a:off x="8124205" y="293525"/>
            <a:ext cx="3778870" cy="878050"/>
          </a:xfrm>
        </p:spPr>
        <p:txBody>
          <a:bodyPr/>
          <a:lstStyle>
            <a:lvl1pPr>
              <a:defRPr sz="1400"/>
            </a:lvl1pPr>
            <a:lvl2pPr>
              <a:defRPr sz="1400"/>
            </a:lvl2pPr>
            <a:lvl3pPr>
              <a:defRPr sz="1200"/>
            </a:lvl3pPr>
          </a:lstStyle>
          <a:p>
            <a:pPr lvl="0"/>
            <a:r>
              <a:rPr lang="en-GB"/>
              <a:t>Click to add text. Delete if not required.</a:t>
            </a:r>
          </a:p>
          <a:p>
            <a:pPr lvl="1"/>
            <a:r>
              <a:rPr lang="en-GB"/>
              <a:t>Second level</a:t>
            </a:r>
          </a:p>
          <a:p>
            <a:pPr lvl="2"/>
            <a:r>
              <a:rPr lang="en-GB"/>
              <a:t>Third level</a:t>
            </a:r>
          </a:p>
        </p:txBody>
      </p:sp>
      <p:sp>
        <p:nvSpPr>
          <p:cNvPr id="5" name="Subtitle 2">
            <a:extLst>
              <a:ext uri="{FF2B5EF4-FFF2-40B4-BE49-F238E27FC236}">
                <a16:creationId xmlns:a16="http://schemas.microsoft.com/office/drawing/2014/main" id="{4BE7CDC5-71B1-1F0B-9FBF-16B0C3648775}"/>
              </a:ext>
            </a:extLst>
          </p:cNvPr>
          <p:cNvSpPr>
            <a:spLocks noGrp="1"/>
          </p:cNvSpPr>
          <p:nvPr>
            <p:ph type="subTitle" idx="16"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6" name="Footer Placeholder 4">
            <a:extLst>
              <a:ext uri="{FF2B5EF4-FFF2-40B4-BE49-F238E27FC236}">
                <a16:creationId xmlns:a16="http://schemas.microsoft.com/office/drawing/2014/main" id="{60F27FF6-CF7D-B29E-40F2-BF449AACF4A2}"/>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
        <p:nvSpPr>
          <p:cNvPr id="7" name="Slide Number Placeholder 5">
            <a:extLst>
              <a:ext uri="{FF2B5EF4-FFF2-40B4-BE49-F238E27FC236}">
                <a16:creationId xmlns:a16="http://schemas.microsoft.com/office/drawing/2014/main" id="{6FCDADD7-2ADE-F7A6-3ACF-DBB0741F7796}"/>
              </a:ext>
            </a:extLst>
          </p:cNvPr>
          <p:cNvSpPr>
            <a:spLocks noGrp="1"/>
          </p:cNvSpPr>
          <p:nvPr>
            <p:ph type="sldNum" sz="quarter" idx="12"/>
          </p:nvPr>
        </p:nvSpPr>
        <p:spPr>
          <a:xfrm>
            <a:off x="11581942" y="6433878"/>
            <a:ext cx="320674" cy="153463"/>
          </a:xfrm>
        </p:spPr>
        <p:txBody>
          <a:bodyPr/>
          <a:lstStyle/>
          <a:p>
            <a:fld id="{AEC8D767-5246-2244-A4A3-B8AFB218393C}" type="slidenum">
              <a:rPr lang="en-GB" smtClean="0"/>
              <a:t>‹#›</a:t>
            </a:fld>
            <a:endParaRPr lang="en-GB"/>
          </a:p>
        </p:txBody>
      </p:sp>
    </p:spTree>
    <p:extLst>
      <p:ext uri="{BB962C8B-B14F-4D97-AF65-F5344CB8AC3E}">
        <p14:creationId xmlns:p14="http://schemas.microsoft.com/office/powerpoint/2010/main" val="289841679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Text Placeholder 7">
            <a:extLst>
              <a:ext uri="{FF2B5EF4-FFF2-40B4-BE49-F238E27FC236}">
                <a16:creationId xmlns:a16="http://schemas.microsoft.com/office/drawing/2014/main" id="{17F42810-DCAF-7A30-3A4F-E23EA682FA39}"/>
              </a:ext>
            </a:extLst>
          </p:cNvPr>
          <p:cNvSpPr>
            <a:spLocks noGrp="1"/>
          </p:cNvSpPr>
          <p:nvPr>
            <p:ph type="body" sz="quarter" idx="14" hasCustomPrompt="1"/>
          </p:nvPr>
        </p:nvSpPr>
        <p:spPr>
          <a:xfrm>
            <a:off x="8124825" y="293525"/>
            <a:ext cx="3778250" cy="878050"/>
          </a:xfrm>
        </p:spPr>
        <p:txBody>
          <a:bodyPr/>
          <a:lstStyle>
            <a:lvl1pPr>
              <a:defRPr sz="1400"/>
            </a:lvl1pPr>
            <a:lvl2pPr>
              <a:defRPr sz="1400"/>
            </a:lvl2pPr>
            <a:lvl3pPr>
              <a:defRPr sz="1200"/>
            </a:lvl3pPr>
          </a:lstStyle>
          <a:p>
            <a:pPr lvl="0"/>
            <a:r>
              <a:rPr lang="en-GB"/>
              <a:t>Click to add text. Delete if not required.</a:t>
            </a:r>
          </a:p>
          <a:p>
            <a:pPr lvl="1"/>
            <a:r>
              <a:rPr lang="en-GB"/>
              <a:t>Second level</a:t>
            </a:r>
          </a:p>
          <a:p>
            <a:pPr lvl="2"/>
            <a:r>
              <a:rPr lang="en-GB"/>
              <a:t>Third level</a:t>
            </a:r>
          </a:p>
        </p:txBody>
      </p:sp>
      <p:sp>
        <p:nvSpPr>
          <p:cNvPr id="7" name="Title 6">
            <a:extLst>
              <a:ext uri="{FF2B5EF4-FFF2-40B4-BE49-F238E27FC236}">
                <a16:creationId xmlns:a16="http://schemas.microsoft.com/office/drawing/2014/main" id="{5373482F-4FA8-181D-CA6D-04D8D98AD13B}"/>
              </a:ext>
            </a:extLst>
          </p:cNvPr>
          <p:cNvSpPr>
            <a:spLocks noGrp="1"/>
          </p:cNvSpPr>
          <p:nvPr>
            <p:ph type="title"/>
          </p:nvPr>
        </p:nvSpPr>
        <p:spPr>
          <a:xfrm>
            <a:off x="288303" y="262267"/>
            <a:ext cx="6713538" cy="457818"/>
          </a:xfrm>
        </p:spPr>
        <p:txBody>
          <a:bodyPr/>
          <a:lstStyle/>
          <a:p>
            <a:r>
              <a:rPr lang="en-US"/>
              <a:t>Click to edit Master title style</a:t>
            </a:r>
            <a:endParaRPr lang="en-GB"/>
          </a:p>
        </p:txBody>
      </p:sp>
      <p:sp>
        <p:nvSpPr>
          <p:cNvPr id="6" name="Subtitle 2">
            <a:extLst>
              <a:ext uri="{FF2B5EF4-FFF2-40B4-BE49-F238E27FC236}">
                <a16:creationId xmlns:a16="http://schemas.microsoft.com/office/drawing/2014/main" id="{64BCB963-058E-5C5B-947F-AC1D9DD6C9FB}"/>
              </a:ext>
            </a:extLst>
          </p:cNvPr>
          <p:cNvSpPr>
            <a:spLocks noGrp="1"/>
          </p:cNvSpPr>
          <p:nvPr>
            <p:ph type="subTitle" idx="16" hasCustomPrompt="1"/>
          </p:nvPr>
        </p:nvSpPr>
        <p:spPr>
          <a:xfrm>
            <a:off x="288302" y="713620"/>
            <a:ext cx="6713538"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2" name="Footer Placeholder 4">
            <a:extLst>
              <a:ext uri="{FF2B5EF4-FFF2-40B4-BE49-F238E27FC236}">
                <a16:creationId xmlns:a16="http://schemas.microsoft.com/office/drawing/2014/main" id="{B4313EC1-0D30-C944-21E6-B89F8290D2D3}"/>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201476267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BF06E5F-8043-3DC0-2D79-119BF990830B}"/>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2" name="Footer Placeholder 4">
            <a:extLst>
              <a:ext uri="{FF2B5EF4-FFF2-40B4-BE49-F238E27FC236}">
                <a16:creationId xmlns:a16="http://schemas.microsoft.com/office/drawing/2014/main" id="{876A8E91-3BCB-12F2-1699-CC1C3768018F}"/>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385950868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0" y="0"/>
            <a:ext cx="12192000" cy="6858000"/>
          </a:xfrm>
          <a:solidFill>
            <a:schemeClr val="tx2"/>
          </a:solidFill>
        </p:spPr>
        <p:txBody>
          <a:bodyPr vert="horz" lIns="0" tIns="0" rIns="0" bIns="0" rtlCol="0" anchor="ctr">
            <a:noAutofit/>
          </a:bodyPr>
          <a:lstStyle>
            <a:lvl1pPr algn="ct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 If using a title or subtitle over the image, ensure the text is legible.</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Title 2">
            <a:extLst>
              <a:ext uri="{FF2B5EF4-FFF2-40B4-BE49-F238E27FC236}">
                <a16:creationId xmlns:a16="http://schemas.microsoft.com/office/drawing/2014/main" id="{10079C00-CC52-F9ED-ED36-A8FC0573506A}"/>
              </a:ext>
            </a:extLst>
          </p:cNvPr>
          <p:cNvSpPr>
            <a:spLocks noGrp="1"/>
          </p:cNvSpPr>
          <p:nvPr>
            <p:ph type="title" hasCustomPrompt="1"/>
          </p:nvPr>
        </p:nvSpPr>
        <p:spPr>
          <a:xfrm>
            <a:off x="288303" y="262267"/>
            <a:ext cx="10632110" cy="468590"/>
          </a:xfrm>
        </p:spPr>
        <p:txBody>
          <a:bodyPr/>
          <a:lstStyle>
            <a:lvl1pPr>
              <a:defRPr>
                <a:solidFill>
                  <a:schemeClr val="tx1"/>
                </a:solidFill>
              </a:defRPr>
            </a:lvl1pPr>
          </a:lstStyle>
          <a:p>
            <a:r>
              <a:rPr lang="en-GB"/>
              <a:t>Click to add title. Black or white text only.</a:t>
            </a:r>
            <a:endParaRPr lang="en-US"/>
          </a:p>
        </p:txBody>
      </p:sp>
      <p:sp>
        <p:nvSpPr>
          <p:cNvPr id="7" name="Subtitle 2">
            <a:extLst>
              <a:ext uri="{FF2B5EF4-FFF2-40B4-BE49-F238E27FC236}">
                <a16:creationId xmlns:a16="http://schemas.microsoft.com/office/drawing/2014/main" id="{295A4114-449A-5D28-03F8-03221E42A657}"/>
              </a:ext>
            </a:extLst>
          </p:cNvPr>
          <p:cNvSpPr>
            <a:spLocks noGrp="1"/>
          </p:cNvSpPr>
          <p:nvPr>
            <p:ph type="subTitle" idx="16" hasCustomPrompt="1"/>
          </p:nvPr>
        </p:nvSpPr>
        <p:spPr>
          <a:xfrm>
            <a:off x="288301" y="713620"/>
            <a:ext cx="10632109" cy="292965"/>
          </a:xfrm>
        </p:spPr>
        <p:txBody>
          <a:bodyPr vert="horz" wrap="square" lIns="0" tIns="0" rIns="0" bIns="0" rtlCol="0" anchor="t">
            <a:spAutoFit/>
          </a:bodyPr>
          <a:lstStyle>
            <a:lvl1pPr>
              <a:defRPr lang="en-GB" b="1" dirty="0"/>
            </a:lvl1pPr>
          </a:lstStyle>
          <a:p>
            <a:pPr lvl="0"/>
            <a:r>
              <a:rPr lang="en-GB"/>
              <a:t>Subtitle. Delete if not required.</a:t>
            </a:r>
          </a:p>
        </p:txBody>
      </p:sp>
    </p:spTree>
    <p:extLst>
      <p:ext uri="{BB962C8B-B14F-4D97-AF65-F5344CB8AC3E}">
        <p14:creationId xmlns:p14="http://schemas.microsoft.com/office/powerpoint/2010/main" val="326475046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mage and Captio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3225800" y="0"/>
            <a:ext cx="8966200" cy="6858000"/>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7"/>
            <a:ext cx="2793541" cy="3932237"/>
          </a:xfrm>
        </p:spPr>
        <p:txBody>
          <a:bodyPr/>
          <a:lstStyle/>
          <a:p>
            <a:pPr lvl="0"/>
            <a:r>
              <a:rPr lang="en-GB"/>
              <a:t>Click to add text – delete if not required</a:t>
            </a:r>
          </a:p>
          <a:p>
            <a:pPr lvl="1"/>
            <a:r>
              <a:rPr lang="en-GB"/>
              <a:t>Second level</a:t>
            </a:r>
          </a:p>
          <a:p>
            <a:pPr lvl="2"/>
            <a:r>
              <a:rPr lang="en-GB"/>
              <a:t>Third level</a:t>
            </a:r>
          </a:p>
          <a:p>
            <a:pPr lvl="3"/>
            <a:r>
              <a:rPr lang="en-GB"/>
              <a:t>Fourth level</a:t>
            </a:r>
          </a:p>
          <a:p>
            <a:pPr lvl="4"/>
            <a:r>
              <a:rPr lang="en-GB"/>
              <a:t>Fifth level</a:t>
            </a:r>
          </a:p>
        </p:txBody>
      </p:sp>
      <p:sp>
        <p:nvSpPr>
          <p:cNvPr id="2" name="Title 1">
            <a:extLst>
              <a:ext uri="{FF2B5EF4-FFF2-40B4-BE49-F238E27FC236}">
                <a16:creationId xmlns:a16="http://schemas.microsoft.com/office/drawing/2014/main" id="{52A37889-B558-B868-1094-BA62A7B3E70A}"/>
              </a:ext>
            </a:extLst>
          </p:cNvPr>
          <p:cNvSpPr>
            <a:spLocks noGrp="1"/>
          </p:cNvSpPr>
          <p:nvPr>
            <p:ph type="title"/>
          </p:nvPr>
        </p:nvSpPr>
        <p:spPr>
          <a:xfrm>
            <a:off x="288303" y="262800"/>
            <a:ext cx="2793541" cy="1934833"/>
          </a:xfrm>
        </p:spPr>
        <p:txBody>
          <a:bodyPr/>
          <a:lstStyle/>
          <a:p>
            <a:r>
              <a:rPr lang="en-US"/>
              <a:t>Click to edit Master title style</a:t>
            </a:r>
            <a:endParaRPr lang="en-GB"/>
          </a:p>
        </p:txBody>
      </p:sp>
    </p:spTree>
    <p:extLst>
      <p:ext uri="{BB962C8B-B14F-4D97-AF65-F5344CB8AC3E}">
        <p14:creationId xmlns:p14="http://schemas.microsoft.com/office/powerpoint/2010/main" val="257943493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6170614" y="0"/>
            <a:ext cx="6021385" cy="6858000"/>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7"/>
            <a:ext cx="5732003" cy="3932237"/>
          </a:xfrm>
        </p:spPr>
        <p:txBody>
          <a:body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7" name="Subtitle 2">
            <a:extLst>
              <a:ext uri="{FF2B5EF4-FFF2-40B4-BE49-F238E27FC236}">
                <a16:creationId xmlns:a16="http://schemas.microsoft.com/office/drawing/2014/main" id="{42BB7518-D6BA-C538-D249-365B42C98C35}"/>
              </a:ext>
            </a:extLst>
          </p:cNvPr>
          <p:cNvSpPr>
            <a:spLocks noGrp="1"/>
          </p:cNvSpPr>
          <p:nvPr>
            <p:ph type="subTitle" idx="16" hasCustomPrompt="1"/>
          </p:nvPr>
        </p:nvSpPr>
        <p:spPr>
          <a:xfrm>
            <a:off x="288302" y="713620"/>
            <a:ext cx="5732003"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9" name="Title 8">
            <a:extLst>
              <a:ext uri="{FF2B5EF4-FFF2-40B4-BE49-F238E27FC236}">
                <a16:creationId xmlns:a16="http://schemas.microsoft.com/office/drawing/2014/main" id="{80AE2DF2-849C-72E8-013B-74CCFF6C4882}"/>
              </a:ext>
            </a:extLst>
          </p:cNvPr>
          <p:cNvSpPr>
            <a:spLocks noGrp="1"/>
          </p:cNvSpPr>
          <p:nvPr>
            <p:ph type="title" hasCustomPrompt="1"/>
          </p:nvPr>
        </p:nvSpPr>
        <p:spPr>
          <a:xfrm>
            <a:off x="288303" y="262267"/>
            <a:ext cx="5732002" cy="468590"/>
          </a:xfrm>
        </p:spPr>
        <p:txBody>
          <a:bodyPr/>
          <a:lstStyle/>
          <a:p>
            <a:r>
              <a:rPr lang="en-GB"/>
              <a:t>Master title style</a:t>
            </a:r>
          </a:p>
        </p:txBody>
      </p:sp>
    </p:spTree>
    <p:extLst>
      <p:ext uri="{BB962C8B-B14F-4D97-AF65-F5344CB8AC3E}">
        <p14:creationId xmlns:p14="http://schemas.microsoft.com/office/powerpoint/2010/main" val="402696018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Image and Content Right S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0" y="0"/>
            <a:ext cx="6021385" cy="6858000"/>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6321758" y="4376738"/>
            <a:ext cx="5580856" cy="1893886"/>
          </a:xfrm>
        </p:spPr>
        <p:txBody>
          <a:bodyPr/>
          <a:lstStyle>
            <a:lvl1pPr>
              <a:defRPr lang="en-GB" dirty="0" smtClean="0"/>
            </a:lvl1pPr>
            <a:lvl2pPr>
              <a:defRPr lang="en-GB" dirty="0" smtClean="0"/>
            </a:lvl2pPr>
            <a:lvl3pPr>
              <a:defRPr lang="en-GB" dirty="0" smtClean="0"/>
            </a:lvl3pPr>
            <a:lvl4pPr>
              <a:defRPr lang="en-GB" dirty="0" smtClean="0"/>
            </a:lvl4pPr>
            <a:lvl5pPr>
              <a:defRPr lang="en-GB" dirty="0"/>
            </a:lvl5p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7" name="Title 6">
            <a:extLst>
              <a:ext uri="{FF2B5EF4-FFF2-40B4-BE49-F238E27FC236}">
                <a16:creationId xmlns:a16="http://schemas.microsoft.com/office/drawing/2014/main" id="{57139A87-57BC-3EA5-1A50-C7A9DA1DB2C1}"/>
              </a:ext>
            </a:extLst>
          </p:cNvPr>
          <p:cNvSpPr>
            <a:spLocks noGrp="1"/>
          </p:cNvSpPr>
          <p:nvPr>
            <p:ph type="title"/>
          </p:nvPr>
        </p:nvSpPr>
        <p:spPr>
          <a:xfrm>
            <a:off x="6323798" y="279525"/>
            <a:ext cx="5578817" cy="2733056"/>
          </a:xfrm>
        </p:spPr>
        <p:txBody>
          <a:bodyPr/>
          <a:lstStyle>
            <a:lvl1pPr>
              <a:lnSpc>
                <a:spcPct val="80000"/>
              </a:lnSpc>
              <a:defRPr sz="7400"/>
            </a:lvl1pPr>
          </a:lstStyle>
          <a:p>
            <a:r>
              <a:rPr lang="en-US"/>
              <a:t>Click to edit Master title style</a:t>
            </a:r>
          </a:p>
        </p:txBody>
      </p:sp>
    </p:spTree>
    <p:extLst>
      <p:ext uri="{BB962C8B-B14F-4D97-AF65-F5344CB8AC3E}">
        <p14:creationId xmlns:p14="http://schemas.microsoft.com/office/powerpoint/2010/main" val="11459058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Imag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B8AD4-5298-7DA9-DDAD-3AB53AF2F9F5}"/>
              </a:ext>
            </a:extLst>
          </p:cNvPr>
          <p:cNvSpPr>
            <a:spLocks noGrp="1"/>
          </p:cNvSpPr>
          <p:nvPr>
            <p:ph type="title"/>
          </p:nvPr>
        </p:nvSpPr>
        <p:spPr>
          <a:xfrm>
            <a:off x="289384" y="266400"/>
            <a:ext cx="5732004" cy="2770117"/>
          </a:xfrm>
        </p:spPr>
        <p:txBody>
          <a:bodyPr anchor="t"/>
          <a:lstStyle>
            <a:lvl1pPr>
              <a:lnSpc>
                <a:spcPct val="80000"/>
              </a:lnSpc>
              <a:defRPr sz="7400" spc="0" baseline="0">
                <a:solidFill>
                  <a:schemeClr val="bg1"/>
                </a:solidFill>
              </a:defRPr>
            </a:lvl1pPr>
          </a:lstStyle>
          <a:p>
            <a:r>
              <a:rPr lang="en-US"/>
              <a:t>Click to edit Master title style</a:t>
            </a:r>
            <a:endParaRPr lang="en-GB"/>
          </a:p>
        </p:txBody>
      </p:sp>
      <p:sp>
        <p:nvSpPr>
          <p:cNvPr id="6" name="Slide Number Placeholder 5">
            <a:extLst>
              <a:ext uri="{FF2B5EF4-FFF2-40B4-BE49-F238E27FC236}">
                <a16:creationId xmlns:a16="http://schemas.microsoft.com/office/drawing/2014/main" id="{6F49183B-3F5F-D40F-DF08-A45F8678A099}"/>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3" name="Graphic 8">
            <a:extLst>
              <a:ext uri="{FF2B5EF4-FFF2-40B4-BE49-F238E27FC236}">
                <a16:creationId xmlns:a16="http://schemas.microsoft.com/office/drawing/2014/main" id="{D45A48FB-9AA7-F5E5-80E7-97EC299F000F}"/>
              </a:ext>
            </a:extLst>
          </p:cNvPr>
          <p:cNvSpPr>
            <a:spLocks noChangeAspect="1"/>
          </p:cNvSpPr>
          <p:nvPr userDrawn="1"/>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a:p>
        </p:txBody>
      </p:sp>
      <p:sp>
        <p:nvSpPr>
          <p:cNvPr id="4" name="Picture Placeholder 3">
            <a:extLst>
              <a:ext uri="{FF2B5EF4-FFF2-40B4-BE49-F238E27FC236}">
                <a16:creationId xmlns:a16="http://schemas.microsoft.com/office/drawing/2014/main" id="{E97FF01E-CE3E-39E2-D61B-0FA837B6BDA6}"/>
              </a:ext>
            </a:extLst>
          </p:cNvPr>
          <p:cNvSpPr>
            <a:spLocks noGrp="1"/>
          </p:cNvSpPr>
          <p:nvPr>
            <p:ph type="pic" sz="quarter" idx="13" hasCustomPrompt="1"/>
          </p:nvPr>
        </p:nvSpPr>
        <p:spPr>
          <a:xfrm>
            <a:off x="6562381" y="0"/>
            <a:ext cx="5629619" cy="6858000"/>
          </a:xfrm>
          <a:solidFill>
            <a:srgbClr val="F6F3F2"/>
          </a:solidFill>
        </p:spPr>
        <p:txBody>
          <a:bodyPr/>
          <a:lstStyle>
            <a:lvl1pPr>
              <a:defRPr lang="en-US"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8" name="Footer Placeholder 4">
            <a:extLst>
              <a:ext uri="{FF2B5EF4-FFF2-40B4-BE49-F238E27FC236}">
                <a16:creationId xmlns:a16="http://schemas.microsoft.com/office/drawing/2014/main" id="{DA580FDF-30B7-090A-D963-9A63CD09EF4F}"/>
              </a:ext>
            </a:extLst>
          </p:cNvPr>
          <p:cNvSpPr txBox="1">
            <a:spLocks/>
          </p:cNvSpPr>
          <p:nvPr userDrawn="1"/>
        </p:nvSpPr>
        <p:spPr>
          <a:xfrm>
            <a:off x="4490722" y="6405040"/>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b="0" i="0" kern="1200">
                <a:solidFill>
                  <a:schemeClr val="bg1"/>
                </a:solidFill>
                <a:latin typeface="+mn-lt"/>
                <a:ea typeface="+mn-ea"/>
                <a:cs typeface="+mn-cs"/>
              </a:rPr>
              <a:t>HEALTH CARE COMPLIANCE</a:t>
            </a:r>
          </a:p>
        </p:txBody>
      </p:sp>
    </p:spTree>
    <p:extLst>
      <p:ext uri="{BB962C8B-B14F-4D97-AF65-F5344CB8AC3E}">
        <p14:creationId xmlns:p14="http://schemas.microsoft.com/office/powerpoint/2010/main" val="267142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Images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6170614" y="0"/>
            <a:ext cx="6021385" cy="3429000"/>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7"/>
            <a:ext cx="5732003" cy="3932237"/>
          </a:xfrm>
        </p:spPr>
        <p:txBody>
          <a:body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7" name="Picture Placeholder 5">
            <a:extLst>
              <a:ext uri="{FF2B5EF4-FFF2-40B4-BE49-F238E27FC236}">
                <a16:creationId xmlns:a16="http://schemas.microsoft.com/office/drawing/2014/main" id="{1CA8347E-5487-FBA2-2DD4-3FD601BD3B4C}"/>
              </a:ext>
            </a:extLst>
          </p:cNvPr>
          <p:cNvSpPr>
            <a:spLocks noGrp="1"/>
          </p:cNvSpPr>
          <p:nvPr>
            <p:ph type="pic" sz="quarter" idx="14" hasCustomPrompt="1"/>
          </p:nvPr>
        </p:nvSpPr>
        <p:spPr>
          <a:xfrm>
            <a:off x="6170614" y="3429000"/>
            <a:ext cx="6021385" cy="3429000"/>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9" name="Title 7">
            <a:extLst>
              <a:ext uri="{FF2B5EF4-FFF2-40B4-BE49-F238E27FC236}">
                <a16:creationId xmlns:a16="http://schemas.microsoft.com/office/drawing/2014/main" id="{B6AE2399-BFCA-491C-607D-8EC33F29B034}"/>
              </a:ext>
            </a:extLst>
          </p:cNvPr>
          <p:cNvSpPr>
            <a:spLocks noGrp="1"/>
          </p:cNvSpPr>
          <p:nvPr>
            <p:ph type="title" hasCustomPrompt="1"/>
          </p:nvPr>
        </p:nvSpPr>
        <p:spPr>
          <a:xfrm>
            <a:off x="288303" y="262800"/>
            <a:ext cx="5733085" cy="454529"/>
          </a:xfrm>
        </p:spPr>
        <p:txBody>
          <a:bodyPr/>
          <a:lstStyle/>
          <a:p>
            <a:r>
              <a:rPr lang="en-US"/>
              <a:t>Master title style</a:t>
            </a:r>
            <a:endParaRPr lang="en-GB"/>
          </a:p>
        </p:txBody>
      </p:sp>
      <p:sp>
        <p:nvSpPr>
          <p:cNvPr id="8" name="Subtitle 2">
            <a:extLst>
              <a:ext uri="{FF2B5EF4-FFF2-40B4-BE49-F238E27FC236}">
                <a16:creationId xmlns:a16="http://schemas.microsoft.com/office/drawing/2014/main" id="{42AEA74B-CBA6-2617-8389-0A8FBEB074F7}"/>
              </a:ext>
            </a:extLst>
          </p:cNvPr>
          <p:cNvSpPr>
            <a:spLocks noGrp="1"/>
          </p:cNvSpPr>
          <p:nvPr>
            <p:ph type="subTitle" idx="16" hasCustomPrompt="1"/>
          </p:nvPr>
        </p:nvSpPr>
        <p:spPr>
          <a:xfrm>
            <a:off x="288302" y="713620"/>
            <a:ext cx="5732003" cy="292965"/>
          </a:xfrm>
        </p:spPr>
        <p:txBody>
          <a:bodyPr vert="horz" wrap="square" lIns="0" tIns="0" rIns="0" bIns="0" rtlCol="0" anchor="t">
            <a:spAutoFit/>
          </a:bodyPr>
          <a:lstStyle>
            <a:lvl1pPr>
              <a:defRPr lang="en-GB" b="1" dirty="0"/>
            </a:lvl1pPr>
          </a:lstStyle>
          <a:p>
            <a:pPr lvl="0"/>
            <a:r>
              <a:rPr lang="en-GB"/>
              <a:t>Subtitle. Delete if not required.</a:t>
            </a:r>
          </a:p>
        </p:txBody>
      </p:sp>
    </p:spTree>
    <p:extLst>
      <p:ext uri="{BB962C8B-B14F-4D97-AF65-F5344CB8AC3E}">
        <p14:creationId xmlns:p14="http://schemas.microsoft.com/office/powerpoint/2010/main" val="412679213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hree Images and Conten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6170614" y="0"/>
            <a:ext cx="3010694" cy="3429000"/>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7"/>
            <a:ext cx="5732003" cy="3932237"/>
          </a:xfrm>
        </p:spPr>
        <p:txBody>
          <a:body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7" name="Picture Placeholder 5">
            <a:extLst>
              <a:ext uri="{FF2B5EF4-FFF2-40B4-BE49-F238E27FC236}">
                <a16:creationId xmlns:a16="http://schemas.microsoft.com/office/drawing/2014/main" id="{1CA8347E-5487-FBA2-2DD4-3FD601BD3B4C}"/>
              </a:ext>
            </a:extLst>
          </p:cNvPr>
          <p:cNvSpPr>
            <a:spLocks noGrp="1"/>
          </p:cNvSpPr>
          <p:nvPr>
            <p:ph type="pic" sz="quarter" idx="14" hasCustomPrompt="1"/>
          </p:nvPr>
        </p:nvSpPr>
        <p:spPr>
          <a:xfrm>
            <a:off x="6170614" y="3429000"/>
            <a:ext cx="6021385" cy="3429000"/>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8" name="Picture Placeholder 5">
            <a:extLst>
              <a:ext uri="{FF2B5EF4-FFF2-40B4-BE49-F238E27FC236}">
                <a16:creationId xmlns:a16="http://schemas.microsoft.com/office/drawing/2014/main" id="{341FD64A-0587-F581-84E0-EA06B4D33540}"/>
              </a:ext>
            </a:extLst>
          </p:cNvPr>
          <p:cNvSpPr>
            <a:spLocks noGrp="1"/>
          </p:cNvSpPr>
          <p:nvPr>
            <p:ph type="pic" sz="quarter" idx="15" hasCustomPrompt="1"/>
          </p:nvPr>
        </p:nvSpPr>
        <p:spPr>
          <a:xfrm>
            <a:off x="9181307" y="0"/>
            <a:ext cx="3010694" cy="3429000"/>
          </a:xfrm>
          <a:solidFill>
            <a:schemeClr val="tx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0" name="Title 7">
            <a:extLst>
              <a:ext uri="{FF2B5EF4-FFF2-40B4-BE49-F238E27FC236}">
                <a16:creationId xmlns:a16="http://schemas.microsoft.com/office/drawing/2014/main" id="{27A145F5-DB46-62B4-C485-DD186AF7BDC2}"/>
              </a:ext>
            </a:extLst>
          </p:cNvPr>
          <p:cNvSpPr>
            <a:spLocks noGrp="1"/>
          </p:cNvSpPr>
          <p:nvPr>
            <p:ph type="title" hasCustomPrompt="1"/>
          </p:nvPr>
        </p:nvSpPr>
        <p:spPr>
          <a:xfrm>
            <a:off x="288303" y="262800"/>
            <a:ext cx="5733085" cy="454529"/>
          </a:xfrm>
        </p:spPr>
        <p:txBody>
          <a:bodyPr/>
          <a:lstStyle/>
          <a:p>
            <a:r>
              <a:rPr lang="en-US"/>
              <a:t>Master title style</a:t>
            </a:r>
            <a:endParaRPr lang="en-GB"/>
          </a:p>
        </p:txBody>
      </p:sp>
      <p:sp>
        <p:nvSpPr>
          <p:cNvPr id="9" name="Subtitle 2">
            <a:extLst>
              <a:ext uri="{FF2B5EF4-FFF2-40B4-BE49-F238E27FC236}">
                <a16:creationId xmlns:a16="http://schemas.microsoft.com/office/drawing/2014/main" id="{A588C0CC-43FB-4401-B34D-842E1E15D0E5}"/>
              </a:ext>
            </a:extLst>
          </p:cNvPr>
          <p:cNvSpPr>
            <a:spLocks noGrp="1"/>
          </p:cNvSpPr>
          <p:nvPr>
            <p:ph type="subTitle" idx="16" hasCustomPrompt="1"/>
          </p:nvPr>
        </p:nvSpPr>
        <p:spPr>
          <a:xfrm>
            <a:off x="288302" y="713620"/>
            <a:ext cx="5732003" cy="292965"/>
          </a:xfrm>
        </p:spPr>
        <p:txBody>
          <a:bodyPr vert="horz" wrap="square" lIns="0" tIns="0" rIns="0" bIns="0" rtlCol="0" anchor="t">
            <a:spAutoFit/>
          </a:bodyPr>
          <a:lstStyle>
            <a:lvl1pPr>
              <a:defRPr lang="en-GB" b="1" dirty="0"/>
            </a:lvl1pPr>
          </a:lstStyle>
          <a:p>
            <a:pPr lvl="0"/>
            <a:r>
              <a:rPr lang="en-GB"/>
              <a:t>Subtitle. Delete if not required.</a:t>
            </a:r>
          </a:p>
        </p:txBody>
      </p:sp>
    </p:spTree>
    <p:extLst>
      <p:ext uri="{BB962C8B-B14F-4D97-AF65-F5344CB8AC3E}">
        <p14:creationId xmlns:p14="http://schemas.microsoft.com/office/powerpoint/2010/main" val="226459776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mage, Content and Captio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6165850" y="2338388"/>
            <a:ext cx="5734051" cy="3932235"/>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endParaRPr lang="en-GB"/>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lang="en-US"/>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7"/>
            <a:ext cx="5732003" cy="3427413"/>
          </a:xfrm>
        </p:spPr>
        <p:txBody>
          <a:body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8" name="Text Placeholder 3">
            <a:extLst>
              <a:ext uri="{FF2B5EF4-FFF2-40B4-BE49-F238E27FC236}">
                <a16:creationId xmlns:a16="http://schemas.microsoft.com/office/drawing/2014/main" id="{1F2CC53D-B78D-E756-7E3B-FA565E8B9E1D}"/>
              </a:ext>
            </a:extLst>
          </p:cNvPr>
          <p:cNvSpPr>
            <a:spLocks noGrp="1"/>
          </p:cNvSpPr>
          <p:nvPr>
            <p:ph type="body" sz="quarter" idx="14" hasCustomPrompt="1"/>
          </p:nvPr>
        </p:nvSpPr>
        <p:spPr>
          <a:xfrm>
            <a:off x="10083801" y="1306513"/>
            <a:ext cx="1816100" cy="904875"/>
          </a:xfrm>
        </p:spPr>
        <p:txBody>
          <a:bodyPr anchor="b"/>
          <a:lstStyle>
            <a:lvl1pPr>
              <a:spcBef>
                <a:spcPts val="0"/>
              </a:spcBef>
              <a:spcAft>
                <a:spcPts val="300"/>
              </a:spcAft>
              <a:defRPr lang="en-GB" sz="1000" b="0" i="0" kern="1200" dirty="0">
                <a:solidFill>
                  <a:schemeClr val="tx1"/>
                </a:solidFill>
                <a:latin typeface="+mn-lt"/>
                <a:ea typeface="+mn-ea"/>
                <a:cs typeface="+mn-cs"/>
              </a:defRPr>
            </a:lvl1pPr>
            <a:lvl2pPr marL="93663" indent="-93663">
              <a:spcBef>
                <a:spcPts val="0"/>
              </a:spcBef>
              <a:spcAft>
                <a:spcPts val="300"/>
              </a:spcAft>
              <a:tabLst/>
              <a:defRPr lang="en-GB" sz="1000" b="0" i="0" kern="1200" dirty="0">
                <a:solidFill>
                  <a:schemeClr val="tx1"/>
                </a:solidFill>
                <a:latin typeface="+mn-lt"/>
                <a:ea typeface="+mn-ea"/>
                <a:cs typeface="+mn-cs"/>
              </a:defRPr>
            </a:lvl2pPr>
            <a:lvl3pPr marL="179388" indent="-85725">
              <a:spcBef>
                <a:spcPts val="0"/>
              </a:spcBef>
              <a:spcAft>
                <a:spcPts val="300"/>
              </a:spcAft>
              <a:tabLst/>
              <a:defRPr lang="en-GB" sz="1000" b="0" i="0" kern="1200" dirty="0">
                <a:solidFill>
                  <a:schemeClr val="tx1"/>
                </a:solidFill>
                <a:latin typeface="+mn-lt"/>
                <a:ea typeface="+mn-ea"/>
                <a:cs typeface="+mn-cs"/>
              </a:defRPr>
            </a:lvl3pPr>
            <a:lvl4pPr>
              <a:defRPr sz="1000"/>
            </a:lvl4pPr>
            <a:lvl5pPr>
              <a:defRPr sz="1000"/>
            </a:lvl5pPr>
          </a:lstStyle>
          <a:p>
            <a:pPr lvl="0"/>
            <a:r>
              <a:rPr lang="en-GB"/>
              <a:t>Click to add text. Delete if not required.</a:t>
            </a:r>
          </a:p>
          <a:p>
            <a:pPr lvl="1"/>
            <a:r>
              <a:rPr lang="en-GB"/>
              <a:t>Second level</a:t>
            </a:r>
          </a:p>
          <a:p>
            <a:pPr lvl="2"/>
            <a:r>
              <a:rPr lang="en-GB"/>
              <a:t>Third level</a:t>
            </a:r>
          </a:p>
        </p:txBody>
      </p:sp>
      <p:sp>
        <p:nvSpPr>
          <p:cNvPr id="9" name="Title 8">
            <a:extLst>
              <a:ext uri="{FF2B5EF4-FFF2-40B4-BE49-F238E27FC236}">
                <a16:creationId xmlns:a16="http://schemas.microsoft.com/office/drawing/2014/main" id="{86327D50-E20F-7EBC-9440-36E657CCB2B0}"/>
              </a:ext>
            </a:extLst>
          </p:cNvPr>
          <p:cNvSpPr>
            <a:spLocks noGrp="1"/>
          </p:cNvSpPr>
          <p:nvPr>
            <p:ph type="title"/>
          </p:nvPr>
        </p:nvSpPr>
        <p:spPr>
          <a:xfrm>
            <a:off x="288303" y="262267"/>
            <a:ext cx="8672513" cy="457818"/>
          </a:xfrm>
        </p:spPr>
        <p:txBody>
          <a:bodyPr/>
          <a:lstStyle/>
          <a:p>
            <a:r>
              <a:rPr lang="en-US"/>
              <a:t>Click to edit Master title style</a:t>
            </a:r>
            <a:endParaRPr lang="en-GB"/>
          </a:p>
        </p:txBody>
      </p:sp>
      <p:sp>
        <p:nvSpPr>
          <p:cNvPr id="7" name="Subtitle 2">
            <a:extLst>
              <a:ext uri="{FF2B5EF4-FFF2-40B4-BE49-F238E27FC236}">
                <a16:creationId xmlns:a16="http://schemas.microsoft.com/office/drawing/2014/main" id="{28482B98-7AE9-6F29-768C-189744E8C745}"/>
              </a:ext>
            </a:extLst>
          </p:cNvPr>
          <p:cNvSpPr>
            <a:spLocks noGrp="1"/>
          </p:cNvSpPr>
          <p:nvPr>
            <p:ph type="subTitle" idx="16" hasCustomPrompt="1"/>
          </p:nvPr>
        </p:nvSpPr>
        <p:spPr>
          <a:xfrm>
            <a:off x="288301" y="713620"/>
            <a:ext cx="8672513"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2" name="Footer Placeholder 4">
            <a:extLst>
              <a:ext uri="{FF2B5EF4-FFF2-40B4-BE49-F238E27FC236}">
                <a16:creationId xmlns:a16="http://schemas.microsoft.com/office/drawing/2014/main" id="{BCA9CB80-774D-68B5-7E25-86D9D123DB00}"/>
              </a:ext>
            </a:extLst>
          </p:cNvPr>
          <p:cNvSpPr>
            <a:spLocks noGrp="1"/>
          </p:cNvSpPr>
          <p:nvPr>
            <p:ph type="ftr" sz="quarter" idx="3"/>
          </p:nvPr>
        </p:nvSpPr>
        <p:spPr>
          <a:xfrm>
            <a:off x="288259" y="5966467"/>
            <a:ext cx="5732003"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354363883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Images, Content and Captions">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9104313" y="2338386"/>
            <a:ext cx="2795588" cy="3932237"/>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r>
              <a:rPr lang="en-GB"/>
              <a:t> Delete if not required.</a:t>
            </a:r>
            <a:endParaRPr lang="en-US"/>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4" y="2338387"/>
            <a:ext cx="5732003" cy="3427413"/>
          </a:xfrm>
        </p:spPr>
        <p:txBody>
          <a:body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8" name="Text Placeholder 3">
            <a:extLst>
              <a:ext uri="{FF2B5EF4-FFF2-40B4-BE49-F238E27FC236}">
                <a16:creationId xmlns:a16="http://schemas.microsoft.com/office/drawing/2014/main" id="{1F2CC53D-B78D-E756-7E3B-FA565E8B9E1D}"/>
              </a:ext>
            </a:extLst>
          </p:cNvPr>
          <p:cNvSpPr>
            <a:spLocks noGrp="1"/>
          </p:cNvSpPr>
          <p:nvPr>
            <p:ph type="body" sz="quarter" idx="14" hasCustomPrompt="1"/>
          </p:nvPr>
        </p:nvSpPr>
        <p:spPr>
          <a:xfrm>
            <a:off x="9104313" y="1306513"/>
            <a:ext cx="1816100" cy="904875"/>
          </a:xfrm>
        </p:spPr>
        <p:txBody>
          <a:bodyPr anchor="b"/>
          <a:lstStyle>
            <a:lvl1pPr>
              <a:spcBef>
                <a:spcPts val="0"/>
              </a:spcBef>
              <a:spcAft>
                <a:spcPts val="300"/>
              </a:spcAft>
              <a:defRPr lang="en-GB" sz="1000" b="0" i="0" kern="1200" dirty="0">
                <a:solidFill>
                  <a:schemeClr val="tx1"/>
                </a:solidFill>
                <a:latin typeface="+mn-lt"/>
                <a:ea typeface="+mn-ea"/>
                <a:cs typeface="+mn-cs"/>
              </a:defRPr>
            </a:lvl1pPr>
            <a:lvl2pPr marL="93663" indent="-93663">
              <a:spcBef>
                <a:spcPts val="0"/>
              </a:spcBef>
              <a:spcAft>
                <a:spcPts val="300"/>
              </a:spcAft>
              <a:tabLst/>
              <a:defRPr lang="en-GB" sz="1000" b="0" i="0" kern="1200" dirty="0">
                <a:solidFill>
                  <a:schemeClr val="tx1"/>
                </a:solidFill>
                <a:latin typeface="+mn-lt"/>
                <a:ea typeface="+mn-ea"/>
                <a:cs typeface="+mn-cs"/>
              </a:defRPr>
            </a:lvl2pPr>
            <a:lvl3pPr marL="179388" indent="-85725">
              <a:spcBef>
                <a:spcPts val="0"/>
              </a:spcBef>
              <a:spcAft>
                <a:spcPts val="300"/>
              </a:spcAft>
              <a:tabLst/>
              <a:defRPr lang="en-GB" sz="1000" b="0" i="0" kern="1200" dirty="0">
                <a:solidFill>
                  <a:schemeClr val="tx1"/>
                </a:solidFill>
                <a:latin typeface="+mn-lt"/>
                <a:ea typeface="+mn-ea"/>
                <a:cs typeface="+mn-cs"/>
              </a:defRPr>
            </a:lvl3pPr>
            <a:lvl4pPr>
              <a:defRPr sz="1000"/>
            </a:lvl4pPr>
            <a:lvl5pPr>
              <a:defRPr sz="1000"/>
            </a:lvl5pPr>
          </a:lstStyle>
          <a:p>
            <a:pPr lvl="0"/>
            <a:r>
              <a:rPr lang="en-GB"/>
              <a:t>Click to add text. Delete if not required.</a:t>
            </a:r>
          </a:p>
          <a:p>
            <a:pPr lvl="1"/>
            <a:r>
              <a:rPr lang="en-GB"/>
              <a:t>Second level</a:t>
            </a:r>
          </a:p>
          <a:p>
            <a:pPr lvl="2"/>
            <a:r>
              <a:rPr lang="en-GB"/>
              <a:t>Third level</a:t>
            </a:r>
          </a:p>
        </p:txBody>
      </p:sp>
      <p:sp>
        <p:nvSpPr>
          <p:cNvPr id="7" name="Picture Placeholder 5">
            <a:extLst>
              <a:ext uri="{FF2B5EF4-FFF2-40B4-BE49-F238E27FC236}">
                <a16:creationId xmlns:a16="http://schemas.microsoft.com/office/drawing/2014/main" id="{07C8FFB5-0C36-EA56-18AE-AE4E3A5B96B2}"/>
              </a:ext>
            </a:extLst>
          </p:cNvPr>
          <p:cNvSpPr>
            <a:spLocks noGrp="1"/>
          </p:cNvSpPr>
          <p:nvPr>
            <p:ph type="pic" sz="quarter" idx="15" hasCustomPrompt="1"/>
          </p:nvPr>
        </p:nvSpPr>
        <p:spPr>
          <a:xfrm>
            <a:off x="6165850" y="2338386"/>
            <a:ext cx="2800351" cy="3932237"/>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r>
              <a:rPr lang="en-GB"/>
              <a:t> Delete if not required.</a:t>
            </a:r>
            <a:endParaRPr lang="en-US"/>
          </a:p>
        </p:txBody>
      </p:sp>
      <p:sp>
        <p:nvSpPr>
          <p:cNvPr id="9" name="Text Placeholder 3">
            <a:extLst>
              <a:ext uri="{FF2B5EF4-FFF2-40B4-BE49-F238E27FC236}">
                <a16:creationId xmlns:a16="http://schemas.microsoft.com/office/drawing/2014/main" id="{D8A04C51-CF13-9F12-8A02-3FDDCF07D12F}"/>
              </a:ext>
            </a:extLst>
          </p:cNvPr>
          <p:cNvSpPr>
            <a:spLocks noGrp="1"/>
          </p:cNvSpPr>
          <p:nvPr>
            <p:ph type="body" sz="quarter" idx="16" hasCustomPrompt="1"/>
          </p:nvPr>
        </p:nvSpPr>
        <p:spPr>
          <a:xfrm>
            <a:off x="6165850" y="1306513"/>
            <a:ext cx="1816100" cy="904875"/>
          </a:xfrm>
        </p:spPr>
        <p:txBody>
          <a:bodyPr anchor="b"/>
          <a:lstStyle>
            <a:lvl1pPr>
              <a:spcBef>
                <a:spcPts val="0"/>
              </a:spcBef>
              <a:spcAft>
                <a:spcPts val="300"/>
              </a:spcAft>
              <a:defRPr lang="en-GB" sz="1000" b="0" i="0" kern="1200" dirty="0">
                <a:solidFill>
                  <a:schemeClr val="tx1"/>
                </a:solidFill>
                <a:latin typeface="+mn-lt"/>
                <a:ea typeface="+mn-ea"/>
                <a:cs typeface="+mn-cs"/>
              </a:defRPr>
            </a:lvl1pPr>
            <a:lvl2pPr marL="93663" indent="-93663">
              <a:spcBef>
                <a:spcPts val="0"/>
              </a:spcBef>
              <a:spcAft>
                <a:spcPts val="300"/>
              </a:spcAft>
              <a:tabLst/>
              <a:defRPr lang="en-GB" sz="1000" b="0" i="0" kern="1200" dirty="0">
                <a:solidFill>
                  <a:schemeClr val="tx1"/>
                </a:solidFill>
                <a:latin typeface="+mn-lt"/>
                <a:ea typeface="+mn-ea"/>
                <a:cs typeface="+mn-cs"/>
              </a:defRPr>
            </a:lvl2pPr>
            <a:lvl3pPr marL="179388" indent="-85725">
              <a:spcBef>
                <a:spcPts val="0"/>
              </a:spcBef>
              <a:spcAft>
                <a:spcPts val="300"/>
              </a:spcAft>
              <a:tabLst/>
              <a:defRPr lang="en-GB" sz="1000" b="0" i="0" kern="1200" dirty="0">
                <a:solidFill>
                  <a:schemeClr val="tx1"/>
                </a:solidFill>
                <a:latin typeface="+mn-lt"/>
                <a:ea typeface="+mn-ea"/>
                <a:cs typeface="+mn-cs"/>
              </a:defRPr>
            </a:lvl3pPr>
            <a:lvl4pPr>
              <a:defRPr sz="1000"/>
            </a:lvl4pPr>
            <a:lvl5pPr>
              <a:defRPr sz="1000"/>
            </a:lvl5pPr>
          </a:lstStyle>
          <a:p>
            <a:pPr lvl="0"/>
            <a:r>
              <a:rPr lang="en-GB"/>
              <a:t>Click to add text. Delete if not required.</a:t>
            </a:r>
          </a:p>
          <a:p>
            <a:pPr lvl="1"/>
            <a:r>
              <a:rPr lang="en-GB"/>
              <a:t>Second level</a:t>
            </a:r>
          </a:p>
          <a:p>
            <a:pPr lvl="2"/>
            <a:r>
              <a:rPr lang="en-GB"/>
              <a:t>Third level</a:t>
            </a:r>
          </a:p>
        </p:txBody>
      </p:sp>
      <p:sp>
        <p:nvSpPr>
          <p:cNvPr id="11" name="Title 7">
            <a:extLst>
              <a:ext uri="{FF2B5EF4-FFF2-40B4-BE49-F238E27FC236}">
                <a16:creationId xmlns:a16="http://schemas.microsoft.com/office/drawing/2014/main" id="{48C95821-C865-9139-DE3E-F11442D8306C}"/>
              </a:ext>
            </a:extLst>
          </p:cNvPr>
          <p:cNvSpPr>
            <a:spLocks noGrp="1"/>
          </p:cNvSpPr>
          <p:nvPr>
            <p:ph type="title" hasCustomPrompt="1"/>
          </p:nvPr>
        </p:nvSpPr>
        <p:spPr>
          <a:xfrm>
            <a:off x="288303" y="262800"/>
            <a:ext cx="8673135" cy="454529"/>
          </a:xfrm>
        </p:spPr>
        <p:txBody>
          <a:bodyPr/>
          <a:lstStyle/>
          <a:p>
            <a:r>
              <a:rPr lang="en-US"/>
              <a:t>Master title style</a:t>
            </a:r>
            <a:endParaRPr lang="en-GB"/>
          </a:p>
        </p:txBody>
      </p:sp>
      <p:sp>
        <p:nvSpPr>
          <p:cNvPr id="10" name="Subtitle 2">
            <a:extLst>
              <a:ext uri="{FF2B5EF4-FFF2-40B4-BE49-F238E27FC236}">
                <a16:creationId xmlns:a16="http://schemas.microsoft.com/office/drawing/2014/main" id="{949BA43B-6BD5-72DE-5D4D-B0BAD4FEEA2B}"/>
              </a:ext>
            </a:extLst>
          </p:cNvPr>
          <p:cNvSpPr>
            <a:spLocks noGrp="1"/>
          </p:cNvSpPr>
          <p:nvPr>
            <p:ph type="subTitle" idx="17" hasCustomPrompt="1"/>
          </p:nvPr>
        </p:nvSpPr>
        <p:spPr>
          <a:xfrm>
            <a:off x="288302" y="713620"/>
            <a:ext cx="8671498"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2" name="Footer Placeholder 4">
            <a:extLst>
              <a:ext uri="{FF2B5EF4-FFF2-40B4-BE49-F238E27FC236}">
                <a16:creationId xmlns:a16="http://schemas.microsoft.com/office/drawing/2014/main" id="{E00874E2-51B6-C9BA-5767-10D0B2852D4F}"/>
              </a:ext>
            </a:extLst>
          </p:cNvPr>
          <p:cNvSpPr>
            <a:spLocks noGrp="1"/>
          </p:cNvSpPr>
          <p:nvPr>
            <p:ph type="ftr" sz="quarter" idx="3"/>
          </p:nvPr>
        </p:nvSpPr>
        <p:spPr>
          <a:xfrm>
            <a:off x="288259" y="5966467"/>
            <a:ext cx="5739479"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140266635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Images, Content and Captions Stacke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7545FFE-3051-5386-BCE0-9D3085BB95F0}"/>
              </a:ext>
            </a:extLst>
          </p:cNvPr>
          <p:cNvSpPr>
            <a:spLocks noGrp="1"/>
          </p:cNvSpPr>
          <p:nvPr>
            <p:ph type="pic" sz="quarter" idx="13" hasCustomPrompt="1"/>
          </p:nvPr>
        </p:nvSpPr>
        <p:spPr>
          <a:xfrm>
            <a:off x="8124825" y="291038"/>
            <a:ext cx="3775076" cy="2922062"/>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r>
              <a:rPr lang="en-GB"/>
              <a:t> Delete if not required.</a:t>
            </a:r>
            <a:endParaRPr lang="en-US"/>
          </a:p>
        </p:txBody>
      </p:sp>
      <p:sp>
        <p:nvSpPr>
          <p:cNvPr id="5" name="Slide Number Placeholder 4">
            <a:extLst>
              <a:ext uri="{FF2B5EF4-FFF2-40B4-BE49-F238E27FC236}">
                <a16:creationId xmlns:a16="http://schemas.microsoft.com/office/drawing/2014/main" id="{E9119AF0-BAA0-31B4-998E-02AD3B07E859}"/>
              </a:ext>
            </a:extLst>
          </p:cNvPr>
          <p:cNvSpPr>
            <a:spLocks noGrp="1"/>
          </p:cNvSpPr>
          <p:nvPr>
            <p:ph type="sldNum" sz="quarter" idx="12"/>
          </p:nvPr>
        </p:nvSpPr>
        <p:spPr/>
        <p:txBody>
          <a:bodyPr/>
          <a:lstStyle/>
          <a:p>
            <a:fld id="{AEC8D767-5246-2244-A4A3-B8AFB218393C}" type="slidenum">
              <a:rPr lang="en-GB" smtClean="0"/>
              <a:t>‹#›</a:t>
            </a:fld>
            <a:endParaRPr lang="en-GB"/>
          </a:p>
        </p:txBody>
      </p:sp>
      <p:sp>
        <p:nvSpPr>
          <p:cNvPr id="3" name="Content Placeholder 2">
            <a:extLst>
              <a:ext uri="{FF2B5EF4-FFF2-40B4-BE49-F238E27FC236}">
                <a16:creationId xmlns:a16="http://schemas.microsoft.com/office/drawing/2014/main" id="{6770E69B-48F7-61D5-681E-68705A6AADAC}"/>
              </a:ext>
            </a:extLst>
          </p:cNvPr>
          <p:cNvSpPr>
            <a:spLocks noGrp="1"/>
          </p:cNvSpPr>
          <p:nvPr>
            <p:ph idx="1" hasCustomPrompt="1"/>
          </p:nvPr>
        </p:nvSpPr>
        <p:spPr>
          <a:xfrm>
            <a:off x="289385" y="2338387"/>
            <a:ext cx="4750422" cy="3427413"/>
          </a:xfrm>
        </p:spPr>
        <p:txBody>
          <a:body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9" name="Text Placeholder 3">
            <a:extLst>
              <a:ext uri="{FF2B5EF4-FFF2-40B4-BE49-F238E27FC236}">
                <a16:creationId xmlns:a16="http://schemas.microsoft.com/office/drawing/2014/main" id="{D8A04C51-CF13-9F12-8A02-3FDDCF07D12F}"/>
              </a:ext>
            </a:extLst>
          </p:cNvPr>
          <p:cNvSpPr>
            <a:spLocks noGrp="1"/>
          </p:cNvSpPr>
          <p:nvPr>
            <p:ph type="body" sz="quarter" idx="16" hasCustomPrompt="1"/>
          </p:nvPr>
        </p:nvSpPr>
        <p:spPr>
          <a:xfrm>
            <a:off x="6165850" y="263526"/>
            <a:ext cx="1816099" cy="901700"/>
          </a:xfrm>
        </p:spPr>
        <p:txBody>
          <a:bodyPr/>
          <a:lstStyle>
            <a:lvl1pPr>
              <a:spcBef>
                <a:spcPts val="0"/>
              </a:spcBef>
              <a:spcAft>
                <a:spcPts val="300"/>
              </a:spcAft>
              <a:defRPr lang="en-GB" sz="1000" b="0" i="0" kern="1200" dirty="0">
                <a:solidFill>
                  <a:schemeClr val="tx1"/>
                </a:solidFill>
                <a:latin typeface="+mn-lt"/>
                <a:ea typeface="+mn-ea"/>
                <a:cs typeface="+mn-cs"/>
              </a:defRPr>
            </a:lvl1pPr>
            <a:lvl2pPr marL="93663" indent="-93663">
              <a:spcBef>
                <a:spcPts val="0"/>
              </a:spcBef>
              <a:spcAft>
                <a:spcPts val="300"/>
              </a:spcAft>
              <a:tabLst/>
              <a:defRPr lang="en-GB" sz="1000" b="0" i="0" kern="1200" dirty="0">
                <a:solidFill>
                  <a:schemeClr val="tx1"/>
                </a:solidFill>
                <a:latin typeface="+mn-lt"/>
                <a:ea typeface="+mn-ea"/>
                <a:cs typeface="+mn-cs"/>
              </a:defRPr>
            </a:lvl2pPr>
            <a:lvl3pPr marL="179388" indent="-85725">
              <a:spcBef>
                <a:spcPts val="0"/>
              </a:spcBef>
              <a:spcAft>
                <a:spcPts val="300"/>
              </a:spcAft>
              <a:tabLst/>
              <a:defRPr lang="en-GB" sz="1000" b="0" i="0" kern="1200" dirty="0">
                <a:solidFill>
                  <a:schemeClr val="tx1"/>
                </a:solidFill>
                <a:latin typeface="+mn-lt"/>
                <a:ea typeface="+mn-ea"/>
                <a:cs typeface="+mn-cs"/>
              </a:defRPr>
            </a:lvl3pPr>
            <a:lvl4pPr>
              <a:defRPr sz="1000"/>
            </a:lvl4pPr>
            <a:lvl5pPr>
              <a:defRPr sz="1000"/>
            </a:lvl5pPr>
          </a:lstStyle>
          <a:p>
            <a:pPr lvl="0"/>
            <a:r>
              <a:rPr lang="en-GB"/>
              <a:t>Click to add text. Delete if not required.</a:t>
            </a:r>
          </a:p>
          <a:p>
            <a:pPr lvl="1"/>
            <a:r>
              <a:rPr lang="en-GB"/>
              <a:t>Second level</a:t>
            </a:r>
          </a:p>
          <a:p>
            <a:pPr lvl="2"/>
            <a:r>
              <a:rPr lang="en-GB"/>
              <a:t>Third level</a:t>
            </a:r>
          </a:p>
        </p:txBody>
      </p:sp>
      <p:sp>
        <p:nvSpPr>
          <p:cNvPr id="10" name="Picture Placeholder 5">
            <a:extLst>
              <a:ext uri="{FF2B5EF4-FFF2-40B4-BE49-F238E27FC236}">
                <a16:creationId xmlns:a16="http://schemas.microsoft.com/office/drawing/2014/main" id="{7E2F9960-1383-47B5-D5A0-E3568E633105}"/>
              </a:ext>
            </a:extLst>
          </p:cNvPr>
          <p:cNvSpPr>
            <a:spLocks noGrp="1"/>
          </p:cNvSpPr>
          <p:nvPr>
            <p:ph type="pic" sz="quarter" idx="17" hasCustomPrompt="1"/>
          </p:nvPr>
        </p:nvSpPr>
        <p:spPr>
          <a:xfrm>
            <a:off x="8124825" y="3357564"/>
            <a:ext cx="3775076" cy="2913062"/>
          </a:xfrm>
          <a:solidFill>
            <a:schemeClr val="tx2"/>
          </a:solidFill>
        </p:spPr>
        <p:txBody>
          <a:bodyPr vert="horz" lIns="0" tIns="0" rIns="0" bIns="0" rtlCol="0">
            <a:noAutofit/>
          </a:bodyPr>
          <a:lstStyle>
            <a:lvl1pPr>
              <a:defRPr lang="en-GB" dirty="0"/>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r>
              <a:rPr lang="en-GB"/>
              <a:t> Delete if not required.</a:t>
            </a:r>
            <a:endParaRPr lang="en-US"/>
          </a:p>
        </p:txBody>
      </p:sp>
      <p:sp>
        <p:nvSpPr>
          <p:cNvPr id="11" name="Text Placeholder 3">
            <a:extLst>
              <a:ext uri="{FF2B5EF4-FFF2-40B4-BE49-F238E27FC236}">
                <a16:creationId xmlns:a16="http://schemas.microsoft.com/office/drawing/2014/main" id="{1157324B-BE85-4E3F-8A71-8D472DC1443F}"/>
              </a:ext>
            </a:extLst>
          </p:cNvPr>
          <p:cNvSpPr>
            <a:spLocks noGrp="1"/>
          </p:cNvSpPr>
          <p:nvPr>
            <p:ph type="body" sz="quarter" idx="18" hasCustomPrompt="1"/>
          </p:nvPr>
        </p:nvSpPr>
        <p:spPr>
          <a:xfrm>
            <a:off x="6170614" y="3334276"/>
            <a:ext cx="1811335" cy="904875"/>
          </a:xfrm>
        </p:spPr>
        <p:txBody>
          <a:bodyPr/>
          <a:lstStyle>
            <a:lvl1pPr>
              <a:spcBef>
                <a:spcPts val="0"/>
              </a:spcBef>
              <a:spcAft>
                <a:spcPts val="300"/>
              </a:spcAft>
              <a:defRPr lang="en-GB" sz="1000" b="0" i="0" kern="1200" dirty="0">
                <a:solidFill>
                  <a:schemeClr val="tx1"/>
                </a:solidFill>
                <a:latin typeface="+mn-lt"/>
                <a:ea typeface="+mn-ea"/>
                <a:cs typeface="+mn-cs"/>
              </a:defRPr>
            </a:lvl1pPr>
            <a:lvl2pPr marL="93663" indent="-93663">
              <a:spcBef>
                <a:spcPts val="0"/>
              </a:spcBef>
              <a:spcAft>
                <a:spcPts val="300"/>
              </a:spcAft>
              <a:tabLst/>
              <a:defRPr lang="en-GB" sz="1000" b="0" i="0" kern="1200" dirty="0">
                <a:solidFill>
                  <a:schemeClr val="tx1"/>
                </a:solidFill>
                <a:latin typeface="+mn-lt"/>
                <a:ea typeface="+mn-ea"/>
                <a:cs typeface="+mn-cs"/>
              </a:defRPr>
            </a:lvl2pPr>
            <a:lvl3pPr marL="179388" indent="-85725">
              <a:spcBef>
                <a:spcPts val="0"/>
              </a:spcBef>
              <a:spcAft>
                <a:spcPts val="300"/>
              </a:spcAft>
              <a:tabLst/>
              <a:defRPr lang="en-GB" sz="1000" b="0" i="0" kern="1200" dirty="0">
                <a:solidFill>
                  <a:schemeClr val="tx1"/>
                </a:solidFill>
                <a:latin typeface="+mn-lt"/>
                <a:ea typeface="+mn-ea"/>
                <a:cs typeface="+mn-cs"/>
              </a:defRPr>
            </a:lvl3pPr>
            <a:lvl4pPr>
              <a:defRPr sz="1000"/>
            </a:lvl4pPr>
            <a:lvl5pPr>
              <a:defRPr sz="1000"/>
            </a:lvl5pPr>
          </a:lstStyle>
          <a:p>
            <a:pPr lvl="0"/>
            <a:r>
              <a:rPr lang="en-GB"/>
              <a:t>Click to add text. Delete if not required.</a:t>
            </a:r>
          </a:p>
          <a:p>
            <a:pPr lvl="1"/>
            <a:r>
              <a:rPr lang="en-GB"/>
              <a:t>Second level</a:t>
            </a:r>
          </a:p>
          <a:p>
            <a:pPr lvl="2"/>
            <a:r>
              <a:rPr lang="en-GB"/>
              <a:t>Third level</a:t>
            </a:r>
          </a:p>
        </p:txBody>
      </p:sp>
      <p:sp>
        <p:nvSpPr>
          <p:cNvPr id="8" name="Title 7">
            <a:extLst>
              <a:ext uri="{FF2B5EF4-FFF2-40B4-BE49-F238E27FC236}">
                <a16:creationId xmlns:a16="http://schemas.microsoft.com/office/drawing/2014/main" id="{A4141273-8612-0373-5CE1-A74C8304F40A}"/>
              </a:ext>
            </a:extLst>
          </p:cNvPr>
          <p:cNvSpPr>
            <a:spLocks noGrp="1"/>
          </p:cNvSpPr>
          <p:nvPr>
            <p:ph type="title" hasCustomPrompt="1"/>
          </p:nvPr>
        </p:nvSpPr>
        <p:spPr>
          <a:xfrm>
            <a:off x="288303" y="262800"/>
            <a:ext cx="4750421" cy="454529"/>
          </a:xfrm>
        </p:spPr>
        <p:txBody>
          <a:bodyPr/>
          <a:lstStyle/>
          <a:p>
            <a:r>
              <a:rPr lang="en-US"/>
              <a:t>Master title style</a:t>
            </a:r>
            <a:endParaRPr lang="en-GB"/>
          </a:p>
        </p:txBody>
      </p:sp>
      <p:sp>
        <p:nvSpPr>
          <p:cNvPr id="7" name="Subtitle 2">
            <a:extLst>
              <a:ext uri="{FF2B5EF4-FFF2-40B4-BE49-F238E27FC236}">
                <a16:creationId xmlns:a16="http://schemas.microsoft.com/office/drawing/2014/main" id="{460EC19D-5C44-4557-54CE-FA6CE565E479}"/>
              </a:ext>
            </a:extLst>
          </p:cNvPr>
          <p:cNvSpPr>
            <a:spLocks noGrp="1"/>
          </p:cNvSpPr>
          <p:nvPr>
            <p:ph type="subTitle" idx="19" hasCustomPrompt="1"/>
          </p:nvPr>
        </p:nvSpPr>
        <p:spPr>
          <a:xfrm>
            <a:off x="288302" y="713620"/>
            <a:ext cx="4750421" cy="292965"/>
          </a:xfrm>
        </p:spPr>
        <p:txBody>
          <a:bodyPr vert="horz" wrap="square" lIns="0" tIns="0" rIns="0" bIns="0" rtlCol="0" anchor="t">
            <a:spAutoFit/>
          </a:bodyPr>
          <a:lstStyle>
            <a:lvl1pPr>
              <a:defRPr lang="en-GB" b="1" dirty="0"/>
            </a:lvl1pPr>
          </a:lstStyle>
          <a:p>
            <a:pPr lvl="0"/>
            <a:r>
              <a:rPr lang="en-GB"/>
              <a:t>Subtitle. Delete if not required.</a:t>
            </a:r>
          </a:p>
        </p:txBody>
      </p:sp>
      <p:sp>
        <p:nvSpPr>
          <p:cNvPr id="2" name="Footer Placeholder 4">
            <a:extLst>
              <a:ext uri="{FF2B5EF4-FFF2-40B4-BE49-F238E27FC236}">
                <a16:creationId xmlns:a16="http://schemas.microsoft.com/office/drawing/2014/main" id="{1F0325E1-B647-A8E5-18BB-BF2ED4C7A4DC}"/>
              </a:ext>
            </a:extLst>
          </p:cNvPr>
          <p:cNvSpPr>
            <a:spLocks noGrp="1"/>
          </p:cNvSpPr>
          <p:nvPr>
            <p:ph type="ftr" sz="quarter" idx="3"/>
          </p:nvPr>
        </p:nvSpPr>
        <p:spPr>
          <a:xfrm>
            <a:off x="288259" y="5966467"/>
            <a:ext cx="7693690"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Tree>
    <p:extLst>
      <p:ext uri="{BB962C8B-B14F-4D97-AF65-F5344CB8AC3E}">
        <p14:creationId xmlns:p14="http://schemas.microsoft.com/office/powerpoint/2010/main" val="30578019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Left Side, Two Images and Text ">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7150100" y="0"/>
            <a:ext cx="5041900" cy="3357563"/>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0" y="3357563"/>
            <a:ext cx="6022552" cy="3499955"/>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6" name="Text Placeholder 5">
            <a:extLst>
              <a:ext uri="{FF2B5EF4-FFF2-40B4-BE49-F238E27FC236}">
                <a16:creationId xmlns:a16="http://schemas.microsoft.com/office/drawing/2014/main" id="{899B3B30-291B-0259-955A-B312868ADB24}"/>
              </a:ext>
            </a:extLst>
          </p:cNvPr>
          <p:cNvSpPr>
            <a:spLocks noGrp="1"/>
          </p:cNvSpPr>
          <p:nvPr>
            <p:ph type="body" sz="quarter" idx="15" hasCustomPrompt="1"/>
          </p:nvPr>
        </p:nvSpPr>
        <p:spPr>
          <a:xfrm>
            <a:off x="7150102" y="4376738"/>
            <a:ext cx="4754562" cy="1893887"/>
          </a:xfrm>
        </p:spPr>
        <p:txBody>
          <a:bodyPr/>
          <a:lstStyle>
            <a:lvl1pPr>
              <a:defRPr lang="en-GB" dirty="0" smtClean="0"/>
            </a:lvl1pPr>
            <a:lvl2pPr>
              <a:defRPr lang="en-GB" dirty="0" smtClean="0"/>
            </a:lvl2pPr>
            <a:lvl3pPr>
              <a:defRPr lang="en-GB" dirty="0" smtClean="0"/>
            </a:lvl3pPr>
            <a:lvl4pPr>
              <a:defRPr lang="en-GB" dirty="0" smtClean="0"/>
            </a:lvl4pPr>
            <a:lvl5pPr>
              <a:defRPr lang="en-GB" dirty="0"/>
            </a:lvl5p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7" name="Title 1">
            <a:extLst>
              <a:ext uri="{FF2B5EF4-FFF2-40B4-BE49-F238E27FC236}">
                <a16:creationId xmlns:a16="http://schemas.microsoft.com/office/drawing/2014/main" id="{44087789-03A9-0559-7959-C80A1DC0A306}"/>
              </a:ext>
            </a:extLst>
          </p:cNvPr>
          <p:cNvSpPr>
            <a:spLocks noGrp="1"/>
          </p:cNvSpPr>
          <p:nvPr>
            <p:ph type="title"/>
          </p:nvPr>
        </p:nvSpPr>
        <p:spPr>
          <a:xfrm>
            <a:off x="288000" y="530259"/>
            <a:ext cx="4754563" cy="2437590"/>
          </a:xfrm>
        </p:spPr>
        <p:txBody>
          <a:bodyPr anchor="ctr">
            <a:spAutoFit/>
          </a:bodyPr>
          <a:lstStyle>
            <a:lvl1pPr>
              <a:lnSpc>
                <a:spcPct val="80000"/>
              </a:lnSpc>
              <a:defRPr sz="6500">
                <a:solidFill>
                  <a:schemeClr val="accent1"/>
                </a:solidFill>
              </a:defRPr>
            </a:lvl1pPr>
          </a:lstStyle>
          <a:p>
            <a:r>
              <a:rPr lang="en-US"/>
              <a:t>Click to edit Master title style</a:t>
            </a:r>
            <a:endParaRPr lang="en-GB"/>
          </a:p>
        </p:txBody>
      </p:sp>
    </p:spTree>
    <p:extLst>
      <p:ext uri="{BB962C8B-B14F-4D97-AF65-F5344CB8AC3E}">
        <p14:creationId xmlns:p14="http://schemas.microsoft.com/office/powerpoint/2010/main" val="375769349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Right Side, Two Images and Text ">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0" y="-1"/>
            <a:ext cx="5041900" cy="3357563"/>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6165850" y="3357563"/>
            <a:ext cx="6022552" cy="3499955"/>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6" name="Text Placeholder 5">
            <a:extLst>
              <a:ext uri="{FF2B5EF4-FFF2-40B4-BE49-F238E27FC236}">
                <a16:creationId xmlns:a16="http://schemas.microsoft.com/office/drawing/2014/main" id="{899B3B30-291B-0259-955A-B312868ADB24}"/>
              </a:ext>
            </a:extLst>
          </p:cNvPr>
          <p:cNvSpPr>
            <a:spLocks noGrp="1"/>
          </p:cNvSpPr>
          <p:nvPr>
            <p:ph type="body" sz="quarter" idx="15" hasCustomPrompt="1"/>
          </p:nvPr>
        </p:nvSpPr>
        <p:spPr>
          <a:xfrm>
            <a:off x="287338" y="4376738"/>
            <a:ext cx="4754562" cy="1893887"/>
          </a:xfrm>
        </p:spPr>
        <p:txBody>
          <a:bodyPr/>
          <a:lstStyle>
            <a:lvl1pPr>
              <a:defRPr lang="en-GB" dirty="0" smtClean="0"/>
            </a:lvl1pPr>
            <a:lvl2pPr>
              <a:defRPr lang="en-GB" dirty="0" smtClean="0"/>
            </a:lvl2pPr>
            <a:lvl3pPr>
              <a:defRPr lang="en-GB" dirty="0" smtClean="0"/>
            </a:lvl3pPr>
            <a:lvl4pPr>
              <a:defRPr lang="en-GB" dirty="0" smtClean="0"/>
            </a:lvl4pPr>
            <a:lvl5pPr>
              <a:defRPr lang="en-GB" dirty="0"/>
            </a:lvl5p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7" name="Title 1">
            <a:extLst>
              <a:ext uri="{FF2B5EF4-FFF2-40B4-BE49-F238E27FC236}">
                <a16:creationId xmlns:a16="http://schemas.microsoft.com/office/drawing/2014/main" id="{44087789-03A9-0559-7959-C80A1DC0A306}"/>
              </a:ext>
            </a:extLst>
          </p:cNvPr>
          <p:cNvSpPr>
            <a:spLocks noGrp="1"/>
          </p:cNvSpPr>
          <p:nvPr>
            <p:ph type="title"/>
          </p:nvPr>
        </p:nvSpPr>
        <p:spPr>
          <a:xfrm>
            <a:off x="6165850" y="530259"/>
            <a:ext cx="4754563" cy="2437590"/>
          </a:xfrm>
        </p:spPr>
        <p:txBody>
          <a:bodyPr anchor="ctr">
            <a:spAutoFit/>
          </a:bodyPr>
          <a:lstStyle>
            <a:lvl1pPr>
              <a:lnSpc>
                <a:spcPct val="80000"/>
              </a:lnSpc>
              <a:defRPr sz="6500">
                <a:solidFill>
                  <a:schemeClr val="accent1"/>
                </a:solidFill>
              </a:defRPr>
            </a:lvl1pPr>
          </a:lstStyle>
          <a:p>
            <a:r>
              <a:rPr lang="en-US"/>
              <a:t>Click to edit Master title style</a:t>
            </a:r>
            <a:endParaRPr lang="en-GB"/>
          </a:p>
        </p:txBody>
      </p:sp>
    </p:spTree>
    <p:extLst>
      <p:ext uri="{BB962C8B-B14F-4D97-AF65-F5344CB8AC3E}">
        <p14:creationId xmlns:p14="http://schemas.microsoft.com/office/powerpoint/2010/main" val="301675403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hree Images and Caption">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0" y="3357563"/>
            <a:ext cx="4152900" cy="3500438"/>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4152900" y="1"/>
            <a:ext cx="3912062" cy="6857518"/>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6" name="Text Placeholder 5">
            <a:extLst>
              <a:ext uri="{FF2B5EF4-FFF2-40B4-BE49-F238E27FC236}">
                <a16:creationId xmlns:a16="http://schemas.microsoft.com/office/drawing/2014/main" id="{899B3B30-291B-0259-955A-B312868ADB24}"/>
              </a:ext>
            </a:extLst>
          </p:cNvPr>
          <p:cNvSpPr>
            <a:spLocks noGrp="1"/>
          </p:cNvSpPr>
          <p:nvPr>
            <p:ph type="body" sz="quarter" idx="15" hasCustomPrompt="1"/>
          </p:nvPr>
        </p:nvSpPr>
        <p:spPr>
          <a:xfrm>
            <a:off x="9104313" y="4376738"/>
            <a:ext cx="2795587" cy="1893887"/>
          </a:xfrm>
        </p:spPr>
        <p:txBody>
          <a:bodyPr/>
          <a:lstStyle>
            <a:lvl1pPr>
              <a:defRPr lang="en-GB" dirty="0" smtClean="0"/>
            </a:lvl1pPr>
            <a:lvl2pPr>
              <a:defRPr lang="en-GB" dirty="0" smtClean="0"/>
            </a:lvl2pPr>
            <a:lvl3pPr>
              <a:defRPr lang="en-GB" dirty="0" smtClean="0"/>
            </a:lvl3pPr>
            <a:lvl4pPr>
              <a:defRPr lang="en-GB" dirty="0" smtClean="0"/>
            </a:lvl4pPr>
            <a:lvl5pPr>
              <a:defRPr lang="en-GB" dirty="0"/>
            </a:lvl5pPr>
          </a:lstStyle>
          <a:p>
            <a:pPr lvl="0"/>
            <a:r>
              <a:rPr lang="en-GB"/>
              <a:t>Click to add text. Delete if not required.</a:t>
            </a:r>
          </a:p>
          <a:p>
            <a:pPr lvl="1"/>
            <a:r>
              <a:rPr lang="en-GB"/>
              <a:t>Second level</a:t>
            </a:r>
          </a:p>
          <a:p>
            <a:pPr lvl="2"/>
            <a:r>
              <a:rPr lang="en-GB"/>
              <a:t>Third level</a:t>
            </a:r>
          </a:p>
          <a:p>
            <a:pPr lvl="3"/>
            <a:r>
              <a:rPr lang="en-GB"/>
              <a:t>Fourth level</a:t>
            </a:r>
          </a:p>
          <a:p>
            <a:pPr lvl="4"/>
            <a:r>
              <a:rPr lang="en-GB"/>
              <a:t>Fifth level</a:t>
            </a:r>
          </a:p>
        </p:txBody>
      </p:sp>
      <p:sp>
        <p:nvSpPr>
          <p:cNvPr id="2" name="Picture Placeholder 5">
            <a:extLst>
              <a:ext uri="{FF2B5EF4-FFF2-40B4-BE49-F238E27FC236}">
                <a16:creationId xmlns:a16="http://schemas.microsoft.com/office/drawing/2014/main" id="{274C72C0-D5F1-8526-2BDA-0E6460C330CF}"/>
              </a:ext>
            </a:extLst>
          </p:cNvPr>
          <p:cNvSpPr>
            <a:spLocks noGrp="1"/>
          </p:cNvSpPr>
          <p:nvPr>
            <p:ph type="pic" sz="quarter" idx="16" hasCustomPrompt="1"/>
          </p:nvPr>
        </p:nvSpPr>
        <p:spPr>
          <a:xfrm>
            <a:off x="8064961" y="0"/>
            <a:ext cx="4114339" cy="3357563"/>
          </a:xfrm>
          <a:solidFill>
            <a:schemeClr val="tx2"/>
          </a:solidFill>
        </p:spPr>
        <p:txBody>
          <a:bodyPr vert="horz" lIns="0" tIns="0" rIns="0" bIns="0" rtlCol="0">
            <a:noAutofit/>
          </a:bodyPr>
          <a:lstStyle>
            <a:lvl1pPr>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5" name="Title 4">
            <a:extLst>
              <a:ext uri="{FF2B5EF4-FFF2-40B4-BE49-F238E27FC236}">
                <a16:creationId xmlns:a16="http://schemas.microsoft.com/office/drawing/2014/main" id="{6D8318B1-25E6-EF2C-0244-43CD92F8BF97}"/>
              </a:ext>
            </a:extLst>
          </p:cNvPr>
          <p:cNvSpPr>
            <a:spLocks noGrp="1"/>
          </p:cNvSpPr>
          <p:nvPr>
            <p:ph type="title"/>
          </p:nvPr>
        </p:nvSpPr>
        <p:spPr>
          <a:xfrm>
            <a:off x="288000" y="696913"/>
            <a:ext cx="3770934" cy="1765868"/>
          </a:xfrm>
        </p:spPr>
        <p:txBody>
          <a:bodyPr/>
          <a:lstStyle>
            <a:lvl1pPr>
              <a:defRPr sz="4500"/>
            </a:lvl1pPr>
          </a:lstStyle>
          <a:p>
            <a:r>
              <a:rPr lang="en-US"/>
              <a:t>Click to edit Master title style</a:t>
            </a:r>
            <a:endParaRPr lang="en-GB"/>
          </a:p>
        </p:txBody>
      </p:sp>
    </p:spTree>
    <p:extLst>
      <p:ext uri="{BB962C8B-B14F-4D97-AF65-F5344CB8AC3E}">
        <p14:creationId xmlns:p14="http://schemas.microsoft.com/office/powerpoint/2010/main" val="246982642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Animated Title and Image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55B8D2-C963-E4A2-E467-94496D231D97}"/>
              </a:ext>
            </a:extLst>
          </p:cNvPr>
          <p:cNvSpPr>
            <a:spLocks noGrp="1"/>
          </p:cNvSpPr>
          <p:nvPr>
            <p:ph type="sldNum" sz="quarter" idx="11"/>
          </p:nvPr>
        </p:nvSpPr>
        <p:spPr/>
        <p:txBody>
          <a:bodyPr/>
          <a:lstStyle/>
          <a:p>
            <a:fld id="{AEC8D767-5246-2244-A4A3-B8AFB218393C}" type="slidenum">
              <a:rPr lang="en-GB" smtClean="0"/>
              <a:pPr/>
              <a:t>‹#›</a:t>
            </a:fld>
            <a:endParaRPr lang="en-GB"/>
          </a:p>
        </p:txBody>
      </p:sp>
      <p:sp>
        <p:nvSpPr>
          <p:cNvPr id="10" name="Picture Placeholder 5">
            <a:extLst>
              <a:ext uri="{FF2B5EF4-FFF2-40B4-BE49-F238E27FC236}">
                <a16:creationId xmlns:a16="http://schemas.microsoft.com/office/drawing/2014/main" id="{BEB95803-75F5-094C-03C0-91A8C27F1AAA}"/>
              </a:ext>
            </a:extLst>
          </p:cNvPr>
          <p:cNvSpPr>
            <a:spLocks noGrp="1"/>
          </p:cNvSpPr>
          <p:nvPr>
            <p:ph type="pic" sz="quarter" idx="13" hasCustomPrompt="1"/>
          </p:nvPr>
        </p:nvSpPr>
        <p:spPr>
          <a:xfrm>
            <a:off x="0" y="-1"/>
            <a:ext cx="5041900" cy="3357563"/>
          </a:xfrm>
          <a:solidFill>
            <a:schemeClr val="tx2"/>
          </a:solidFill>
        </p:spPr>
        <p:txBody>
          <a:bodyPr vert="horz" lIns="0" tIns="0" rIns="0" bIns="0" rtlCol="0">
            <a:noAutofit/>
          </a:bodyPr>
          <a:lstStyle>
            <a:lvl1pPr marL="0" marR="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1" name="Picture Placeholder 5">
            <a:extLst>
              <a:ext uri="{FF2B5EF4-FFF2-40B4-BE49-F238E27FC236}">
                <a16:creationId xmlns:a16="http://schemas.microsoft.com/office/drawing/2014/main" id="{8BFC8B65-1954-09E7-5FF2-7014E6C8F04C}"/>
              </a:ext>
            </a:extLst>
          </p:cNvPr>
          <p:cNvSpPr>
            <a:spLocks noGrp="1"/>
          </p:cNvSpPr>
          <p:nvPr>
            <p:ph type="pic" sz="quarter" idx="14" hasCustomPrompt="1"/>
          </p:nvPr>
        </p:nvSpPr>
        <p:spPr>
          <a:xfrm>
            <a:off x="6165850" y="3357563"/>
            <a:ext cx="6022552" cy="3499955"/>
          </a:xfrm>
          <a:solidFill>
            <a:schemeClr val="tx2"/>
          </a:solidFill>
        </p:spPr>
        <p:txBody>
          <a:bodyPr vert="horz" lIns="0" tIns="0" rIns="0" bIns="0" rtlCol="0">
            <a:noAutofit/>
          </a:bodyPr>
          <a:lstStyle>
            <a:lvl1pPr marL="0" marR="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lang="en-GB"/>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photo or illustration.</a:t>
            </a:r>
          </a:p>
        </p:txBody>
      </p:sp>
      <p:sp>
        <p:nvSpPr>
          <p:cNvPr id="12" name="Text Placeholder 5">
            <a:extLst>
              <a:ext uri="{FF2B5EF4-FFF2-40B4-BE49-F238E27FC236}">
                <a16:creationId xmlns:a16="http://schemas.microsoft.com/office/drawing/2014/main" id="{769031AD-BE5D-A3B7-1DEC-6584F4E4BF8D}"/>
              </a:ext>
            </a:extLst>
          </p:cNvPr>
          <p:cNvSpPr>
            <a:spLocks noGrp="1"/>
          </p:cNvSpPr>
          <p:nvPr>
            <p:ph type="body" sz="quarter" idx="12" hasCustomPrompt="1"/>
          </p:nvPr>
        </p:nvSpPr>
        <p:spPr>
          <a:xfrm>
            <a:off x="6165850" y="1306512"/>
            <a:ext cx="5736764" cy="911019"/>
          </a:xfrm>
        </p:spPr>
        <p:txBody>
          <a:bodyPr wrap="square" anchor="ctr">
            <a:spAutoFit/>
          </a:bodyPr>
          <a:lstStyle>
            <a:lvl1pPr>
              <a:lnSpc>
                <a:spcPct val="80000"/>
              </a:lnSpc>
              <a:defRPr sz="7400" b="0" i="0">
                <a:solidFill>
                  <a:schemeClr val="accent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GB"/>
              <a:t>Key text</a:t>
            </a:r>
          </a:p>
        </p:txBody>
      </p:sp>
      <p:sp>
        <p:nvSpPr>
          <p:cNvPr id="13" name="Text Placeholder 5">
            <a:extLst>
              <a:ext uri="{FF2B5EF4-FFF2-40B4-BE49-F238E27FC236}">
                <a16:creationId xmlns:a16="http://schemas.microsoft.com/office/drawing/2014/main" id="{C02A894D-CD72-8370-90B3-68756CDFCBE0}"/>
              </a:ext>
            </a:extLst>
          </p:cNvPr>
          <p:cNvSpPr>
            <a:spLocks noGrp="1"/>
          </p:cNvSpPr>
          <p:nvPr>
            <p:ph type="body" sz="quarter" idx="15" hasCustomPrompt="1"/>
          </p:nvPr>
        </p:nvSpPr>
        <p:spPr>
          <a:xfrm>
            <a:off x="1266825" y="4377028"/>
            <a:ext cx="4754562" cy="911019"/>
          </a:xfrm>
        </p:spPr>
        <p:txBody>
          <a:bodyPr wrap="square" anchor="ctr">
            <a:spAutoFit/>
          </a:bodyPr>
          <a:lstStyle>
            <a:lvl1pPr>
              <a:lnSpc>
                <a:spcPct val="80000"/>
              </a:lnSpc>
              <a:defRPr sz="7400" b="0" i="0">
                <a:solidFill>
                  <a:schemeClr val="accent1"/>
                </a:solidFill>
                <a:latin typeface="+mj-lt"/>
              </a:defRPr>
            </a:lvl1pPr>
            <a:lvl2pPr>
              <a:lnSpc>
                <a:spcPct val="80000"/>
              </a:lnSpc>
              <a:defRPr lang="en-GB" dirty="0" smtClean="0"/>
            </a:lvl2pPr>
            <a:lvl3pPr>
              <a:lnSpc>
                <a:spcPct val="80000"/>
              </a:lnSpc>
              <a:defRPr lang="en-GB" dirty="0" smtClean="0"/>
            </a:lvl3pPr>
            <a:lvl4pPr>
              <a:lnSpc>
                <a:spcPct val="80000"/>
              </a:lnSpc>
              <a:defRPr lang="en-GB" dirty="0" smtClean="0"/>
            </a:lvl4pPr>
            <a:lvl5pPr>
              <a:lnSpc>
                <a:spcPct val="80000"/>
              </a:lnSpc>
              <a:defRPr lang="en-GB" dirty="0"/>
            </a:lvl5pPr>
          </a:lstStyle>
          <a:p>
            <a:pPr lvl="0"/>
            <a:r>
              <a:rPr lang="en-GB"/>
              <a:t>goes here</a:t>
            </a:r>
          </a:p>
        </p:txBody>
      </p:sp>
    </p:spTree>
    <p:extLst>
      <p:ext uri="{BB962C8B-B14F-4D97-AF65-F5344CB8AC3E}">
        <p14:creationId xmlns:p14="http://schemas.microsoft.com/office/powerpoint/2010/main" val="47452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63" presetClass="path" presetSubtype="0" accel="50000" decel="50000" fill="hold" grpId="1" nodeType="withEffect">
                                  <p:stCondLst>
                                    <p:cond delay="0"/>
                                  </p:stCondLst>
                                  <p:childTnLst>
                                    <p:animMotion origin="layout" path="M 1.45833E-6 -4.07407E-6 L 0.03906 -4.07407E-6 " pathEditMode="relative" rAng="0" ptsTypes="AA">
                                      <p:cBhvr>
                                        <p:cTn id="9" dur="1000" spd="-100000" fill="hold"/>
                                        <p:tgtEl>
                                          <p:spTgt spid="12"/>
                                        </p:tgtEl>
                                        <p:attrNameLst>
                                          <p:attrName>ppt_x</p:attrName>
                                          <p:attrName>ppt_y</p:attrName>
                                        </p:attrNameLst>
                                      </p:cBhvr>
                                      <p:rCtr x="1953"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par>
                                <p:cTn id="17" presetID="63" presetClass="path" presetSubtype="0" accel="50000" decel="50000" fill="hold" grpId="1" nodeType="withEffect">
                                  <p:stCondLst>
                                    <p:cond delay="0"/>
                                  </p:stCondLst>
                                  <p:childTnLst>
                                    <p:animMotion origin="layout" path="M -3.33333E-6 -3.7037E-6 L -0.03437 -3.7037E-6 " pathEditMode="relative" rAng="0" ptsTypes="AA">
                                      <p:cBhvr>
                                        <p:cTn id="18" dur="1000" spd="-100000" fill="hold"/>
                                        <p:tgtEl>
                                          <p:spTgt spid="13"/>
                                        </p:tgtEl>
                                        <p:attrNameLst>
                                          <p:attrName>ppt_x</p:attrName>
                                          <p:attrName>ppt_y</p:attrName>
                                        </p:attrNameLst>
                                      </p:cBhvr>
                                      <p:rCtr x="-1719" y="0"/>
                                    </p:animMotion>
                                  </p:childTnLst>
                                </p:cTn>
                              </p:par>
                              <p:par>
                                <p:cTn id="19" presetID="10"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p:tmplLst>
          <p:tmpl>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2" grpId="1"/>
      <p:bldP spid="13" grpId="0">
        <p:tmplLst>
          <p:tmpl>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13" grpId="1"/>
    </p:bld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eam Slide x 1">
    <p:bg>
      <p:bgPr>
        <a:solidFill>
          <a:schemeClr val="accent1"/>
        </a:solidFill>
        <a:effectLst/>
      </p:bgPr>
    </p:bg>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9C02CF3-9045-EF62-4E25-544B1DCA8AEF}"/>
              </a:ext>
            </a:extLst>
          </p:cNvPr>
          <p:cNvSpPr>
            <a:spLocks noGrp="1"/>
          </p:cNvSpPr>
          <p:nvPr>
            <p:ph type="sldNum" sz="quarter" idx="12"/>
          </p:nvPr>
        </p:nvSpPr>
        <p:spPr/>
        <p:txBody>
          <a:bodyPr/>
          <a:lstStyle>
            <a:lvl1pPr>
              <a:defRPr>
                <a:solidFill>
                  <a:schemeClr val="bg1"/>
                </a:solidFill>
              </a:defRPr>
            </a:lvl1pPr>
          </a:lstStyle>
          <a:p>
            <a:fld id="{AEC8D767-5246-2244-A4A3-B8AFB218393C}" type="slidenum">
              <a:rPr lang="en-GB" smtClean="0"/>
              <a:pPr/>
              <a:t>‹#›</a:t>
            </a:fld>
            <a:endParaRPr lang="en-GB"/>
          </a:p>
        </p:txBody>
      </p:sp>
      <p:sp>
        <p:nvSpPr>
          <p:cNvPr id="23" name="Picture Placeholder 3">
            <a:extLst>
              <a:ext uri="{FF2B5EF4-FFF2-40B4-BE49-F238E27FC236}">
                <a16:creationId xmlns:a16="http://schemas.microsoft.com/office/drawing/2014/main" id="{9858E5CC-B320-8459-7BD7-5CE14C5E3AC9}"/>
              </a:ext>
            </a:extLst>
          </p:cNvPr>
          <p:cNvSpPr>
            <a:spLocks noGrp="1"/>
          </p:cNvSpPr>
          <p:nvPr>
            <p:ph type="pic" sz="quarter" idx="23" hasCustomPrompt="1"/>
          </p:nvPr>
        </p:nvSpPr>
        <p:spPr>
          <a:xfrm>
            <a:off x="6170614" y="0"/>
            <a:ext cx="6021385" cy="6858000"/>
          </a:xfrm>
          <a:solidFill>
            <a:schemeClr val="tx2"/>
          </a:solidFill>
        </p:spPr>
        <p:txBody>
          <a:bodyPr vert="horz" lIns="0" tIns="0" rIns="0" bIns="0" rtlCol="0">
            <a:noAutofit/>
          </a:bodyPr>
          <a:lstStyle>
            <a:lvl1pPr>
              <a:defRPr lang="en-GB" dirty="0">
                <a:solidFill>
                  <a:schemeClr val="tx1"/>
                </a:solidFill>
              </a:defRPr>
            </a:lvl1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lang="en-US"/>
              <a:t>Click the icon to add a team member headshot.</a:t>
            </a:r>
          </a:p>
        </p:txBody>
      </p:sp>
      <p:sp>
        <p:nvSpPr>
          <p:cNvPr id="4" name="Text Placeholder 10">
            <a:extLst>
              <a:ext uri="{FF2B5EF4-FFF2-40B4-BE49-F238E27FC236}">
                <a16:creationId xmlns:a16="http://schemas.microsoft.com/office/drawing/2014/main" id="{9C68E616-CAC0-EE06-D15E-AFFEF3740EFF}"/>
              </a:ext>
            </a:extLst>
          </p:cNvPr>
          <p:cNvSpPr>
            <a:spLocks noGrp="1"/>
          </p:cNvSpPr>
          <p:nvPr>
            <p:ph type="body" sz="quarter" idx="26" hasCustomPrompt="1"/>
          </p:nvPr>
        </p:nvSpPr>
        <p:spPr>
          <a:xfrm>
            <a:off x="288925" y="5394325"/>
            <a:ext cx="2795587" cy="876300"/>
          </a:xfrm>
        </p:spPr>
        <p:txBody>
          <a:bodyPr anchor="t"/>
          <a:lstStyle>
            <a:lvl1pPr>
              <a:spcBef>
                <a:spcPts val="0"/>
              </a:spcBef>
              <a:spcAft>
                <a:spcPts val="0"/>
              </a:spcAft>
              <a:defRPr lang="en-GB" sz="1400" b="1" i="0" kern="1200" dirty="0">
                <a:solidFill>
                  <a:schemeClr val="bg1"/>
                </a:solidFill>
                <a:latin typeface="Johnson Text" pitchFamily="2" charset="77"/>
                <a:ea typeface="+mn-ea"/>
                <a:cs typeface="+mn-cs"/>
              </a:defRPr>
            </a:lvl1pPr>
            <a:lvl2pPr marL="0" indent="0">
              <a:spcBef>
                <a:spcPts val="0"/>
              </a:spcBef>
              <a:spcAft>
                <a:spcPts val="0"/>
              </a:spcAft>
              <a:buNone/>
              <a:defRPr sz="1400" b="0" i="0">
                <a:solidFill>
                  <a:schemeClr val="bg1"/>
                </a:solidFill>
                <a:latin typeface="Johnson Text" pitchFamily="2" charset="77"/>
              </a:defRPr>
            </a:lvl2pPr>
            <a:lvl3pPr marL="320675" indent="-320675">
              <a:spcBef>
                <a:spcPts val="0"/>
              </a:spcBef>
              <a:spcAft>
                <a:spcPts val="0"/>
              </a:spcAft>
              <a:tabLst/>
              <a:defRPr/>
            </a:lvl3pPr>
            <a:lvl4pPr>
              <a:spcBef>
                <a:spcPts val="0"/>
              </a:spcBef>
              <a:spcAft>
                <a:spcPts val="0"/>
              </a:spcAft>
              <a:defRPr/>
            </a:lvl4pPr>
            <a:lvl5pPr>
              <a:spcBef>
                <a:spcPts val="0"/>
              </a:spcBef>
              <a:spcAft>
                <a:spcPts val="0"/>
              </a:spcAft>
              <a:defRPr/>
            </a:lvl5pPr>
          </a:lstStyle>
          <a:p>
            <a:pPr lvl="0"/>
            <a:r>
              <a:rPr lang="en-GB" err="1"/>
              <a:t>Firstname</a:t>
            </a:r>
            <a:r>
              <a:rPr lang="en-GB"/>
              <a:t> Surname</a:t>
            </a:r>
          </a:p>
          <a:p>
            <a:pPr lvl="1"/>
            <a:r>
              <a:rPr lang="en-GB"/>
              <a:t>Role, Location</a:t>
            </a:r>
          </a:p>
        </p:txBody>
      </p:sp>
      <p:sp>
        <p:nvSpPr>
          <p:cNvPr id="5" name="Text Placeholder 7">
            <a:extLst>
              <a:ext uri="{FF2B5EF4-FFF2-40B4-BE49-F238E27FC236}">
                <a16:creationId xmlns:a16="http://schemas.microsoft.com/office/drawing/2014/main" id="{D8DD8F62-9521-0227-75CF-0AE636418711}"/>
              </a:ext>
            </a:extLst>
          </p:cNvPr>
          <p:cNvSpPr>
            <a:spLocks noGrp="1"/>
          </p:cNvSpPr>
          <p:nvPr>
            <p:ph type="body" sz="quarter" idx="15" hasCustomPrompt="1"/>
          </p:nvPr>
        </p:nvSpPr>
        <p:spPr>
          <a:xfrm>
            <a:off x="288925" y="2338388"/>
            <a:ext cx="3778250" cy="189388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GB"/>
              <a:t>Click to add text. Delete if not required.</a:t>
            </a:r>
          </a:p>
          <a:p>
            <a:pPr lvl="1"/>
            <a:r>
              <a:rPr lang="en-GB"/>
              <a:t>Second level</a:t>
            </a:r>
          </a:p>
          <a:p>
            <a:pPr lvl="2"/>
            <a:r>
              <a:rPr lang="en-GB"/>
              <a:t>Third level</a:t>
            </a:r>
          </a:p>
        </p:txBody>
      </p:sp>
      <p:sp>
        <p:nvSpPr>
          <p:cNvPr id="9" name="Title 7">
            <a:extLst>
              <a:ext uri="{FF2B5EF4-FFF2-40B4-BE49-F238E27FC236}">
                <a16:creationId xmlns:a16="http://schemas.microsoft.com/office/drawing/2014/main" id="{B09A4C51-350E-EA65-5ABE-B10E6D298CF1}"/>
              </a:ext>
            </a:extLst>
          </p:cNvPr>
          <p:cNvSpPr>
            <a:spLocks noGrp="1"/>
          </p:cNvSpPr>
          <p:nvPr>
            <p:ph type="title" hasCustomPrompt="1"/>
          </p:nvPr>
        </p:nvSpPr>
        <p:spPr>
          <a:xfrm>
            <a:off x="288303" y="262800"/>
            <a:ext cx="5733085" cy="468590"/>
          </a:xfrm>
        </p:spPr>
        <p:txBody>
          <a:bodyPr/>
          <a:lstStyle>
            <a:lvl1pPr>
              <a:defRPr>
                <a:solidFill>
                  <a:schemeClr val="bg1"/>
                </a:solidFill>
              </a:defRPr>
            </a:lvl1pPr>
          </a:lstStyle>
          <a:p>
            <a:r>
              <a:rPr lang="en-US"/>
              <a:t>Master title style</a:t>
            </a:r>
            <a:endParaRPr lang="en-GB"/>
          </a:p>
        </p:txBody>
      </p:sp>
      <p:sp>
        <p:nvSpPr>
          <p:cNvPr id="2" name="Subtitle 2">
            <a:extLst>
              <a:ext uri="{FF2B5EF4-FFF2-40B4-BE49-F238E27FC236}">
                <a16:creationId xmlns:a16="http://schemas.microsoft.com/office/drawing/2014/main" id="{5751BFC5-7E94-8966-6D2A-5204BCB942D2}"/>
              </a:ext>
            </a:extLst>
          </p:cNvPr>
          <p:cNvSpPr>
            <a:spLocks noGrp="1"/>
          </p:cNvSpPr>
          <p:nvPr>
            <p:ph type="subTitle" idx="16" hasCustomPrompt="1"/>
          </p:nvPr>
        </p:nvSpPr>
        <p:spPr>
          <a:xfrm>
            <a:off x="288302" y="713620"/>
            <a:ext cx="5733085" cy="292965"/>
          </a:xfrm>
        </p:spPr>
        <p:txBody>
          <a:bodyPr vert="horz" wrap="square" lIns="0" tIns="0" rIns="0" bIns="0" rtlCol="0" anchor="t">
            <a:spAutoFit/>
          </a:bodyPr>
          <a:lstStyle>
            <a:lvl1pPr>
              <a:defRPr lang="en-GB" b="1" dirty="0">
                <a:solidFill>
                  <a:schemeClr val="bg1"/>
                </a:solidFill>
              </a:defRPr>
            </a:lvl1pPr>
          </a:lstStyle>
          <a:p>
            <a:pPr lvl="0"/>
            <a:r>
              <a:rPr lang="en-GB"/>
              <a:t>Subtitle. Delete if not required.</a:t>
            </a:r>
          </a:p>
        </p:txBody>
      </p:sp>
      <p:sp>
        <p:nvSpPr>
          <p:cNvPr id="3" name="Graphic 8">
            <a:extLst>
              <a:ext uri="{FF2B5EF4-FFF2-40B4-BE49-F238E27FC236}">
                <a16:creationId xmlns:a16="http://schemas.microsoft.com/office/drawing/2014/main" id="{C40E4DC1-BB74-3975-DFE6-D6234B08E410}"/>
              </a:ext>
            </a:extLst>
          </p:cNvPr>
          <p:cNvSpPr>
            <a:spLocks noChangeAspect="1"/>
          </p:cNvSpPr>
          <p:nvPr userDrawn="1"/>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bg1"/>
          </a:solidFill>
          <a:ln w="24751" cap="flat">
            <a:noFill/>
            <a:prstDash val="solid"/>
            <a:miter/>
          </a:ln>
        </p:spPr>
        <p:txBody>
          <a:bodyPr rtlCol="0" anchor="ctr"/>
          <a:lstStyle/>
          <a:p>
            <a:endParaRPr lang="en-GB"/>
          </a:p>
        </p:txBody>
      </p:sp>
    </p:spTree>
    <p:extLst>
      <p:ext uri="{BB962C8B-B14F-4D97-AF65-F5344CB8AC3E}">
        <p14:creationId xmlns:p14="http://schemas.microsoft.com/office/powerpoint/2010/main" val="253067825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9" Type="http://schemas.openxmlformats.org/officeDocument/2006/relationships/slideLayout" Target="../slideLayouts/slideLayout93.xml"/><Relationship Id="rId21" Type="http://schemas.openxmlformats.org/officeDocument/2006/relationships/slideLayout" Target="../slideLayouts/slideLayout75.xml"/><Relationship Id="rId34" Type="http://schemas.openxmlformats.org/officeDocument/2006/relationships/slideLayout" Target="../slideLayouts/slideLayout88.xml"/><Relationship Id="rId42" Type="http://schemas.openxmlformats.org/officeDocument/2006/relationships/slideLayout" Target="../slideLayouts/slideLayout96.xml"/><Relationship Id="rId47" Type="http://schemas.openxmlformats.org/officeDocument/2006/relationships/slideLayout" Target="../slideLayouts/slideLayout101.xml"/><Relationship Id="rId50" Type="http://schemas.openxmlformats.org/officeDocument/2006/relationships/slideLayout" Target="../slideLayouts/slideLayout104.xml"/><Relationship Id="rId7" Type="http://schemas.openxmlformats.org/officeDocument/2006/relationships/slideLayout" Target="../slideLayouts/slideLayout6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9" Type="http://schemas.openxmlformats.org/officeDocument/2006/relationships/slideLayout" Target="../slideLayouts/slideLayout83.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32" Type="http://schemas.openxmlformats.org/officeDocument/2006/relationships/slideLayout" Target="../slideLayouts/slideLayout86.xml"/><Relationship Id="rId37" Type="http://schemas.openxmlformats.org/officeDocument/2006/relationships/slideLayout" Target="../slideLayouts/slideLayout91.xml"/><Relationship Id="rId40" Type="http://schemas.openxmlformats.org/officeDocument/2006/relationships/slideLayout" Target="../slideLayouts/slideLayout94.xml"/><Relationship Id="rId45" Type="http://schemas.openxmlformats.org/officeDocument/2006/relationships/slideLayout" Target="../slideLayouts/slideLayout99.xml"/><Relationship Id="rId53" Type="http://schemas.openxmlformats.org/officeDocument/2006/relationships/slideLayout" Target="../slideLayouts/slideLayout107.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slideLayout" Target="../slideLayouts/slideLayout85.xml"/><Relationship Id="rId44" Type="http://schemas.openxmlformats.org/officeDocument/2006/relationships/slideLayout" Target="../slideLayouts/slideLayout98.xml"/><Relationship Id="rId52" Type="http://schemas.openxmlformats.org/officeDocument/2006/relationships/slideLayout" Target="../slideLayouts/slideLayout106.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slideLayout" Target="../slideLayouts/slideLayout84.xml"/><Relationship Id="rId35" Type="http://schemas.openxmlformats.org/officeDocument/2006/relationships/slideLayout" Target="../slideLayouts/slideLayout89.xml"/><Relationship Id="rId43" Type="http://schemas.openxmlformats.org/officeDocument/2006/relationships/slideLayout" Target="../slideLayouts/slideLayout97.xml"/><Relationship Id="rId48" Type="http://schemas.openxmlformats.org/officeDocument/2006/relationships/slideLayout" Target="../slideLayouts/slideLayout102.xml"/><Relationship Id="rId8" Type="http://schemas.openxmlformats.org/officeDocument/2006/relationships/slideLayout" Target="../slideLayouts/slideLayout62.xml"/><Relationship Id="rId51" Type="http://schemas.openxmlformats.org/officeDocument/2006/relationships/slideLayout" Target="../slideLayouts/slideLayout105.xml"/><Relationship Id="rId3" Type="http://schemas.openxmlformats.org/officeDocument/2006/relationships/slideLayout" Target="../slideLayouts/slideLayout57.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33" Type="http://schemas.openxmlformats.org/officeDocument/2006/relationships/slideLayout" Target="../slideLayouts/slideLayout87.xml"/><Relationship Id="rId38" Type="http://schemas.openxmlformats.org/officeDocument/2006/relationships/slideLayout" Target="../slideLayouts/slideLayout92.xml"/><Relationship Id="rId46" Type="http://schemas.openxmlformats.org/officeDocument/2006/relationships/slideLayout" Target="../slideLayouts/slideLayout100.xml"/><Relationship Id="rId20" Type="http://schemas.openxmlformats.org/officeDocument/2006/relationships/slideLayout" Target="../slideLayouts/slideLayout74.xml"/><Relationship Id="rId41" Type="http://schemas.openxmlformats.org/officeDocument/2006/relationships/slideLayout" Target="../slideLayouts/slideLayout95.xml"/><Relationship Id="rId54" Type="http://schemas.openxmlformats.org/officeDocument/2006/relationships/theme" Target="../theme/theme2.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36" Type="http://schemas.openxmlformats.org/officeDocument/2006/relationships/slideLayout" Target="../slideLayouts/slideLayout90.xml"/><Relationship Id="rId49" Type="http://schemas.openxmlformats.org/officeDocument/2006/relationships/slideLayout" Target="../slideLayouts/slideLayout10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26" Type="http://schemas.openxmlformats.org/officeDocument/2006/relationships/slideLayout" Target="../slideLayouts/slideLayout133.xml"/><Relationship Id="rId39" Type="http://schemas.openxmlformats.org/officeDocument/2006/relationships/slideLayout" Target="../slideLayouts/slideLayout146.xml"/><Relationship Id="rId21" Type="http://schemas.openxmlformats.org/officeDocument/2006/relationships/slideLayout" Target="../slideLayouts/slideLayout128.xml"/><Relationship Id="rId34" Type="http://schemas.openxmlformats.org/officeDocument/2006/relationships/slideLayout" Target="../slideLayouts/slideLayout141.xml"/><Relationship Id="rId42" Type="http://schemas.openxmlformats.org/officeDocument/2006/relationships/slideLayout" Target="../slideLayouts/slideLayout149.xml"/><Relationship Id="rId47" Type="http://schemas.openxmlformats.org/officeDocument/2006/relationships/slideLayout" Target="../slideLayouts/slideLayout154.xml"/><Relationship Id="rId50" Type="http://schemas.openxmlformats.org/officeDocument/2006/relationships/slideLayout" Target="../slideLayouts/slideLayout157.xml"/><Relationship Id="rId55" Type="http://schemas.openxmlformats.org/officeDocument/2006/relationships/slideLayout" Target="../slideLayouts/slideLayout162.xml"/><Relationship Id="rId7" Type="http://schemas.openxmlformats.org/officeDocument/2006/relationships/slideLayout" Target="../slideLayouts/slideLayout114.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9" Type="http://schemas.openxmlformats.org/officeDocument/2006/relationships/slideLayout" Target="../slideLayouts/slideLayout136.xml"/><Relationship Id="rId11" Type="http://schemas.openxmlformats.org/officeDocument/2006/relationships/slideLayout" Target="../slideLayouts/slideLayout118.xml"/><Relationship Id="rId24" Type="http://schemas.openxmlformats.org/officeDocument/2006/relationships/slideLayout" Target="../slideLayouts/slideLayout131.xml"/><Relationship Id="rId32" Type="http://schemas.openxmlformats.org/officeDocument/2006/relationships/slideLayout" Target="../slideLayouts/slideLayout139.xml"/><Relationship Id="rId37" Type="http://schemas.openxmlformats.org/officeDocument/2006/relationships/slideLayout" Target="../slideLayouts/slideLayout144.xml"/><Relationship Id="rId40" Type="http://schemas.openxmlformats.org/officeDocument/2006/relationships/slideLayout" Target="../slideLayouts/slideLayout147.xml"/><Relationship Id="rId45" Type="http://schemas.openxmlformats.org/officeDocument/2006/relationships/slideLayout" Target="../slideLayouts/slideLayout152.xml"/><Relationship Id="rId53" Type="http://schemas.openxmlformats.org/officeDocument/2006/relationships/slideLayout" Target="../slideLayouts/slideLayout160.xml"/><Relationship Id="rId58" Type="http://schemas.openxmlformats.org/officeDocument/2006/relationships/theme" Target="../theme/theme3.xml"/><Relationship Id="rId5" Type="http://schemas.openxmlformats.org/officeDocument/2006/relationships/slideLayout" Target="../slideLayouts/slideLayout112.xml"/><Relationship Id="rId19" Type="http://schemas.openxmlformats.org/officeDocument/2006/relationships/slideLayout" Target="../slideLayouts/slideLayout12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 Id="rId22" Type="http://schemas.openxmlformats.org/officeDocument/2006/relationships/slideLayout" Target="../slideLayouts/slideLayout129.xml"/><Relationship Id="rId27" Type="http://schemas.openxmlformats.org/officeDocument/2006/relationships/slideLayout" Target="../slideLayouts/slideLayout134.xml"/><Relationship Id="rId30" Type="http://schemas.openxmlformats.org/officeDocument/2006/relationships/slideLayout" Target="../slideLayouts/slideLayout137.xml"/><Relationship Id="rId35" Type="http://schemas.openxmlformats.org/officeDocument/2006/relationships/slideLayout" Target="../slideLayouts/slideLayout142.xml"/><Relationship Id="rId43" Type="http://schemas.openxmlformats.org/officeDocument/2006/relationships/slideLayout" Target="../slideLayouts/slideLayout150.xml"/><Relationship Id="rId48" Type="http://schemas.openxmlformats.org/officeDocument/2006/relationships/slideLayout" Target="../slideLayouts/slideLayout155.xml"/><Relationship Id="rId56" Type="http://schemas.openxmlformats.org/officeDocument/2006/relationships/slideLayout" Target="../slideLayouts/slideLayout163.xml"/><Relationship Id="rId8" Type="http://schemas.openxmlformats.org/officeDocument/2006/relationships/slideLayout" Target="../slideLayouts/slideLayout115.xml"/><Relationship Id="rId51" Type="http://schemas.openxmlformats.org/officeDocument/2006/relationships/slideLayout" Target="../slideLayouts/slideLayout158.xml"/><Relationship Id="rId3" Type="http://schemas.openxmlformats.org/officeDocument/2006/relationships/slideLayout" Target="../slideLayouts/slideLayout110.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5" Type="http://schemas.openxmlformats.org/officeDocument/2006/relationships/slideLayout" Target="../slideLayouts/slideLayout132.xml"/><Relationship Id="rId33" Type="http://schemas.openxmlformats.org/officeDocument/2006/relationships/slideLayout" Target="../slideLayouts/slideLayout140.xml"/><Relationship Id="rId38" Type="http://schemas.openxmlformats.org/officeDocument/2006/relationships/slideLayout" Target="../slideLayouts/slideLayout145.xml"/><Relationship Id="rId46" Type="http://schemas.openxmlformats.org/officeDocument/2006/relationships/slideLayout" Target="../slideLayouts/slideLayout153.xml"/><Relationship Id="rId20" Type="http://schemas.openxmlformats.org/officeDocument/2006/relationships/slideLayout" Target="../slideLayouts/slideLayout127.xml"/><Relationship Id="rId41" Type="http://schemas.openxmlformats.org/officeDocument/2006/relationships/slideLayout" Target="../slideLayouts/slideLayout148.xml"/><Relationship Id="rId54" Type="http://schemas.openxmlformats.org/officeDocument/2006/relationships/slideLayout" Target="../slideLayouts/slideLayout161.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5" Type="http://schemas.openxmlformats.org/officeDocument/2006/relationships/slideLayout" Target="../slideLayouts/slideLayout122.xml"/><Relationship Id="rId23" Type="http://schemas.openxmlformats.org/officeDocument/2006/relationships/slideLayout" Target="../slideLayouts/slideLayout130.xml"/><Relationship Id="rId28" Type="http://schemas.openxmlformats.org/officeDocument/2006/relationships/slideLayout" Target="../slideLayouts/slideLayout135.xml"/><Relationship Id="rId36" Type="http://schemas.openxmlformats.org/officeDocument/2006/relationships/slideLayout" Target="../slideLayouts/slideLayout143.xml"/><Relationship Id="rId49" Type="http://schemas.openxmlformats.org/officeDocument/2006/relationships/slideLayout" Target="../slideLayouts/slideLayout156.xml"/><Relationship Id="rId57" Type="http://schemas.openxmlformats.org/officeDocument/2006/relationships/slideLayout" Target="../slideLayouts/slideLayout164.xml"/><Relationship Id="rId10" Type="http://schemas.openxmlformats.org/officeDocument/2006/relationships/slideLayout" Target="../slideLayouts/slideLayout117.xml"/><Relationship Id="rId31" Type="http://schemas.openxmlformats.org/officeDocument/2006/relationships/slideLayout" Target="../slideLayouts/slideLayout138.xml"/><Relationship Id="rId44" Type="http://schemas.openxmlformats.org/officeDocument/2006/relationships/slideLayout" Target="../slideLayouts/slideLayout151.xml"/><Relationship Id="rId52" Type="http://schemas.openxmlformats.org/officeDocument/2006/relationships/slideLayout" Target="../slideLayouts/slideLayout15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9" Type="http://schemas.openxmlformats.org/officeDocument/2006/relationships/slideLayout" Target="../slideLayouts/slideLayout203.xml"/><Relationship Id="rId21" Type="http://schemas.openxmlformats.org/officeDocument/2006/relationships/slideLayout" Target="../slideLayouts/slideLayout185.xml"/><Relationship Id="rId34" Type="http://schemas.openxmlformats.org/officeDocument/2006/relationships/slideLayout" Target="../slideLayouts/slideLayout198.xml"/><Relationship Id="rId42" Type="http://schemas.openxmlformats.org/officeDocument/2006/relationships/slideLayout" Target="../slideLayouts/slideLayout206.xml"/><Relationship Id="rId47" Type="http://schemas.openxmlformats.org/officeDocument/2006/relationships/slideLayout" Target="../slideLayouts/slideLayout211.xml"/><Relationship Id="rId50" Type="http://schemas.openxmlformats.org/officeDocument/2006/relationships/slideLayout" Target="../slideLayouts/slideLayout214.xml"/><Relationship Id="rId7" Type="http://schemas.openxmlformats.org/officeDocument/2006/relationships/slideLayout" Target="../slideLayouts/slideLayout171.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9" Type="http://schemas.openxmlformats.org/officeDocument/2006/relationships/slideLayout" Target="../slideLayouts/slideLayout193.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32" Type="http://schemas.openxmlformats.org/officeDocument/2006/relationships/slideLayout" Target="../slideLayouts/slideLayout196.xml"/><Relationship Id="rId37" Type="http://schemas.openxmlformats.org/officeDocument/2006/relationships/slideLayout" Target="../slideLayouts/slideLayout201.xml"/><Relationship Id="rId40" Type="http://schemas.openxmlformats.org/officeDocument/2006/relationships/slideLayout" Target="../slideLayouts/slideLayout204.xml"/><Relationship Id="rId45" Type="http://schemas.openxmlformats.org/officeDocument/2006/relationships/slideLayout" Target="../slideLayouts/slideLayout209.xml"/><Relationship Id="rId53" Type="http://schemas.openxmlformats.org/officeDocument/2006/relationships/slideLayout" Target="../slideLayouts/slideLayout217.xml"/><Relationship Id="rId5" Type="http://schemas.openxmlformats.org/officeDocument/2006/relationships/slideLayout" Target="../slideLayouts/slideLayout169.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31" Type="http://schemas.openxmlformats.org/officeDocument/2006/relationships/slideLayout" Target="../slideLayouts/slideLayout195.xml"/><Relationship Id="rId44" Type="http://schemas.openxmlformats.org/officeDocument/2006/relationships/slideLayout" Target="../slideLayouts/slideLayout208.xml"/><Relationship Id="rId52" Type="http://schemas.openxmlformats.org/officeDocument/2006/relationships/slideLayout" Target="../slideLayouts/slideLayout216.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 Id="rId30" Type="http://schemas.openxmlformats.org/officeDocument/2006/relationships/slideLayout" Target="../slideLayouts/slideLayout194.xml"/><Relationship Id="rId35" Type="http://schemas.openxmlformats.org/officeDocument/2006/relationships/slideLayout" Target="../slideLayouts/slideLayout199.xml"/><Relationship Id="rId43" Type="http://schemas.openxmlformats.org/officeDocument/2006/relationships/slideLayout" Target="../slideLayouts/slideLayout207.xml"/><Relationship Id="rId48" Type="http://schemas.openxmlformats.org/officeDocument/2006/relationships/slideLayout" Target="../slideLayouts/slideLayout212.xml"/><Relationship Id="rId8" Type="http://schemas.openxmlformats.org/officeDocument/2006/relationships/slideLayout" Target="../slideLayouts/slideLayout172.xml"/><Relationship Id="rId51" Type="http://schemas.openxmlformats.org/officeDocument/2006/relationships/slideLayout" Target="../slideLayouts/slideLayout215.xml"/><Relationship Id="rId3" Type="http://schemas.openxmlformats.org/officeDocument/2006/relationships/slideLayout" Target="../slideLayouts/slideLayout167.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33" Type="http://schemas.openxmlformats.org/officeDocument/2006/relationships/slideLayout" Target="../slideLayouts/slideLayout197.xml"/><Relationship Id="rId38" Type="http://schemas.openxmlformats.org/officeDocument/2006/relationships/slideLayout" Target="../slideLayouts/slideLayout202.xml"/><Relationship Id="rId46" Type="http://schemas.openxmlformats.org/officeDocument/2006/relationships/slideLayout" Target="../slideLayouts/slideLayout210.xml"/><Relationship Id="rId20" Type="http://schemas.openxmlformats.org/officeDocument/2006/relationships/slideLayout" Target="../slideLayouts/slideLayout184.xml"/><Relationship Id="rId41" Type="http://schemas.openxmlformats.org/officeDocument/2006/relationships/slideLayout" Target="../slideLayouts/slideLayout205.xml"/><Relationship Id="rId54" Type="http://schemas.openxmlformats.org/officeDocument/2006/relationships/theme" Target="../theme/theme4.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36" Type="http://schemas.openxmlformats.org/officeDocument/2006/relationships/slideLayout" Target="../slideLayouts/slideLayout200.xml"/><Relationship Id="rId49" Type="http://schemas.openxmlformats.org/officeDocument/2006/relationships/slideLayout" Target="../slideLayouts/slideLayout2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AD3AC25-83CD-60B4-726C-FF80D1E34156}"/>
              </a:ext>
            </a:extLst>
          </p:cNvPr>
          <p:cNvSpPr>
            <a:spLocks noGrp="1"/>
          </p:cNvSpPr>
          <p:nvPr>
            <p:ph type="title"/>
          </p:nvPr>
        </p:nvSpPr>
        <p:spPr>
          <a:xfrm>
            <a:off x="288303" y="262267"/>
            <a:ext cx="9649446" cy="457818"/>
          </a:xfrm>
          <a:prstGeom prst="rect">
            <a:avLst/>
          </a:prstGeom>
        </p:spPr>
        <p:txBody>
          <a:bodyPr vert="horz" wrap="square" lIns="0" tIns="0" rIns="0" bIns="0" rtlCol="0" anchor="t">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B6C014F-3AB8-1D05-B6D7-A26746AAF1A0}"/>
              </a:ext>
            </a:extLst>
          </p:cNvPr>
          <p:cNvSpPr>
            <a:spLocks noGrp="1"/>
          </p:cNvSpPr>
          <p:nvPr>
            <p:ph type="body" idx="1"/>
          </p:nvPr>
        </p:nvSpPr>
        <p:spPr>
          <a:xfrm>
            <a:off x="289384" y="1822450"/>
            <a:ext cx="11610516" cy="444817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C2DB68EF-BA48-F4BC-BE79-97134696D633}"/>
              </a:ext>
            </a:extLst>
          </p:cNvPr>
          <p:cNvSpPr>
            <a:spLocks noGrp="1"/>
          </p:cNvSpPr>
          <p:nvPr>
            <p:ph type="ftr" sz="quarter" idx="3"/>
          </p:nvPr>
        </p:nvSpPr>
        <p:spPr>
          <a:xfrm>
            <a:off x="1266824" y="6415710"/>
            <a:ext cx="4754563" cy="153463"/>
          </a:xfrm>
          <a:prstGeom prst="rect">
            <a:avLst/>
          </a:prstGeom>
        </p:spPr>
        <p:txBody>
          <a:bodyPr vert="horz" lIns="0" tIns="0" rIns="0" bIns="0" rtlCol="0" anchor="ctr"/>
          <a:lstStyle>
            <a:lvl1pPr algn="l">
              <a:lnSpc>
                <a:spcPct val="110000"/>
              </a:lnSpc>
              <a:spcBef>
                <a:spcPts val="600"/>
              </a:spcBef>
              <a:spcAft>
                <a:spcPts val="600"/>
              </a:spcAft>
              <a:defRPr sz="900" b="0" i="0">
                <a:solidFill>
                  <a:schemeClr val="tx1"/>
                </a:solidFill>
                <a:latin typeface="+mn-lt"/>
              </a:defRPr>
            </a:lvl1pPr>
          </a:lstStyle>
          <a:p>
            <a:r>
              <a:rPr lang="en-US"/>
              <a:t>Job Aid and Guidance Document still under review.</a:t>
            </a:r>
            <a:endParaRPr lang="en-GB"/>
          </a:p>
        </p:txBody>
      </p:sp>
      <p:sp>
        <p:nvSpPr>
          <p:cNvPr id="6" name="Slide Number Placeholder 5">
            <a:extLst>
              <a:ext uri="{FF2B5EF4-FFF2-40B4-BE49-F238E27FC236}">
                <a16:creationId xmlns:a16="http://schemas.microsoft.com/office/drawing/2014/main" id="{150AF38A-4788-8D76-5A2D-056814C2D2C7}"/>
              </a:ext>
            </a:extLst>
          </p:cNvPr>
          <p:cNvSpPr>
            <a:spLocks noGrp="1"/>
          </p:cNvSpPr>
          <p:nvPr>
            <p:ph type="sldNum" sz="quarter" idx="4"/>
          </p:nvPr>
        </p:nvSpPr>
        <p:spPr>
          <a:xfrm>
            <a:off x="11628582" y="6415711"/>
            <a:ext cx="274033" cy="150368"/>
          </a:xfrm>
          <a:prstGeom prst="rect">
            <a:avLst/>
          </a:prstGeom>
        </p:spPr>
        <p:txBody>
          <a:bodyPr vert="horz" lIns="0" tIns="0" rIns="0" bIns="0" rtlCol="0" anchor="ctr"/>
          <a:lstStyle>
            <a:lvl1pPr algn="r">
              <a:lnSpc>
                <a:spcPct val="110000"/>
              </a:lnSpc>
              <a:spcBef>
                <a:spcPts val="600"/>
              </a:spcBef>
              <a:spcAft>
                <a:spcPts val="600"/>
              </a:spcAft>
              <a:defRPr sz="900" b="0" i="0">
                <a:solidFill>
                  <a:schemeClr val="tx1"/>
                </a:solidFill>
                <a:latin typeface="+mn-lt"/>
              </a:defRPr>
            </a:lvl1pPr>
          </a:lstStyle>
          <a:p>
            <a:fld id="{AEC8D767-5246-2244-A4A3-B8AFB218393C}" type="slidenum">
              <a:rPr lang="en-GB" smtClean="0"/>
              <a:pPr/>
              <a:t>‹#›</a:t>
            </a:fld>
            <a:endParaRPr lang="en-GB"/>
          </a:p>
        </p:txBody>
      </p:sp>
      <p:sp>
        <p:nvSpPr>
          <p:cNvPr id="10" name="Graphic 8">
            <a:extLst>
              <a:ext uri="{FF2B5EF4-FFF2-40B4-BE49-F238E27FC236}">
                <a16:creationId xmlns:a16="http://schemas.microsoft.com/office/drawing/2014/main" id="{89912C14-54EA-5DA7-6F07-C2AB6D29AF6F}"/>
              </a:ext>
            </a:extLst>
          </p:cNvPr>
          <p:cNvSpPr>
            <a:spLocks noChangeAspect="1"/>
          </p:cNvSpPr>
          <p:nvPr/>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tx2"/>
          </a:solidFill>
          <a:ln w="24751" cap="flat">
            <a:noFill/>
            <a:prstDash val="solid"/>
            <a:miter/>
          </a:ln>
        </p:spPr>
        <p:txBody>
          <a:bodyPr rtlCol="0" anchor="ctr"/>
          <a:lstStyle/>
          <a:p>
            <a:endParaRPr lang="en-GB"/>
          </a:p>
        </p:txBody>
      </p:sp>
      <p:sp>
        <p:nvSpPr>
          <p:cNvPr id="4" name="Footer Placeholder 4">
            <a:extLst>
              <a:ext uri="{FF2B5EF4-FFF2-40B4-BE49-F238E27FC236}">
                <a16:creationId xmlns:a16="http://schemas.microsoft.com/office/drawing/2014/main" id="{F4FE9BDB-F7FB-7F69-5D3E-B16BB423AA20}"/>
              </a:ext>
            </a:extLst>
          </p:cNvPr>
          <p:cNvSpPr txBox="1">
            <a:spLocks/>
          </p:cNvSpPr>
          <p:nvPr userDrawn="1"/>
        </p:nvSpPr>
        <p:spPr>
          <a:xfrm>
            <a:off x="9772073" y="6424023"/>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a:t>HEALTH CARE COMPLIANCE</a:t>
            </a:r>
          </a:p>
        </p:txBody>
      </p:sp>
    </p:spTree>
    <p:extLst>
      <p:ext uri="{BB962C8B-B14F-4D97-AF65-F5344CB8AC3E}">
        <p14:creationId xmlns:p14="http://schemas.microsoft.com/office/powerpoint/2010/main" val="213543941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Lst>
  <p:hf hdr="0" dt="0"/>
  <p:txStyles>
    <p:titleStyle>
      <a:lvl1pPr algn="l" defTabSz="914400" rtl="0" eaLnBrk="1" latinLnBrk="0" hangingPunct="1">
        <a:lnSpc>
          <a:spcPct val="85000"/>
        </a:lnSpc>
        <a:spcBef>
          <a:spcPts val="600"/>
        </a:spcBef>
        <a:spcAft>
          <a:spcPts val="600"/>
        </a:spcAft>
        <a:buNone/>
        <a:defRPr sz="3500" b="0" i="0" kern="1200" spc="0" baseline="0">
          <a:solidFill>
            <a:schemeClr val="tx2"/>
          </a:solidFill>
          <a:latin typeface="+mj-lt"/>
          <a:ea typeface="+mj-ea"/>
          <a:cs typeface="+mj-cs"/>
        </a:defRPr>
      </a:lvl1pPr>
    </p:titleStyle>
    <p:body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sz="1800" b="0" i="0" kern="120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0" indent="0" algn="l" defTabSz="914400" rtl="0" eaLnBrk="1" latinLnBrk="0" hangingPunct="1">
        <a:lnSpc>
          <a:spcPct val="80000"/>
        </a:lnSpc>
        <a:spcBef>
          <a:spcPts val="600"/>
        </a:spcBef>
        <a:spcAft>
          <a:spcPts val="0"/>
        </a:spcAft>
        <a:buFont typeface="Arial" panose="020B0604020202020204" pitchFamily="34" charset="0"/>
        <a:buNone/>
        <a:tabLst/>
        <a:defRPr sz="7400" b="0" i="0" kern="1200">
          <a:solidFill>
            <a:schemeClr val="tx2"/>
          </a:solidFill>
          <a:latin typeface="+mj-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8">
          <p15:clr>
            <a:srgbClr val="F26B43"/>
          </p15:clr>
        </p15:guide>
        <p15:guide id="2" pos="181">
          <p15:clr>
            <a:srgbClr val="F26B43"/>
          </p15:clr>
        </p15:guide>
        <p15:guide id="3" pos="708">
          <p15:clr>
            <a:srgbClr val="F26B43"/>
          </p15:clr>
        </p15:guide>
        <p15:guide id="4" pos="798">
          <p15:clr>
            <a:srgbClr val="F26B43"/>
          </p15:clr>
        </p15:guide>
        <p15:guide id="5" pos="1325">
          <p15:clr>
            <a:srgbClr val="F26B43"/>
          </p15:clr>
        </p15:guide>
        <p15:guide id="6" pos="1415">
          <p15:clr>
            <a:srgbClr val="F26B43"/>
          </p15:clr>
        </p15:guide>
        <p15:guide id="7" pos="1942">
          <p15:clr>
            <a:srgbClr val="F26B43"/>
          </p15:clr>
        </p15:guide>
        <p15:guide id="8" pos="2032">
          <p15:clr>
            <a:srgbClr val="F26B43"/>
          </p15:clr>
        </p15:guide>
        <p15:guide id="9" pos="2559">
          <p15:clr>
            <a:srgbClr val="F26B43"/>
          </p15:clr>
        </p15:guide>
        <p15:guide id="10" pos="2650">
          <p15:clr>
            <a:srgbClr val="F26B43"/>
          </p15:clr>
        </p15:guide>
        <p15:guide id="11" pos="3176">
          <p15:clr>
            <a:srgbClr val="F26B43"/>
          </p15:clr>
        </p15:guide>
        <p15:guide id="12" pos="3267">
          <p15:clr>
            <a:srgbClr val="F26B43"/>
          </p15:clr>
        </p15:guide>
        <p15:guide id="13" pos="3793">
          <p15:clr>
            <a:srgbClr val="F26B43"/>
          </p15:clr>
        </p15:guide>
        <p15:guide id="14" pos="3884">
          <p15:clr>
            <a:srgbClr val="F26B43"/>
          </p15:clr>
        </p15:guide>
        <p15:guide id="15" pos="4411">
          <p15:clr>
            <a:srgbClr val="F26B43"/>
          </p15:clr>
        </p15:guide>
        <p15:guide id="16" pos="4501">
          <p15:clr>
            <a:srgbClr val="F26B43"/>
          </p15:clr>
        </p15:guide>
        <p15:guide id="17" pos="5028">
          <p15:clr>
            <a:srgbClr val="F26B43"/>
          </p15:clr>
        </p15:guide>
        <p15:guide id="18" pos="5118">
          <p15:clr>
            <a:srgbClr val="F26B43"/>
          </p15:clr>
        </p15:guide>
        <p15:guide id="19" pos="5645">
          <p15:clr>
            <a:srgbClr val="F26B43"/>
          </p15:clr>
        </p15:guide>
        <p15:guide id="20" pos="5735">
          <p15:clr>
            <a:srgbClr val="F26B43"/>
          </p15:clr>
        </p15:guide>
        <p15:guide id="21" pos="6262">
          <p15:clr>
            <a:srgbClr val="F26B43"/>
          </p15:clr>
        </p15:guide>
        <p15:guide id="22" pos="6352">
          <p15:clr>
            <a:srgbClr val="F26B43"/>
          </p15:clr>
        </p15:guide>
        <p15:guide id="23" pos="6879">
          <p15:clr>
            <a:srgbClr val="F26B43"/>
          </p15:clr>
        </p15:guide>
        <p15:guide id="24" pos="6970">
          <p15:clr>
            <a:srgbClr val="F26B43"/>
          </p15:clr>
        </p15:guide>
        <p15:guide id="25" pos="7496">
          <p15:clr>
            <a:srgbClr val="F26B43"/>
          </p15:clr>
        </p15:guide>
        <p15:guide id="28" orient="horz" pos="1382">
          <p15:clr>
            <a:srgbClr val="F26B43"/>
          </p15:clr>
        </p15:guide>
        <p15:guide id="29" orient="horz" pos="1473">
          <p15:clr>
            <a:srgbClr val="F26B43"/>
          </p15:clr>
        </p15:guide>
        <p15:guide id="30" orient="horz" pos="2024">
          <p15:clr>
            <a:srgbClr val="F26B43"/>
          </p15:clr>
        </p15:guide>
        <p15:guide id="31" orient="horz" pos="2115">
          <p15:clr>
            <a:srgbClr val="F26B43"/>
          </p15:clr>
        </p15:guide>
        <p15:guide id="32" orient="horz" pos="2666">
          <p15:clr>
            <a:srgbClr val="F26B43"/>
          </p15:clr>
        </p15:guide>
        <p15:guide id="33" orient="horz" pos="2757">
          <p15:clr>
            <a:srgbClr val="F26B43"/>
          </p15:clr>
        </p15:guide>
        <p15:guide id="34" orient="horz" pos="3308">
          <p15:clr>
            <a:srgbClr val="F26B43"/>
          </p15:clr>
        </p15:guide>
        <p15:guide id="35" orient="horz" pos="3398">
          <p15:clr>
            <a:srgbClr val="F26B43"/>
          </p15:clr>
        </p15:guide>
        <p15:guide id="36" orient="horz" pos="3954">
          <p15:clr>
            <a:srgbClr val="F26B43"/>
          </p15:clr>
        </p15:guide>
        <p15:guide id="37" orient="horz" pos="4044">
          <p15:clr>
            <a:srgbClr val="F26B43"/>
          </p15:clr>
        </p15:guide>
        <p15:guide id="38" orient="horz" pos="4131">
          <p15:clr>
            <a:srgbClr val="F26B43"/>
          </p15:clr>
        </p15:guide>
        <p15:guide id="39" orient="horz" pos="738">
          <p15:clr>
            <a:srgbClr val="F26B43"/>
          </p15:clr>
        </p15:guide>
        <p15:guide id="40" orient="horz" pos="828">
          <p15:clr>
            <a:srgbClr val="F26B43"/>
          </p15:clr>
        </p15:guide>
        <p15:guide id="41" orient="horz" pos="1060">
          <p15:clr>
            <a:srgbClr val="F26B43"/>
          </p15:clr>
        </p15:guide>
        <p15:guide id="42" orient="horz" pos="1148">
          <p15:clr>
            <a:srgbClr val="F26B43"/>
          </p15:clr>
        </p15:guide>
        <p15:guide id="43" orient="horz" pos="1702">
          <p15:clr>
            <a:srgbClr val="F26B43"/>
          </p15:clr>
        </p15:guide>
        <p15:guide id="44" orient="horz" pos="1794">
          <p15:clr>
            <a:srgbClr val="F26B43"/>
          </p15:clr>
        </p15:guide>
        <p15:guide id="45" orient="horz" pos="2346">
          <p15:clr>
            <a:srgbClr val="F26B43"/>
          </p15:clr>
        </p15:guide>
        <p15:guide id="46" orient="horz" pos="2436">
          <p15:clr>
            <a:srgbClr val="F26B43"/>
          </p15:clr>
        </p15:guide>
        <p15:guide id="47" orient="horz" pos="2990">
          <p15:clr>
            <a:srgbClr val="F26B43"/>
          </p15:clr>
        </p15:guide>
        <p15:guide id="48" orient="horz" pos="3080">
          <p15:clr>
            <a:srgbClr val="F26B43"/>
          </p15:clr>
        </p15:guide>
        <p15:guide id="49" orient="horz" pos="3632">
          <p15:clr>
            <a:srgbClr val="F26B43"/>
          </p15:clr>
        </p15:guide>
        <p15:guide id="50" orient="horz" pos="3722">
          <p15:clr>
            <a:srgbClr val="F26B43"/>
          </p15:clr>
        </p15:guide>
        <p15:guide id="51" orient="horz" pos="346">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AD3AC25-83CD-60B4-726C-FF80D1E34156}"/>
              </a:ext>
            </a:extLst>
          </p:cNvPr>
          <p:cNvSpPr>
            <a:spLocks noGrp="1"/>
          </p:cNvSpPr>
          <p:nvPr>
            <p:ph type="title"/>
          </p:nvPr>
        </p:nvSpPr>
        <p:spPr>
          <a:xfrm>
            <a:off x="288303" y="262267"/>
            <a:ext cx="9649446" cy="468590"/>
          </a:xfrm>
          <a:prstGeom prst="rect">
            <a:avLst/>
          </a:prstGeom>
        </p:spPr>
        <p:txBody>
          <a:bodyPr vert="horz" wrap="square" lIns="0" tIns="0" rIns="0" bIns="0" rtlCol="0" anchor="t">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B6C014F-3AB8-1D05-B6D7-A26746AAF1A0}"/>
              </a:ext>
            </a:extLst>
          </p:cNvPr>
          <p:cNvSpPr>
            <a:spLocks noGrp="1"/>
          </p:cNvSpPr>
          <p:nvPr>
            <p:ph type="body" idx="1"/>
          </p:nvPr>
        </p:nvSpPr>
        <p:spPr>
          <a:xfrm>
            <a:off x="289384" y="1822451"/>
            <a:ext cx="11610516" cy="394334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C2DB68EF-BA48-F4BC-BE79-97134696D633}"/>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
        <p:nvSpPr>
          <p:cNvPr id="6" name="Slide Number Placeholder 5">
            <a:extLst>
              <a:ext uri="{FF2B5EF4-FFF2-40B4-BE49-F238E27FC236}">
                <a16:creationId xmlns:a16="http://schemas.microsoft.com/office/drawing/2014/main" id="{150AF38A-4788-8D76-5A2D-056814C2D2C7}"/>
              </a:ext>
            </a:extLst>
          </p:cNvPr>
          <p:cNvSpPr>
            <a:spLocks noGrp="1"/>
          </p:cNvSpPr>
          <p:nvPr>
            <p:ph type="sldNum" sz="quarter" idx="4"/>
          </p:nvPr>
        </p:nvSpPr>
        <p:spPr>
          <a:xfrm>
            <a:off x="11581942" y="6433878"/>
            <a:ext cx="320674" cy="153463"/>
          </a:xfrm>
          <a:prstGeom prst="rect">
            <a:avLst/>
          </a:prstGeom>
        </p:spPr>
        <p:txBody>
          <a:bodyPr vert="horz" lIns="0" tIns="0" rIns="0" bIns="0" rtlCol="0" anchor="ctr"/>
          <a:lstStyle>
            <a:lvl1pPr algn="r">
              <a:lnSpc>
                <a:spcPct val="110000"/>
              </a:lnSpc>
              <a:spcBef>
                <a:spcPts val="600"/>
              </a:spcBef>
              <a:spcAft>
                <a:spcPts val="600"/>
              </a:spcAft>
              <a:defRPr sz="900" b="0" i="0">
                <a:solidFill>
                  <a:schemeClr val="tx1"/>
                </a:solidFill>
                <a:latin typeface="+mn-lt"/>
              </a:defRPr>
            </a:lvl1pPr>
          </a:lstStyle>
          <a:p>
            <a:fld id="{AEC8D767-5246-2244-A4A3-B8AFB218393C}" type="slidenum">
              <a:rPr lang="en-GB" smtClean="0"/>
              <a:pPr/>
              <a:t>‹#›</a:t>
            </a:fld>
            <a:endParaRPr lang="en-GB"/>
          </a:p>
        </p:txBody>
      </p:sp>
      <p:sp>
        <p:nvSpPr>
          <p:cNvPr id="7" name="Graphic 8">
            <a:extLst>
              <a:ext uri="{FF2B5EF4-FFF2-40B4-BE49-F238E27FC236}">
                <a16:creationId xmlns:a16="http://schemas.microsoft.com/office/drawing/2014/main" id="{71D9F931-ED36-50EC-E2EC-55287206CF4F}"/>
              </a:ext>
            </a:extLst>
          </p:cNvPr>
          <p:cNvSpPr>
            <a:spLocks noChangeAspect="1"/>
          </p:cNvSpPr>
          <p:nvPr userDrawn="1"/>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accent1"/>
          </a:solidFill>
          <a:ln w="24751" cap="flat">
            <a:noFill/>
            <a:prstDash val="solid"/>
            <a:miter/>
          </a:ln>
        </p:spPr>
        <p:txBody>
          <a:bodyPr rtlCol="0" anchor="ctr"/>
          <a:lstStyle/>
          <a:p>
            <a:endParaRPr lang="en-GB"/>
          </a:p>
        </p:txBody>
      </p:sp>
    </p:spTree>
    <p:extLst>
      <p:ext uri="{BB962C8B-B14F-4D97-AF65-F5344CB8AC3E}">
        <p14:creationId xmlns:p14="http://schemas.microsoft.com/office/powerpoint/2010/main" val="766289172"/>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 id="2147483740" r:id="rId25"/>
    <p:sldLayoutId id="2147483741" r:id="rId26"/>
    <p:sldLayoutId id="2147483742" r:id="rId27"/>
    <p:sldLayoutId id="2147483743" r:id="rId28"/>
    <p:sldLayoutId id="2147483744" r:id="rId29"/>
    <p:sldLayoutId id="2147483745" r:id="rId30"/>
    <p:sldLayoutId id="2147483746" r:id="rId31"/>
    <p:sldLayoutId id="2147483747" r:id="rId32"/>
    <p:sldLayoutId id="2147483748" r:id="rId33"/>
    <p:sldLayoutId id="2147483749" r:id="rId34"/>
    <p:sldLayoutId id="2147483750" r:id="rId35"/>
    <p:sldLayoutId id="2147483751" r:id="rId36"/>
    <p:sldLayoutId id="2147483752" r:id="rId37"/>
    <p:sldLayoutId id="2147483753" r:id="rId38"/>
    <p:sldLayoutId id="2147483754" r:id="rId39"/>
    <p:sldLayoutId id="2147483755" r:id="rId40"/>
    <p:sldLayoutId id="2147483756" r:id="rId41"/>
    <p:sldLayoutId id="2147483757" r:id="rId42"/>
    <p:sldLayoutId id="2147483758" r:id="rId43"/>
    <p:sldLayoutId id="2147483759" r:id="rId44"/>
    <p:sldLayoutId id="2147483760" r:id="rId45"/>
    <p:sldLayoutId id="2147483761" r:id="rId46"/>
    <p:sldLayoutId id="2147483762" r:id="rId47"/>
    <p:sldLayoutId id="2147483763" r:id="rId48"/>
    <p:sldLayoutId id="2147483764" r:id="rId49"/>
    <p:sldLayoutId id="2147483765" r:id="rId50"/>
    <p:sldLayoutId id="2147483766" r:id="rId51"/>
    <p:sldLayoutId id="2147483767" r:id="rId52"/>
    <p:sldLayoutId id="2147483768" r:id="rId53"/>
  </p:sldLayoutIdLst>
  <p:hf hdr="0" dt="0"/>
  <p:txStyles>
    <p:titleStyle>
      <a:lvl1pPr algn="l" defTabSz="914400" rtl="0" eaLnBrk="1" latinLnBrk="0" hangingPunct="1">
        <a:lnSpc>
          <a:spcPct val="85000"/>
        </a:lnSpc>
        <a:spcBef>
          <a:spcPts val="600"/>
        </a:spcBef>
        <a:spcAft>
          <a:spcPts val="600"/>
        </a:spcAft>
        <a:buNone/>
        <a:defRPr sz="3500" b="0" i="0" kern="1200" spc="0" baseline="0">
          <a:solidFill>
            <a:schemeClr val="accent1"/>
          </a:solidFill>
          <a:latin typeface="+mj-lt"/>
          <a:ea typeface="+mj-ea"/>
          <a:cs typeface="+mj-cs"/>
        </a:defRPr>
      </a:lvl1pPr>
    </p:titleStyle>
    <p:body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sz="1800" b="0" i="0" kern="120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8568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8">
          <p15:clr>
            <a:srgbClr val="FDE53C"/>
          </p15:clr>
        </p15:guide>
        <p15:guide id="2" pos="181">
          <p15:clr>
            <a:srgbClr val="FDE53C"/>
          </p15:clr>
        </p15:guide>
        <p15:guide id="3" pos="708">
          <p15:clr>
            <a:srgbClr val="FDE53C"/>
          </p15:clr>
        </p15:guide>
        <p15:guide id="4" pos="798">
          <p15:clr>
            <a:srgbClr val="FDE53C"/>
          </p15:clr>
        </p15:guide>
        <p15:guide id="5" pos="1325">
          <p15:clr>
            <a:srgbClr val="FDE53C"/>
          </p15:clr>
        </p15:guide>
        <p15:guide id="6" pos="1416">
          <p15:clr>
            <a:srgbClr val="FDE53C"/>
          </p15:clr>
        </p15:guide>
        <p15:guide id="7" pos="1942">
          <p15:clr>
            <a:srgbClr val="FDE53C"/>
          </p15:clr>
        </p15:guide>
        <p15:guide id="8" pos="2032">
          <p15:clr>
            <a:srgbClr val="FDE53C"/>
          </p15:clr>
        </p15:guide>
        <p15:guide id="9" pos="2559">
          <p15:clr>
            <a:srgbClr val="FDE53C"/>
          </p15:clr>
        </p15:guide>
        <p15:guide id="10" pos="2650">
          <p15:clr>
            <a:srgbClr val="FDE53C"/>
          </p15:clr>
        </p15:guide>
        <p15:guide id="11" pos="3176">
          <p15:clr>
            <a:srgbClr val="FDE53C"/>
          </p15:clr>
        </p15:guide>
        <p15:guide id="12" pos="3264">
          <p15:clr>
            <a:srgbClr val="FDE53C"/>
          </p15:clr>
        </p15:guide>
        <p15:guide id="13" pos="3793">
          <p15:clr>
            <a:srgbClr val="FDE53C"/>
          </p15:clr>
        </p15:guide>
        <p15:guide id="14" pos="3884">
          <p15:clr>
            <a:srgbClr val="FDE53C"/>
          </p15:clr>
        </p15:guide>
        <p15:guide id="15" pos="4411">
          <p15:clr>
            <a:srgbClr val="FDE53C"/>
          </p15:clr>
        </p15:guide>
        <p15:guide id="16" pos="4501">
          <p15:clr>
            <a:srgbClr val="FDE53C"/>
          </p15:clr>
        </p15:guide>
        <p15:guide id="17" pos="5028">
          <p15:clr>
            <a:srgbClr val="FDE53C"/>
          </p15:clr>
        </p15:guide>
        <p15:guide id="18" pos="5118">
          <p15:clr>
            <a:srgbClr val="FDE53C"/>
          </p15:clr>
        </p15:guide>
        <p15:guide id="19" pos="5645">
          <p15:clr>
            <a:srgbClr val="FDE53C"/>
          </p15:clr>
        </p15:guide>
        <p15:guide id="20" pos="5735">
          <p15:clr>
            <a:srgbClr val="FDE53C"/>
          </p15:clr>
        </p15:guide>
        <p15:guide id="21" pos="6262">
          <p15:clr>
            <a:srgbClr val="FDE53C"/>
          </p15:clr>
        </p15:guide>
        <p15:guide id="22" pos="6352">
          <p15:clr>
            <a:srgbClr val="FDE53C"/>
          </p15:clr>
        </p15:guide>
        <p15:guide id="23" pos="6879">
          <p15:clr>
            <a:srgbClr val="FDE53C"/>
          </p15:clr>
        </p15:guide>
        <p15:guide id="24" pos="6970">
          <p15:clr>
            <a:srgbClr val="FDE53C"/>
          </p15:clr>
        </p15:guide>
        <p15:guide id="25" pos="7496">
          <p15:clr>
            <a:srgbClr val="FDE53C"/>
          </p15:clr>
        </p15:guide>
        <p15:guide id="28" orient="horz" pos="1382">
          <p15:clr>
            <a:srgbClr val="FDE53C"/>
          </p15:clr>
        </p15:guide>
        <p15:guide id="29" orient="horz" pos="1473">
          <p15:clr>
            <a:srgbClr val="FDE53C"/>
          </p15:clr>
        </p15:guide>
        <p15:guide id="30" orient="horz" pos="2024">
          <p15:clr>
            <a:srgbClr val="FDE53C"/>
          </p15:clr>
        </p15:guide>
        <p15:guide id="31" orient="horz" pos="2115">
          <p15:clr>
            <a:srgbClr val="FDE53C"/>
          </p15:clr>
        </p15:guide>
        <p15:guide id="32" orient="horz" pos="2666">
          <p15:clr>
            <a:srgbClr val="FDE53C"/>
          </p15:clr>
        </p15:guide>
        <p15:guide id="33" orient="horz" pos="2757">
          <p15:clr>
            <a:srgbClr val="FDE53C"/>
          </p15:clr>
        </p15:guide>
        <p15:guide id="34" orient="horz" pos="3308">
          <p15:clr>
            <a:srgbClr val="FDE53C"/>
          </p15:clr>
        </p15:guide>
        <p15:guide id="35" orient="horz" pos="3398">
          <p15:clr>
            <a:srgbClr val="FDE53C"/>
          </p15:clr>
        </p15:guide>
        <p15:guide id="36" orient="horz" pos="3954">
          <p15:clr>
            <a:srgbClr val="FDE53C"/>
          </p15:clr>
        </p15:guide>
        <p15:guide id="37" orient="horz" pos="4044">
          <p15:clr>
            <a:srgbClr val="FDE53C"/>
          </p15:clr>
        </p15:guide>
        <p15:guide id="38" orient="horz" pos="4131">
          <p15:clr>
            <a:srgbClr val="FDE53C"/>
          </p15:clr>
        </p15:guide>
        <p15:guide id="39" orient="horz" pos="738">
          <p15:clr>
            <a:srgbClr val="FDE53C"/>
          </p15:clr>
        </p15:guide>
        <p15:guide id="40" orient="horz" pos="828">
          <p15:clr>
            <a:srgbClr val="FDE53C"/>
          </p15:clr>
        </p15:guide>
        <p15:guide id="41" orient="horz" pos="1060">
          <p15:clr>
            <a:srgbClr val="FDE53C"/>
          </p15:clr>
        </p15:guide>
        <p15:guide id="42" orient="horz" pos="1148">
          <p15:clr>
            <a:srgbClr val="FDE53C"/>
          </p15:clr>
        </p15:guide>
        <p15:guide id="43" orient="horz" pos="1702">
          <p15:clr>
            <a:srgbClr val="FDE53C"/>
          </p15:clr>
        </p15:guide>
        <p15:guide id="44" orient="horz" pos="1794">
          <p15:clr>
            <a:srgbClr val="FDE53C"/>
          </p15:clr>
        </p15:guide>
        <p15:guide id="45" orient="horz" pos="2346">
          <p15:clr>
            <a:srgbClr val="FDE53C"/>
          </p15:clr>
        </p15:guide>
        <p15:guide id="46" orient="horz" pos="2436">
          <p15:clr>
            <a:srgbClr val="FDE53C"/>
          </p15:clr>
        </p15:guide>
        <p15:guide id="47" orient="horz" pos="2990">
          <p15:clr>
            <a:srgbClr val="FDE53C"/>
          </p15:clr>
        </p15:guide>
        <p15:guide id="48" orient="horz" pos="3080">
          <p15:clr>
            <a:srgbClr val="FDE53C"/>
          </p15:clr>
        </p15:guide>
        <p15:guide id="49" orient="horz" pos="3632">
          <p15:clr>
            <a:srgbClr val="FDE53C"/>
          </p15:clr>
        </p15:guide>
        <p15:guide id="50" orient="horz" pos="3722">
          <p15:clr>
            <a:srgbClr val="FDE53C"/>
          </p15:clr>
        </p15:guide>
        <p15:guide id="51" orient="horz" pos="380">
          <p15:clr>
            <a:srgbClr val="547EBF"/>
          </p15:clr>
        </p15:guide>
        <p15:guide id="52" pos="7172">
          <p15:clr>
            <a:srgbClr val="547EBF"/>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AD3AC25-83CD-60B4-726C-FF80D1E34156}"/>
              </a:ext>
            </a:extLst>
          </p:cNvPr>
          <p:cNvSpPr>
            <a:spLocks noGrp="1"/>
          </p:cNvSpPr>
          <p:nvPr>
            <p:ph type="title"/>
          </p:nvPr>
        </p:nvSpPr>
        <p:spPr>
          <a:xfrm>
            <a:off x="288303" y="262267"/>
            <a:ext cx="9649446" cy="457818"/>
          </a:xfrm>
          <a:prstGeom prst="rect">
            <a:avLst/>
          </a:prstGeom>
        </p:spPr>
        <p:txBody>
          <a:bodyPr vert="horz" wrap="square" lIns="0" tIns="0" rIns="0" bIns="0" rtlCol="0" anchor="t">
            <a:spAutoFit/>
          </a:bodyPr>
          <a:lstStyle/>
          <a:p>
            <a:r>
              <a:rPr lang="zh-CN" altLang="en-US"/>
              <a:t>单击此处编辑母版标题样式</a:t>
            </a:r>
            <a:endParaRPr lang="en-GB"/>
          </a:p>
        </p:txBody>
      </p:sp>
      <p:sp>
        <p:nvSpPr>
          <p:cNvPr id="3" name="Text Placeholder 2">
            <a:extLst>
              <a:ext uri="{FF2B5EF4-FFF2-40B4-BE49-F238E27FC236}">
                <a16:creationId xmlns:a16="http://schemas.microsoft.com/office/drawing/2014/main" id="{FB6C014F-3AB8-1D05-B6D7-A26746AAF1A0}"/>
              </a:ext>
            </a:extLst>
          </p:cNvPr>
          <p:cNvSpPr>
            <a:spLocks noGrp="1"/>
          </p:cNvSpPr>
          <p:nvPr>
            <p:ph type="body" idx="1"/>
          </p:nvPr>
        </p:nvSpPr>
        <p:spPr>
          <a:xfrm>
            <a:off x="289384" y="1822450"/>
            <a:ext cx="11610516" cy="4448175"/>
          </a:xfrm>
          <a:prstGeom prst="rect">
            <a:avLst/>
          </a:prstGeom>
        </p:spPr>
        <p:txBody>
          <a:bodyPr vert="horz" lIns="0" tIns="0" rIns="0" bIns="0" rtlCol="0">
            <a:no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5" name="Footer Placeholder 4">
            <a:extLst>
              <a:ext uri="{FF2B5EF4-FFF2-40B4-BE49-F238E27FC236}">
                <a16:creationId xmlns:a16="http://schemas.microsoft.com/office/drawing/2014/main" id="{C2DB68EF-BA48-F4BC-BE79-97134696D633}"/>
              </a:ext>
            </a:extLst>
          </p:cNvPr>
          <p:cNvSpPr>
            <a:spLocks noGrp="1"/>
          </p:cNvSpPr>
          <p:nvPr>
            <p:ph type="ftr" sz="quarter" idx="3"/>
          </p:nvPr>
        </p:nvSpPr>
        <p:spPr>
          <a:xfrm>
            <a:off x="1266824" y="6415710"/>
            <a:ext cx="4754563" cy="153463"/>
          </a:xfrm>
          <a:prstGeom prst="rect">
            <a:avLst/>
          </a:prstGeom>
        </p:spPr>
        <p:txBody>
          <a:bodyPr vert="horz" lIns="0" tIns="0" rIns="0" bIns="0" rtlCol="0" anchor="ctr"/>
          <a:lstStyle>
            <a:lvl1pPr algn="l">
              <a:lnSpc>
                <a:spcPct val="110000"/>
              </a:lnSpc>
              <a:spcBef>
                <a:spcPts val="600"/>
              </a:spcBef>
              <a:spcAft>
                <a:spcPts val="600"/>
              </a:spcAft>
              <a:defRPr sz="900" b="0" i="0">
                <a:solidFill>
                  <a:schemeClr val="tx1"/>
                </a:solidFill>
                <a:latin typeface="+mn-lt"/>
              </a:defRPr>
            </a:lvl1pPr>
          </a:lstStyle>
          <a:p>
            <a:r>
              <a:rPr lang="en-US"/>
              <a:t>Job Aid and Guidance Document still under review.</a:t>
            </a:r>
            <a:endParaRPr lang="en-GB"/>
          </a:p>
        </p:txBody>
      </p:sp>
      <p:sp>
        <p:nvSpPr>
          <p:cNvPr id="6" name="Slide Number Placeholder 5">
            <a:extLst>
              <a:ext uri="{FF2B5EF4-FFF2-40B4-BE49-F238E27FC236}">
                <a16:creationId xmlns:a16="http://schemas.microsoft.com/office/drawing/2014/main" id="{150AF38A-4788-8D76-5A2D-056814C2D2C7}"/>
              </a:ext>
            </a:extLst>
          </p:cNvPr>
          <p:cNvSpPr>
            <a:spLocks noGrp="1"/>
          </p:cNvSpPr>
          <p:nvPr>
            <p:ph type="sldNum" sz="quarter" idx="4"/>
          </p:nvPr>
        </p:nvSpPr>
        <p:spPr>
          <a:xfrm>
            <a:off x="11628582" y="6415711"/>
            <a:ext cx="274033" cy="150368"/>
          </a:xfrm>
          <a:prstGeom prst="rect">
            <a:avLst/>
          </a:prstGeom>
        </p:spPr>
        <p:txBody>
          <a:bodyPr vert="horz" lIns="0" tIns="0" rIns="0" bIns="0" rtlCol="0" anchor="ctr"/>
          <a:lstStyle>
            <a:lvl1pPr algn="r">
              <a:lnSpc>
                <a:spcPct val="110000"/>
              </a:lnSpc>
              <a:spcBef>
                <a:spcPts val="600"/>
              </a:spcBef>
              <a:spcAft>
                <a:spcPts val="600"/>
              </a:spcAft>
              <a:defRPr sz="900" b="0" i="0">
                <a:solidFill>
                  <a:schemeClr val="tx1"/>
                </a:solidFill>
                <a:latin typeface="+mn-lt"/>
              </a:defRPr>
            </a:lvl1pPr>
          </a:lstStyle>
          <a:p>
            <a:fld id="{AEC8D767-5246-2244-A4A3-B8AFB218393C}" type="slidenum">
              <a:rPr lang="en-GB" smtClean="0"/>
              <a:pPr/>
              <a:t>‹#›</a:t>
            </a:fld>
            <a:endParaRPr lang="en-GB"/>
          </a:p>
        </p:txBody>
      </p:sp>
      <p:sp>
        <p:nvSpPr>
          <p:cNvPr id="10" name="Graphic 8">
            <a:extLst>
              <a:ext uri="{FF2B5EF4-FFF2-40B4-BE49-F238E27FC236}">
                <a16:creationId xmlns:a16="http://schemas.microsoft.com/office/drawing/2014/main" id="{89912C14-54EA-5DA7-6F07-C2AB6D29AF6F}"/>
              </a:ext>
            </a:extLst>
          </p:cNvPr>
          <p:cNvSpPr>
            <a:spLocks noChangeAspect="1"/>
          </p:cNvSpPr>
          <p:nvPr/>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tx2"/>
          </a:solidFill>
          <a:ln w="24751" cap="flat">
            <a:noFill/>
            <a:prstDash val="solid"/>
            <a:miter/>
          </a:ln>
        </p:spPr>
        <p:txBody>
          <a:bodyPr rtlCol="0" anchor="ctr"/>
          <a:lstStyle/>
          <a:p>
            <a:endParaRPr lang="en-GB"/>
          </a:p>
        </p:txBody>
      </p:sp>
      <p:sp>
        <p:nvSpPr>
          <p:cNvPr id="4" name="Footer Placeholder 4">
            <a:extLst>
              <a:ext uri="{FF2B5EF4-FFF2-40B4-BE49-F238E27FC236}">
                <a16:creationId xmlns:a16="http://schemas.microsoft.com/office/drawing/2014/main" id="{F4FE9BDB-F7FB-7F69-5D3E-B16BB423AA20}"/>
              </a:ext>
            </a:extLst>
          </p:cNvPr>
          <p:cNvSpPr txBox="1">
            <a:spLocks/>
          </p:cNvSpPr>
          <p:nvPr/>
        </p:nvSpPr>
        <p:spPr>
          <a:xfrm>
            <a:off x="9772073" y="6424023"/>
            <a:ext cx="1530666" cy="171710"/>
          </a:xfrm>
          <a:prstGeom prst="rect">
            <a:avLst/>
          </a:prstGeom>
        </p:spPr>
        <p:txBody>
          <a:bodyPr vert="horz" lIns="0" tIns="0" rIns="0" bIns="0" rtlCol="0" anchor="ctr"/>
          <a:lstStyle>
            <a:defPPr>
              <a:defRPr lang="en-US"/>
            </a:defPPr>
            <a:lvl1pPr marL="0" algn="l" defTabSz="914400" rtl="0" eaLnBrk="1" latinLnBrk="0" hangingPunct="1">
              <a:lnSpc>
                <a:spcPct val="110000"/>
              </a:lnSpc>
              <a:spcBef>
                <a:spcPts val="600"/>
              </a:spcBef>
              <a:spcAft>
                <a:spcPts val="600"/>
              </a:spcAft>
              <a:defRPr sz="900" b="0" i="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a:t>HEALTH CARE COMPLIANCE</a:t>
            </a:r>
          </a:p>
        </p:txBody>
      </p:sp>
      <p:sp>
        <p:nvSpPr>
          <p:cNvPr id="7" name="Graphic 8">
            <a:extLst>
              <a:ext uri="{FF2B5EF4-FFF2-40B4-BE49-F238E27FC236}">
                <a16:creationId xmlns:a16="http://schemas.microsoft.com/office/drawing/2014/main" id="{7D509152-0162-DC2C-CF2F-EF58CA760CE4}"/>
              </a:ext>
            </a:extLst>
          </p:cNvPr>
          <p:cNvSpPr>
            <a:spLocks noChangeAspect="1"/>
          </p:cNvSpPr>
          <p:nvPr userDrawn="1"/>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accent1"/>
          </a:solidFill>
          <a:ln w="24751" cap="flat">
            <a:noFill/>
            <a:prstDash val="solid"/>
            <a:miter/>
          </a:ln>
        </p:spPr>
        <p:txBody>
          <a:bodyPr rtlCol="0" anchor="ctr"/>
          <a:lstStyle/>
          <a:p>
            <a:endParaRPr lang="en-GB"/>
          </a:p>
        </p:txBody>
      </p:sp>
    </p:spTree>
    <p:extLst>
      <p:ext uri="{BB962C8B-B14F-4D97-AF65-F5344CB8AC3E}">
        <p14:creationId xmlns:p14="http://schemas.microsoft.com/office/powerpoint/2010/main" val="306943358"/>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 id="2147483795" r:id="rId26"/>
    <p:sldLayoutId id="2147483796" r:id="rId27"/>
    <p:sldLayoutId id="2147483797" r:id="rId28"/>
    <p:sldLayoutId id="2147483798" r:id="rId29"/>
    <p:sldLayoutId id="2147483799" r:id="rId30"/>
    <p:sldLayoutId id="2147483800" r:id="rId31"/>
    <p:sldLayoutId id="2147483801" r:id="rId32"/>
    <p:sldLayoutId id="2147483802" r:id="rId33"/>
    <p:sldLayoutId id="2147483803" r:id="rId34"/>
    <p:sldLayoutId id="2147483804" r:id="rId35"/>
    <p:sldLayoutId id="2147483805" r:id="rId36"/>
    <p:sldLayoutId id="2147483806" r:id="rId37"/>
    <p:sldLayoutId id="2147483807" r:id="rId38"/>
    <p:sldLayoutId id="2147483808" r:id="rId39"/>
    <p:sldLayoutId id="2147483809" r:id="rId40"/>
    <p:sldLayoutId id="2147483810" r:id="rId41"/>
    <p:sldLayoutId id="2147483811" r:id="rId42"/>
    <p:sldLayoutId id="2147483812" r:id="rId43"/>
    <p:sldLayoutId id="2147483813" r:id="rId44"/>
    <p:sldLayoutId id="2147483814" r:id="rId45"/>
    <p:sldLayoutId id="2147483815" r:id="rId46"/>
    <p:sldLayoutId id="2147483816" r:id="rId47"/>
    <p:sldLayoutId id="2147483817" r:id="rId48"/>
    <p:sldLayoutId id="2147483818" r:id="rId49"/>
    <p:sldLayoutId id="2147483819" r:id="rId50"/>
    <p:sldLayoutId id="2147483821" r:id="rId51"/>
    <p:sldLayoutId id="2147483822" r:id="rId52"/>
    <p:sldLayoutId id="2147483880" r:id="rId53"/>
    <p:sldLayoutId id="2147483823" r:id="rId54"/>
    <p:sldLayoutId id="2147483824" r:id="rId55"/>
    <p:sldLayoutId id="2147483879" r:id="rId56"/>
    <p:sldLayoutId id="2147483881" r:id="rId57"/>
  </p:sldLayoutIdLst>
  <p:hf hdr="0" dt="0"/>
  <p:txStyles>
    <p:titleStyle>
      <a:lvl1pPr algn="l" defTabSz="914400" rtl="0" eaLnBrk="1" latinLnBrk="0" hangingPunct="1">
        <a:lnSpc>
          <a:spcPct val="85000"/>
        </a:lnSpc>
        <a:spcBef>
          <a:spcPts val="600"/>
        </a:spcBef>
        <a:spcAft>
          <a:spcPts val="600"/>
        </a:spcAft>
        <a:buNone/>
        <a:defRPr sz="3500" b="0" i="0" kern="1200" spc="0" baseline="0">
          <a:solidFill>
            <a:schemeClr val="tx2"/>
          </a:solidFill>
          <a:latin typeface="+mj-lt"/>
          <a:ea typeface="+mj-ea"/>
          <a:cs typeface="+mj-cs"/>
        </a:defRPr>
      </a:lvl1pPr>
    </p:titleStyle>
    <p:body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sz="1800" b="0" i="0" kern="120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0" indent="0" algn="l" defTabSz="914400" rtl="0" eaLnBrk="1" latinLnBrk="0" hangingPunct="1">
        <a:lnSpc>
          <a:spcPct val="80000"/>
        </a:lnSpc>
        <a:spcBef>
          <a:spcPts val="600"/>
        </a:spcBef>
        <a:spcAft>
          <a:spcPts val="0"/>
        </a:spcAft>
        <a:buFont typeface="Arial" panose="020B0604020202020204" pitchFamily="34" charset="0"/>
        <a:buNone/>
        <a:tabLst/>
        <a:defRPr sz="7400" b="0" i="0" kern="1200">
          <a:solidFill>
            <a:schemeClr val="tx2"/>
          </a:solidFill>
          <a:latin typeface="+mj-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8">
          <p15:clr>
            <a:srgbClr val="F26B43"/>
          </p15:clr>
        </p15:guide>
        <p15:guide id="2" pos="181">
          <p15:clr>
            <a:srgbClr val="F26B43"/>
          </p15:clr>
        </p15:guide>
        <p15:guide id="3" pos="708">
          <p15:clr>
            <a:srgbClr val="F26B43"/>
          </p15:clr>
        </p15:guide>
        <p15:guide id="4" pos="798">
          <p15:clr>
            <a:srgbClr val="F26B43"/>
          </p15:clr>
        </p15:guide>
        <p15:guide id="5" pos="1325">
          <p15:clr>
            <a:srgbClr val="F26B43"/>
          </p15:clr>
        </p15:guide>
        <p15:guide id="6" pos="1415">
          <p15:clr>
            <a:srgbClr val="F26B43"/>
          </p15:clr>
        </p15:guide>
        <p15:guide id="7" pos="1942">
          <p15:clr>
            <a:srgbClr val="F26B43"/>
          </p15:clr>
        </p15:guide>
        <p15:guide id="8" pos="2032">
          <p15:clr>
            <a:srgbClr val="F26B43"/>
          </p15:clr>
        </p15:guide>
        <p15:guide id="9" pos="2559">
          <p15:clr>
            <a:srgbClr val="F26B43"/>
          </p15:clr>
        </p15:guide>
        <p15:guide id="10" pos="2650">
          <p15:clr>
            <a:srgbClr val="F26B43"/>
          </p15:clr>
        </p15:guide>
        <p15:guide id="11" pos="3176">
          <p15:clr>
            <a:srgbClr val="F26B43"/>
          </p15:clr>
        </p15:guide>
        <p15:guide id="12" pos="3267">
          <p15:clr>
            <a:srgbClr val="F26B43"/>
          </p15:clr>
        </p15:guide>
        <p15:guide id="13" pos="3793">
          <p15:clr>
            <a:srgbClr val="F26B43"/>
          </p15:clr>
        </p15:guide>
        <p15:guide id="14" pos="3884">
          <p15:clr>
            <a:srgbClr val="F26B43"/>
          </p15:clr>
        </p15:guide>
        <p15:guide id="15" pos="4411">
          <p15:clr>
            <a:srgbClr val="F26B43"/>
          </p15:clr>
        </p15:guide>
        <p15:guide id="16" pos="4501">
          <p15:clr>
            <a:srgbClr val="F26B43"/>
          </p15:clr>
        </p15:guide>
        <p15:guide id="17" pos="5028">
          <p15:clr>
            <a:srgbClr val="F26B43"/>
          </p15:clr>
        </p15:guide>
        <p15:guide id="18" pos="5118">
          <p15:clr>
            <a:srgbClr val="F26B43"/>
          </p15:clr>
        </p15:guide>
        <p15:guide id="19" pos="5645">
          <p15:clr>
            <a:srgbClr val="F26B43"/>
          </p15:clr>
        </p15:guide>
        <p15:guide id="20" pos="5735">
          <p15:clr>
            <a:srgbClr val="F26B43"/>
          </p15:clr>
        </p15:guide>
        <p15:guide id="21" pos="6262">
          <p15:clr>
            <a:srgbClr val="F26B43"/>
          </p15:clr>
        </p15:guide>
        <p15:guide id="22" pos="6352">
          <p15:clr>
            <a:srgbClr val="F26B43"/>
          </p15:clr>
        </p15:guide>
        <p15:guide id="23" pos="6879">
          <p15:clr>
            <a:srgbClr val="F26B43"/>
          </p15:clr>
        </p15:guide>
        <p15:guide id="24" pos="6970">
          <p15:clr>
            <a:srgbClr val="F26B43"/>
          </p15:clr>
        </p15:guide>
        <p15:guide id="25" pos="7496">
          <p15:clr>
            <a:srgbClr val="F26B43"/>
          </p15:clr>
        </p15:guide>
        <p15:guide id="28" orient="horz" pos="1382">
          <p15:clr>
            <a:srgbClr val="F26B43"/>
          </p15:clr>
        </p15:guide>
        <p15:guide id="29" orient="horz" pos="1473">
          <p15:clr>
            <a:srgbClr val="F26B43"/>
          </p15:clr>
        </p15:guide>
        <p15:guide id="30" orient="horz" pos="2024">
          <p15:clr>
            <a:srgbClr val="F26B43"/>
          </p15:clr>
        </p15:guide>
        <p15:guide id="31" orient="horz" pos="2115">
          <p15:clr>
            <a:srgbClr val="F26B43"/>
          </p15:clr>
        </p15:guide>
        <p15:guide id="32" orient="horz" pos="2666">
          <p15:clr>
            <a:srgbClr val="F26B43"/>
          </p15:clr>
        </p15:guide>
        <p15:guide id="33" orient="horz" pos="2757">
          <p15:clr>
            <a:srgbClr val="F26B43"/>
          </p15:clr>
        </p15:guide>
        <p15:guide id="34" orient="horz" pos="3308">
          <p15:clr>
            <a:srgbClr val="F26B43"/>
          </p15:clr>
        </p15:guide>
        <p15:guide id="35" orient="horz" pos="3398">
          <p15:clr>
            <a:srgbClr val="F26B43"/>
          </p15:clr>
        </p15:guide>
        <p15:guide id="36" orient="horz" pos="3954">
          <p15:clr>
            <a:srgbClr val="F26B43"/>
          </p15:clr>
        </p15:guide>
        <p15:guide id="37" orient="horz" pos="4044">
          <p15:clr>
            <a:srgbClr val="F26B43"/>
          </p15:clr>
        </p15:guide>
        <p15:guide id="38" orient="horz" pos="4131">
          <p15:clr>
            <a:srgbClr val="F26B43"/>
          </p15:clr>
        </p15:guide>
        <p15:guide id="39" orient="horz" pos="738">
          <p15:clr>
            <a:srgbClr val="F26B43"/>
          </p15:clr>
        </p15:guide>
        <p15:guide id="40" orient="horz" pos="828">
          <p15:clr>
            <a:srgbClr val="F26B43"/>
          </p15:clr>
        </p15:guide>
        <p15:guide id="41" orient="horz" pos="1060">
          <p15:clr>
            <a:srgbClr val="F26B43"/>
          </p15:clr>
        </p15:guide>
        <p15:guide id="42" orient="horz" pos="1148">
          <p15:clr>
            <a:srgbClr val="F26B43"/>
          </p15:clr>
        </p15:guide>
        <p15:guide id="43" orient="horz" pos="1702">
          <p15:clr>
            <a:srgbClr val="F26B43"/>
          </p15:clr>
        </p15:guide>
        <p15:guide id="44" orient="horz" pos="1794">
          <p15:clr>
            <a:srgbClr val="F26B43"/>
          </p15:clr>
        </p15:guide>
        <p15:guide id="45" orient="horz" pos="2346">
          <p15:clr>
            <a:srgbClr val="F26B43"/>
          </p15:clr>
        </p15:guide>
        <p15:guide id="46" orient="horz" pos="2436">
          <p15:clr>
            <a:srgbClr val="F26B43"/>
          </p15:clr>
        </p15:guide>
        <p15:guide id="47" orient="horz" pos="2990">
          <p15:clr>
            <a:srgbClr val="F26B43"/>
          </p15:clr>
        </p15:guide>
        <p15:guide id="48" orient="horz" pos="3080">
          <p15:clr>
            <a:srgbClr val="F26B43"/>
          </p15:clr>
        </p15:guide>
        <p15:guide id="49" orient="horz" pos="3632">
          <p15:clr>
            <a:srgbClr val="F26B43"/>
          </p15:clr>
        </p15:guide>
        <p15:guide id="50" orient="horz" pos="3722">
          <p15:clr>
            <a:srgbClr val="F26B43"/>
          </p15:clr>
        </p15:guide>
        <p15:guide id="51" orient="horz" pos="346">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AD3AC25-83CD-60B4-726C-FF80D1E34156}"/>
              </a:ext>
            </a:extLst>
          </p:cNvPr>
          <p:cNvSpPr>
            <a:spLocks noGrp="1"/>
          </p:cNvSpPr>
          <p:nvPr>
            <p:ph type="title"/>
          </p:nvPr>
        </p:nvSpPr>
        <p:spPr>
          <a:xfrm>
            <a:off x="288303" y="262267"/>
            <a:ext cx="9649446" cy="468590"/>
          </a:xfrm>
          <a:prstGeom prst="rect">
            <a:avLst/>
          </a:prstGeom>
        </p:spPr>
        <p:txBody>
          <a:bodyPr vert="horz" wrap="square" lIns="0" tIns="0" rIns="0" bIns="0" rtlCol="0" anchor="t">
            <a:spAutoFit/>
          </a:bodyPr>
          <a:lstStyle/>
          <a:p>
            <a:r>
              <a:rPr lang="zh-CN" altLang="en-US"/>
              <a:t>单击此处编辑母版标题样式</a:t>
            </a:r>
            <a:endParaRPr lang="en-GB"/>
          </a:p>
        </p:txBody>
      </p:sp>
      <p:sp>
        <p:nvSpPr>
          <p:cNvPr id="3" name="Text Placeholder 2">
            <a:extLst>
              <a:ext uri="{FF2B5EF4-FFF2-40B4-BE49-F238E27FC236}">
                <a16:creationId xmlns:a16="http://schemas.microsoft.com/office/drawing/2014/main" id="{FB6C014F-3AB8-1D05-B6D7-A26746AAF1A0}"/>
              </a:ext>
            </a:extLst>
          </p:cNvPr>
          <p:cNvSpPr>
            <a:spLocks noGrp="1"/>
          </p:cNvSpPr>
          <p:nvPr>
            <p:ph type="body" idx="1"/>
          </p:nvPr>
        </p:nvSpPr>
        <p:spPr>
          <a:xfrm>
            <a:off x="289384" y="1822451"/>
            <a:ext cx="11610516" cy="3943349"/>
          </a:xfrm>
          <a:prstGeom prst="rect">
            <a:avLst/>
          </a:prstGeom>
        </p:spPr>
        <p:txBody>
          <a:bodyPr vert="horz" lIns="0" tIns="0" rIns="0" bIns="0" rtlCol="0">
            <a:no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GB"/>
          </a:p>
        </p:txBody>
      </p:sp>
      <p:sp>
        <p:nvSpPr>
          <p:cNvPr id="5" name="Footer Placeholder 4">
            <a:extLst>
              <a:ext uri="{FF2B5EF4-FFF2-40B4-BE49-F238E27FC236}">
                <a16:creationId xmlns:a16="http://schemas.microsoft.com/office/drawing/2014/main" id="{C2DB68EF-BA48-F4BC-BE79-97134696D633}"/>
              </a:ext>
            </a:extLst>
          </p:cNvPr>
          <p:cNvSpPr>
            <a:spLocks noGrp="1"/>
          </p:cNvSpPr>
          <p:nvPr>
            <p:ph type="ftr" sz="quarter" idx="3"/>
          </p:nvPr>
        </p:nvSpPr>
        <p:spPr>
          <a:xfrm>
            <a:off x="288259" y="5966467"/>
            <a:ext cx="11610516" cy="304122"/>
          </a:xfrm>
          <a:prstGeom prst="rect">
            <a:avLst/>
          </a:prstGeom>
        </p:spPr>
        <p:txBody>
          <a:bodyPr vert="horz" wrap="square" lIns="0" tIns="0" rIns="0" bIns="0" rtlCol="0" anchor="b" anchorCtr="0">
            <a:spAutoFit/>
          </a:bodyPr>
          <a:lstStyle>
            <a:lvl1pPr algn="l">
              <a:lnSpc>
                <a:spcPct val="110000"/>
              </a:lnSpc>
              <a:spcBef>
                <a:spcPts val="600"/>
              </a:spcBef>
              <a:spcAft>
                <a:spcPts val="600"/>
              </a:spcAft>
              <a:defRPr sz="800" b="0" i="0">
                <a:solidFill>
                  <a:schemeClr val="tx1"/>
                </a:solidFill>
                <a:latin typeface="+mn-lt"/>
              </a:defRPr>
            </a:lvl1pPr>
          </a:lstStyle>
          <a:p>
            <a:pPr>
              <a:spcBef>
                <a:spcPts val="0"/>
              </a:spcBef>
              <a:spcAft>
                <a:spcPts val="300"/>
              </a:spcAft>
            </a:pPr>
            <a:r>
              <a:rPr lang="en-US" b="0" i="0">
                <a:effectLst/>
              </a:rPr>
              <a:t>Job Aid and Guidance Document still under review.</a:t>
            </a:r>
          </a:p>
        </p:txBody>
      </p:sp>
      <p:sp>
        <p:nvSpPr>
          <p:cNvPr id="6" name="Slide Number Placeholder 5">
            <a:extLst>
              <a:ext uri="{FF2B5EF4-FFF2-40B4-BE49-F238E27FC236}">
                <a16:creationId xmlns:a16="http://schemas.microsoft.com/office/drawing/2014/main" id="{150AF38A-4788-8D76-5A2D-056814C2D2C7}"/>
              </a:ext>
            </a:extLst>
          </p:cNvPr>
          <p:cNvSpPr>
            <a:spLocks noGrp="1"/>
          </p:cNvSpPr>
          <p:nvPr>
            <p:ph type="sldNum" sz="quarter" idx="4"/>
          </p:nvPr>
        </p:nvSpPr>
        <p:spPr>
          <a:xfrm>
            <a:off x="11581942" y="6433878"/>
            <a:ext cx="320674" cy="153463"/>
          </a:xfrm>
          <a:prstGeom prst="rect">
            <a:avLst/>
          </a:prstGeom>
        </p:spPr>
        <p:txBody>
          <a:bodyPr vert="horz" lIns="0" tIns="0" rIns="0" bIns="0" rtlCol="0" anchor="ctr"/>
          <a:lstStyle>
            <a:lvl1pPr algn="r">
              <a:lnSpc>
                <a:spcPct val="110000"/>
              </a:lnSpc>
              <a:spcBef>
                <a:spcPts val="600"/>
              </a:spcBef>
              <a:spcAft>
                <a:spcPts val="600"/>
              </a:spcAft>
              <a:defRPr sz="900" b="0" i="0">
                <a:solidFill>
                  <a:schemeClr val="tx1"/>
                </a:solidFill>
                <a:latin typeface="+mn-lt"/>
              </a:defRPr>
            </a:lvl1pPr>
          </a:lstStyle>
          <a:p>
            <a:fld id="{AEC8D767-5246-2244-A4A3-B8AFB218393C}" type="slidenum">
              <a:rPr lang="en-GB" smtClean="0"/>
              <a:pPr/>
              <a:t>‹#›</a:t>
            </a:fld>
            <a:endParaRPr lang="en-GB"/>
          </a:p>
        </p:txBody>
      </p:sp>
      <p:sp>
        <p:nvSpPr>
          <p:cNvPr id="7" name="Graphic 8">
            <a:extLst>
              <a:ext uri="{FF2B5EF4-FFF2-40B4-BE49-F238E27FC236}">
                <a16:creationId xmlns:a16="http://schemas.microsoft.com/office/drawing/2014/main" id="{71D9F931-ED36-50EC-E2EC-55287206CF4F}"/>
              </a:ext>
            </a:extLst>
          </p:cNvPr>
          <p:cNvSpPr>
            <a:spLocks noChangeAspect="1"/>
          </p:cNvSpPr>
          <p:nvPr/>
        </p:nvSpPr>
        <p:spPr>
          <a:xfrm>
            <a:off x="287338" y="6416675"/>
            <a:ext cx="352800" cy="149403"/>
          </a:xfrm>
          <a:custGeom>
            <a:avLst/>
            <a:gdLst>
              <a:gd name="connsiteX0" fmla="*/ 5699846 w 6586631"/>
              <a:gd name="connsiteY0" fmla="*/ 2789294 h 2789293"/>
              <a:gd name="connsiteX1" fmla="*/ 6586632 w 6586631"/>
              <a:gd name="connsiteY1" fmla="*/ 1909153 h 2789293"/>
              <a:gd name="connsiteX2" fmla="*/ 6586632 w 6586631"/>
              <a:gd name="connsiteY2" fmla="*/ 60980 h 2789293"/>
              <a:gd name="connsiteX3" fmla="*/ 6112656 w 6586631"/>
              <a:gd name="connsiteY3" fmla="*/ 60980 h 2789293"/>
              <a:gd name="connsiteX4" fmla="*/ 6112656 w 6586631"/>
              <a:gd name="connsiteY4" fmla="*/ 2031114 h 2789293"/>
              <a:gd name="connsiteX5" fmla="*/ 5699846 w 6586631"/>
              <a:gd name="connsiteY5" fmla="*/ 2541669 h 2789293"/>
              <a:gd name="connsiteX6" fmla="*/ 5287036 w 6586631"/>
              <a:gd name="connsiteY6" fmla="*/ 1992847 h 2789293"/>
              <a:gd name="connsiteX7" fmla="*/ 5287036 w 6586631"/>
              <a:gd name="connsiteY7" fmla="*/ 1627212 h 2789293"/>
              <a:gd name="connsiteX8" fmla="*/ 4813060 w 6586631"/>
              <a:gd name="connsiteY8" fmla="*/ 1745222 h 2789293"/>
              <a:gd name="connsiteX9" fmla="*/ 4813060 w 6586631"/>
              <a:gd name="connsiteY9" fmla="*/ 1909153 h 2789293"/>
              <a:gd name="connsiteX10" fmla="*/ 5699846 w 6586631"/>
              <a:gd name="connsiteY10" fmla="*/ 2789294 h 2789293"/>
              <a:gd name="connsiteX11" fmla="*/ 3177175 w 6586631"/>
              <a:gd name="connsiteY11" fmla="*/ 2511056 h 2789293"/>
              <a:gd name="connsiteX12" fmla="*/ 2584828 w 6586631"/>
              <a:gd name="connsiteY12" fmla="*/ 1897549 h 2789293"/>
              <a:gd name="connsiteX13" fmla="*/ 2817854 w 6586631"/>
              <a:gd name="connsiteY13" fmla="*/ 1413657 h 2789293"/>
              <a:gd name="connsiteX14" fmla="*/ 3681610 w 6586631"/>
              <a:gd name="connsiteY14" fmla="*/ 2354778 h 2789293"/>
              <a:gd name="connsiteX15" fmla="*/ 3177175 w 6586631"/>
              <a:gd name="connsiteY15" fmla="*/ 2511056 h 2789293"/>
              <a:gd name="connsiteX16" fmla="*/ 3639512 w 6586631"/>
              <a:gd name="connsiteY16" fmla="*/ 1147022 h 2789293"/>
              <a:gd name="connsiteX17" fmla="*/ 4140232 w 6586631"/>
              <a:gd name="connsiteY17" fmla="*/ 1634865 h 2789293"/>
              <a:gd name="connsiteX18" fmla="*/ 4017900 w 6586631"/>
              <a:gd name="connsiteY18" fmla="*/ 2042717 h 2789293"/>
              <a:gd name="connsiteX19" fmla="*/ 3268800 w 6586631"/>
              <a:gd name="connsiteY19" fmla="*/ 1219359 h 2789293"/>
              <a:gd name="connsiteX20" fmla="*/ 3639512 w 6586631"/>
              <a:gd name="connsiteY20" fmla="*/ 1147022 h 2789293"/>
              <a:gd name="connsiteX21" fmla="*/ 3177175 w 6586631"/>
              <a:gd name="connsiteY21" fmla="*/ 201951 h 2789293"/>
              <a:gd name="connsiteX22" fmla="*/ 3536495 w 6586631"/>
              <a:gd name="connsiteY22" fmla="*/ 567833 h 2789293"/>
              <a:gd name="connsiteX23" fmla="*/ 3165783 w 6586631"/>
              <a:gd name="connsiteY23" fmla="*/ 1109002 h 2789293"/>
              <a:gd name="connsiteX24" fmla="*/ 3001353 w 6586631"/>
              <a:gd name="connsiteY24" fmla="*/ 926061 h 2789293"/>
              <a:gd name="connsiteX25" fmla="*/ 2814140 w 6586631"/>
              <a:gd name="connsiteY25" fmla="*/ 548823 h 2789293"/>
              <a:gd name="connsiteX26" fmla="*/ 3177175 w 6586631"/>
              <a:gd name="connsiteY26" fmla="*/ 201951 h 2789293"/>
              <a:gd name="connsiteX27" fmla="*/ 4136518 w 6586631"/>
              <a:gd name="connsiteY27" fmla="*/ 2172084 h 2789293"/>
              <a:gd name="connsiteX28" fmla="*/ 4461417 w 6586631"/>
              <a:gd name="connsiteY28" fmla="*/ 1428964 h 2789293"/>
              <a:gd name="connsiteX29" fmla="*/ 3960696 w 6586631"/>
              <a:gd name="connsiteY29" fmla="*/ 945071 h 2789293"/>
              <a:gd name="connsiteX30" fmla="*/ 3502073 w 6586631"/>
              <a:gd name="connsiteY30" fmla="*/ 1036418 h 2789293"/>
              <a:gd name="connsiteX31" fmla="*/ 3494397 w 6586631"/>
              <a:gd name="connsiteY31" fmla="*/ 1021112 h 2789293"/>
              <a:gd name="connsiteX32" fmla="*/ 3907206 w 6586631"/>
              <a:gd name="connsiteY32" fmla="*/ 518209 h 2789293"/>
              <a:gd name="connsiteX33" fmla="*/ 3188566 w 6586631"/>
              <a:gd name="connsiteY33" fmla="*/ 0 h 2789293"/>
              <a:gd name="connsiteX34" fmla="*/ 2401082 w 6586631"/>
              <a:gd name="connsiteY34" fmla="*/ 659180 h 2789293"/>
              <a:gd name="connsiteX35" fmla="*/ 2706913 w 6586631"/>
              <a:gd name="connsiteY35" fmla="*/ 1295646 h 2789293"/>
              <a:gd name="connsiteX36" fmla="*/ 2710628 w 6586631"/>
              <a:gd name="connsiteY36" fmla="*/ 1303300 h 2789293"/>
              <a:gd name="connsiteX37" fmla="*/ 2164094 w 6586631"/>
              <a:gd name="connsiteY37" fmla="*/ 2069134 h 2789293"/>
              <a:gd name="connsiteX38" fmla="*/ 2932262 w 6586631"/>
              <a:gd name="connsiteY38" fmla="*/ 2789294 h 2789293"/>
              <a:gd name="connsiteX39" fmla="*/ 3796018 w 6586631"/>
              <a:gd name="connsiteY39" fmla="*/ 2480689 h 2789293"/>
              <a:gd name="connsiteX40" fmla="*/ 4025329 w 6586631"/>
              <a:gd name="connsiteY40" fmla="*/ 2728314 h 2789293"/>
              <a:gd name="connsiteX41" fmla="*/ 4625352 w 6586631"/>
              <a:gd name="connsiteY41" fmla="*/ 2728314 h 2789293"/>
              <a:gd name="connsiteX42" fmla="*/ 4625352 w 6586631"/>
              <a:gd name="connsiteY42" fmla="*/ 2709303 h 2789293"/>
              <a:gd name="connsiteX43" fmla="*/ 4136518 w 6586631"/>
              <a:gd name="connsiteY43" fmla="*/ 2172084 h 2789293"/>
              <a:gd name="connsiteX44" fmla="*/ 886786 w 6586631"/>
              <a:gd name="connsiteY44" fmla="*/ 2789294 h 2789293"/>
              <a:gd name="connsiteX45" fmla="*/ 1773572 w 6586631"/>
              <a:gd name="connsiteY45" fmla="*/ 1909153 h 2789293"/>
              <a:gd name="connsiteX46" fmla="*/ 1773572 w 6586631"/>
              <a:gd name="connsiteY46" fmla="*/ 60980 h 2789293"/>
              <a:gd name="connsiteX47" fmla="*/ 1299596 w 6586631"/>
              <a:gd name="connsiteY47" fmla="*/ 60980 h 2789293"/>
              <a:gd name="connsiteX48" fmla="*/ 1299596 w 6586631"/>
              <a:gd name="connsiteY48" fmla="*/ 2031114 h 2789293"/>
              <a:gd name="connsiteX49" fmla="*/ 886786 w 6586631"/>
              <a:gd name="connsiteY49" fmla="*/ 2541669 h 2789293"/>
              <a:gd name="connsiteX50" fmla="*/ 473976 w 6586631"/>
              <a:gd name="connsiteY50" fmla="*/ 1992847 h 2789293"/>
              <a:gd name="connsiteX51" fmla="*/ 473976 w 6586631"/>
              <a:gd name="connsiteY51" fmla="*/ 1627212 h 2789293"/>
              <a:gd name="connsiteX52" fmla="*/ 0 w 6586631"/>
              <a:gd name="connsiteY52" fmla="*/ 1745222 h 2789293"/>
              <a:gd name="connsiteX53" fmla="*/ 0 w 6586631"/>
              <a:gd name="connsiteY53" fmla="*/ 1909153 h 2789293"/>
              <a:gd name="connsiteX54" fmla="*/ 886786 w 6586631"/>
              <a:gd name="connsiteY54" fmla="*/ 2789294 h 27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586631" h="2789293">
                <a:moveTo>
                  <a:pt x="5699846" y="2789294"/>
                </a:moveTo>
                <a:cubicBezTo>
                  <a:pt x="6338253" y="2789294"/>
                  <a:pt x="6586632" y="2408105"/>
                  <a:pt x="6586632" y="1909153"/>
                </a:cubicBezTo>
                <a:lnTo>
                  <a:pt x="6586632" y="60980"/>
                </a:lnTo>
                <a:lnTo>
                  <a:pt x="6112656" y="60980"/>
                </a:lnTo>
                <a:lnTo>
                  <a:pt x="6112656" y="2031114"/>
                </a:lnTo>
                <a:cubicBezTo>
                  <a:pt x="6112656" y="2351075"/>
                  <a:pt x="5990324" y="2541669"/>
                  <a:pt x="5699846" y="2541669"/>
                </a:cubicBezTo>
                <a:cubicBezTo>
                  <a:pt x="5413083" y="2541669"/>
                  <a:pt x="5287036" y="2339718"/>
                  <a:pt x="5287036" y="1992847"/>
                </a:cubicBezTo>
                <a:lnTo>
                  <a:pt x="5287036" y="1627212"/>
                </a:lnTo>
                <a:lnTo>
                  <a:pt x="4813060" y="1745222"/>
                </a:lnTo>
                <a:lnTo>
                  <a:pt x="4813060" y="1909153"/>
                </a:lnTo>
                <a:cubicBezTo>
                  <a:pt x="4813060" y="2408352"/>
                  <a:pt x="5061440" y="2789294"/>
                  <a:pt x="5699846" y="2789294"/>
                </a:cubicBezTo>
                <a:moveTo>
                  <a:pt x="3177175" y="2511056"/>
                </a:moveTo>
                <a:cubicBezTo>
                  <a:pt x="2810177" y="2511056"/>
                  <a:pt x="2584828" y="2213808"/>
                  <a:pt x="2584828" y="1897549"/>
                </a:cubicBezTo>
                <a:cubicBezTo>
                  <a:pt x="2584828" y="1699302"/>
                  <a:pt x="2672739" y="1516361"/>
                  <a:pt x="2817854" y="1413657"/>
                </a:cubicBezTo>
                <a:lnTo>
                  <a:pt x="3681610" y="2354778"/>
                </a:lnTo>
                <a:cubicBezTo>
                  <a:pt x="3521141" y="2450075"/>
                  <a:pt x="3341358" y="2511056"/>
                  <a:pt x="3177175" y="2511056"/>
                </a:cubicBezTo>
                <a:moveTo>
                  <a:pt x="3639512" y="1147022"/>
                </a:moveTo>
                <a:cubicBezTo>
                  <a:pt x="3949057" y="1147022"/>
                  <a:pt x="4140232" y="1326013"/>
                  <a:pt x="4140232" y="1634865"/>
                </a:cubicBezTo>
                <a:cubicBezTo>
                  <a:pt x="4140232" y="1772132"/>
                  <a:pt x="4102096" y="1913103"/>
                  <a:pt x="4017900" y="2042717"/>
                </a:cubicBezTo>
                <a:lnTo>
                  <a:pt x="3268800" y="1219359"/>
                </a:lnTo>
                <a:cubicBezTo>
                  <a:pt x="3402524" y="1166032"/>
                  <a:pt x="3532533" y="1147022"/>
                  <a:pt x="3639512" y="1147022"/>
                </a:cubicBezTo>
                <a:moveTo>
                  <a:pt x="3177175" y="201951"/>
                </a:moveTo>
                <a:cubicBezTo>
                  <a:pt x="3402771" y="201951"/>
                  <a:pt x="3536495" y="331565"/>
                  <a:pt x="3536495" y="567833"/>
                </a:cubicBezTo>
                <a:cubicBezTo>
                  <a:pt x="3536495" y="785091"/>
                  <a:pt x="3429516" y="990745"/>
                  <a:pt x="3165783" y="1109002"/>
                </a:cubicBezTo>
                <a:lnTo>
                  <a:pt x="3001353" y="926061"/>
                </a:lnTo>
                <a:cubicBezTo>
                  <a:pt x="2855990" y="766081"/>
                  <a:pt x="2814140" y="666833"/>
                  <a:pt x="2814140" y="548823"/>
                </a:cubicBezTo>
                <a:cubicBezTo>
                  <a:pt x="2813892" y="327615"/>
                  <a:pt x="2955292" y="201951"/>
                  <a:pt x="3177175" y="201951"/>
                </a:cubicBezTo>
                <a:moveTo>
                  <a:pt x="4136518" y="2172084"/>
                </a:moveTo>
                <a:cubicBezTo>
                  <a:pt x="4343047" y="1928163"/>
                  <a:pt x="4461417" y="1661528"/>
                  <a:pt x="4461417" y="1428964"/>
                </a:cubicBezTo>
                <a:cubicBezTo>
                  <a:pt x="4461417" y="1139369"/>
                  <a:pt x="4266527" y="945071"/>
                  <a:pt x="3960696" y="945071"/>
                </a:cubicBezTo>
                <a:cubicBezTo>
                  <a:pt x="3800228" y="945071"/>
                  <a:pt x="3620443" y="990745"/>
                  <a:pt x="3502073" y="1036418"/>
                </a:cubicBezTo>
                <a:lnTo>
                  <a:pt x="3494397" y="1021112"/>
                </a:lnTo>
                <a:cubicBezTo>
                  <a:pt x="3784874" y="864834"/>
                  <a:pt x="3907206" y="720160"/>
                  <a:pt x="3907206" y="518209"/>
                </a:cubicBezTo>
                <a:cubicBezTo>
                  <a:pt x="3907206" y="228614"/>
                  <a:pt x="3647188" y="0"/>
                  <a:pt x="3188566" y="0"/>
                </a:cubicBezTo>
                <a:cubicBezTo>
                  <a:pt x="2661100" y="0"/>
                  <a:pt x="2401082" y="293545"/>
                  <a:pt x="2401082" y="659180"/>
                </a:cubicBezTo>
                <a:cubicBezTo>
                  <a:pt x="2401082" y="857428"/>
                  <a:pt x="2485278" y="1055429"/>
                  <a:pt x="2706913" y="1295646"/>
                </a:cubicBezTo>
                <a:lnTo>
                  <a:pt x="2710628" y="1303300"/>
                </a:lnTo>
                <a:cubicBezTo>
                  <a:pt x="2336201" y="1482291"/>
                  <a:pt x="2164094" y="1771886"/>
                  <a:pt x="2164094" y="2069134"/>
                </a:cubicBezTo>
                <a:cubicBezTo>
                  <a:pt x="2164094" y="2461679"/>
                  <a:pt x="2465963" y="2789294"/>
                  <a:pt x="2932262" y="2789294"/>
                </a:cubicBezTo>
                <a:cubicBezTo>
                  <a:pt x="3199710" y="2789294"/>
                  <a:pt x="3513217" y="2678690"/>
                  <a:pt x="3796018" y="2480689"/>
                </a:cubicBezTo>
                <a:lnTo>
                  <a:pt x="4025329" y="2728314"/>
                </a:lnTo>
                <a:lnTo>
                  <a:pt x="4625352" y="2728314"/>
                </a:lnTo>
                <a:lnTo>
                  <a:pt x="4625352" y="2709303"/>
                </a:lnTo>
                <a:lnTo>
                  <a:pt x="4136518" y="2172084"/>
                </a:lnTo>
                <a:close/>
                <a:moveTo>
                  <a:pt x="886786" y="2789294"/>
                </a:moveTo>
                <a:cubicBezTo>
                  <a:pt x="1525192" y="2789294"/>
                  <a:pt x="1773572" y="2408105"/>
                  <a:pt x="1773572" y="1909153"/>
                </a:cubicBezTo>
                <a:lnTo>
                  <a:pt x="1773572" y="60980"/>
                </a:lnTo>
                <a:lnTo>
                  <a:pt x="1299596" y="60980"/>
                </a:lnTo>
                <a:lnTo>
                  <a:pt x="1299596" y="2031114"/>
                </a:lnTo>
                <a:cubicBezTo>
                  <a:pt x="1299596" y="2351075"/>
                  <a:pt x="1177263" y="2541669"/>
                  <a:pt x="886786" y="2541669"/>
                </a:cubicBezTo>
                <a:cubicBezTo>
                  <a:pt x="600023" y="2541669"/>
                  <a:pt x="473976" y="2339718"/>
                  <a:pt x="473976" y="1992847"/>
                </a:cubicBezTo>
                <a:lnTo>
                  <a:pt x="473976" y="1627212"/>
                </a:lnTo>
                <a:lnTo>
                  <a:pt x="0" y="1745222"/>
                </a:lnTo>
                <a:lnTo>
                  <a:pt x="0" y="1909153"/>
                </a:lnTo>
                <a:cubicBezTo>
                  <a:pt x="0" y="2408352"/>
                  <a:pt x="248379" y="2789294"/>
                  <a:pt x="886786" y="2789294"/>
                </a:cubicBezTo>
              </a:path>
            </a:pathLst>
          </a:custGeom>
          <a:solidFill>
            <a:schemeClr val="accent1"/>
          </a:solidFill>
          <a:ln w="24751" cap="flat">
            <a:noFill/>
            <a:prstDash val="solid"/>
            <a:miter/>
          </a:ln>
        </p:spPr>
        <p:txBody>
          <a:bodyPr rtlCol="0" anchor="ctr"/>
          <a:lstStyle/>
          <a:p>
            <a:endParaRPr lang="en-GB"/>
          </a:p>
        </p:txBody>
      </p:sp>
    </p:spTree>
    <p:extLst>
      <p:ext uri="{BB962C8B-B14F-4D97-AF65-F5344CB8AC3E}">
        <p14:creationId xmlns:p14="http://schemas.microsoft.com/office/powerpoint/2010/main" val="3354960292"/>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39" r:id="rId14"/>
    <p:sldLayoutId id="2147483840" r:id="rId15"/>
    <p:sldLayoutId id="2147483841" r:id="rId16"/>
    <p:sldLayoutId id="2147483842" r:id="rId17"/>
    <p:sldLayoutId id="2147483843" r:id="rId18"/>
    <p:sldLayoutId id="2147483844" r:id="rId19"/>
    <p:sldLayoutId id="2147483845" r:id="rId20"/>
    <p:sldLayoutId id="2147483846" r:id="rId21"/>
    <p:sldLayoutId id="2147483847" r:id="rId22"/>
    <p:sldLayoutId id="2147483848" r:id="rId23"/>
    <p:sldLayoutId id="2147483849" r:id="rId24"/>
    <p:sldLayoutId id="2147483850" r:id="rId25"/>
    <p:sldLayoutId id="2147483851" r:id="rId26"/>
    <p:sldLayoutId id="2147483852" r:id="rId27"/>
    <p:sldLayoutId id="2147483853" r:id="rId28"/>
    <p:sldLayoutId id="2147483854" r:id="rId29"/>
    <p:sldLayoutId id="2147483855" r:id="rId30"/>
    <p:sldLayoutId id="2147483856" r:id="rId31"/>
    <p:sldLayoutId id="2147483857" r:id="rId32"/>
    <p:sldLayoutId id="2147483858" r:id="rId33"/>
    <p:sldLayoutId id="2147483859" r:id="rId34"/>
    <p:sldLayoutId id="2147483860" r:id="rId35"/>
    <p:sldLayoutId id="2147483861" r:id="rId36"/>
    <p:sldLayoutId id="2147483862" r:id="rId37"/>
    <p:sldLayoutId id="2147483863" r:id="rId38"/>
    <p:sldLayoutId id="2147483864" r:id="rId39"/>
    <p:sldLayoutId id="2147483865" r:id="rId40"/>
    <p:sldLayoutId id="2147483866" r:id="rId41"/>
    <p:sldLayoutId id="2147483867" r:id="rId42"/>
    <p:sldLayoutId id="2147483868" r:id="rId43"/>
    <p:sldLayoutId id="2147483869" r:id="rId44"/>
    <p:sldLayoutId id="2147483870" r:id="rId45"/>
    <p:sldLayoutId id="2147483871" r:id="rId46"/>
    <p:sldLayoutId id="2147483872" r:id="rId47"/>
    <p:sldLayoutId id="2147483873" r:id="rId48"/>
    <p:sldLayoutId id="2147483874" r:id="rId49"/>
    <p:sldLayoutId id="2147483875" r:id="rId50"/>
    <p:sldLayoutId id="2147483876" r:id="rId51"/>
    <p:sldLayoutId id="2147483877" r:id="rId52"/>
    <p:sldLayoutId id="2147483878" r:id="rId53"/>
  </p:sldLayoutIdLst>
  <p:hf hdr="0" dt="0"/>
  <p:txStyles>
    <p:titleStyle>
      <a:lvl1pPr algn="l" defTabSz="914400" rtl="0" eaLnBrk="1" latinLnBrk="0" hangingPunct="1">
        <a:lnSpc>
          <a:spcPct val="85000"/>
        </a:lnSpc>
        <a:spcBef>
          <a:spcPts val="600"/>
        </a:spcBef>
        <a:spcAft>
          <a:spcPts val="600"/>
        </a:spcAft>
        <a:buNone/>
        <a:defRPr sz="3500" b="0" i="0" kern="1200" spc="0" baseline="0">
          <a:solidFill>
            <a:schemeClr val="accent1"/>
          </a:solidFill>
          <a:latin typeface="+mj-lt"/>
          <a:ea typeface="+mj-ea"/>
          <a:cs typeface="+mj-cs"/>
        </a:defRPr>
      </a:lvl1pPr>
    </p:titleStyle>
    <p:bodyStyle>
      <a:lvl1pPr marL="0" indent="0" algn="l" defTabSz="914400" rtl="0" eaLnBrk="1" latinLnBrk="0" hangingPunct="1">
        <a:lnSpc>
          <a:spcPct val="110000"/>
        </a:lnSpc>
        <a:spcBef>
          <a:spcPts val="600"/>
        </a:spcBef>
        <a:spcAft>
          <a:spcPts val="600"/>
        </a:spcAft>
        <a:buFont typeface="Arial" panose="020B0604020202020204" pitchFamily="34" charset="0"/>
        <a:buNone/>
        <a:tabLst/>
        <a:defRPr sz="1800" b="0" i="0" kern="1200">
          <a:solidFill>
            <a:schemeClr val="tx1"/>
          </a:solidFill>
          <a:latin typeface="+mn-lt"/>
          <a:ea typeface="+mn-ea"/>
          <a:cs typeface="+mn-cs"/>
        </a:defRPr>
      </a:lvl1pPr>
      <a:lvl2pPr marL="285750" indent="-285750" algn="l" defTabSz="914400" rtl="0" eaLnBrk="1" latinLnBrk="0" hangingPunct="1">
        <a:lnSpc>
          <a:spcPct val="110000"/>
        </a:lnSpc>
        <a:spcBef>
          <a:spcPts val="0"/>
        </a:spcBef>
        <a:spcAft>
          <a:spcPts val="600"/>
        </a:spcAft>
        <a:buFont typeface="Arial" panose="020B0604020202020204" pitchFamily="34" charset="0"/>
        <a:buChar char="•"/>
        <a:tabLst/>
        <a:defRPr sz="1800" b="0" i="0" kern="1200">
          <a:solidFill>
            <a:schemeClr val="tx1"/>
          </a:solidFill>
          <a:latin typeface="+mn-lt"/>
          <a:ea typeface="+mn-ea"/>
          <a:cs typeface="+mn-cs"/>
        </a:defRPr>
      </a:lvl2pPr>
      <a:lvl3pPr marL="5715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3pPr>
      <a:lvl4pPr marL="856800" indent="-285750" algn="l" defTabSz="914400" rtl="0" eaLnBrk="1" latinLnBrk="0" hangingPunct="1">
        <a:lnSpc>
          <a:spcPct val="110000"/>
        </a:lnSpc>
        <a:spcBef>
          <a:spcPts val="0"/>
        </a:spcBef>
        <a:spcAft>
          <a:spcPts val="600"/>
        </a:spcAft>
        <a:buFont typeface="Arial" panose="020B0604020202020204" pitchFamily="34" charset="0"/>
        <a:buChar char="•"/>
        <a:tabLst/>
        <a:defRPr sz="1600" b="0" i="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None/>
        <a:tabLst/>
        <a:defRPr sz="800" b="0" i="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smtClean="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lang="en-GB" sz="1800" b="0" i="0" kern="1200" dirty="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800" b="0" i="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8">
          <p15:clr>
            <a:srgbClr val="FDE53C"/>
          </p15:clr>
        </p15:guide>
        <p15:guide id="2" pos="181">
          <p15:clr>
            <a:srgbClr val="FDE53C"/>
          </p15:clr>
        </p15:guide>
        <p15:guide id="3" pos="708">
          <p15:clr>
            <a:srgbClr val="FDE53C"/>
          </p15:clr>
        </p15:guide>
        <p15:guide id="4" pos="798">
          <p15:clr>
            <a:srgbClr val="FDE53C"/>
          </p15:clr>
        </p15:guide>
        <p15:guide id="5" pos="1325">
          <p15:clr>
            <a:srgbClr val="FDE53C"/>
          </p15:clr>
        </p15:guide>
        <p15:guide id="6" pos="1416">
          <p15:clr>
            <a:srgbClr val="FDE53C"/>
          </p15:clr>
        </p15:guide>
        <p15:guide id="7" pos="1942">
          <p15:clr>
            <a:srgbClr val="FDE53C"/>
          </p15:clr>
        </p15:guide>
        <p15:guide id="8" pos="2032">
          <p15:clr>
            <a:srgbClr val="FDE53C"/>
          </p15:clr>
        </p15:guide>
        <p15:guide id="9" pos="2559">
          <p15:clr>
            <a:srgbClr val="FDE53C"/>
          </p15:clr>
        </p15:guide>
        <p15:guide id="10" pos="2650">
          <p15:clr>
            <a:srgbClr val="FDE53C"/>
          </p15:clr>
        </p15:guide>
        <p15:guide id="11" pos="3176">
          <p15:clr>
            <a:srgbClr val="FDE53C"/>
          </p15:clr>
        </p15:guide>
        <p15:guide id="12" pos="3264">
          <p15:clr>
            <a:srgbClr val="FDE53C"/>
          </p15:clr>
        </p15:guide>
        <p15:guide id="13" pos="3793">
          <p15:clr>
            <a:srgbClr val="FDE53C"/>
          </p15:clr>
        </p15:guide>
        <p15:guide id="14" pos="3884">
          <p15:clr>
            <a:srgbClr val="FDE53C"/>
          </p15:clr>
        </p15:guide>
        <p15:guide id="15" pos="4411">
          <p15:clr>
            <a:srgbClr val="FDE53C"/>
          </p15:clr>
        </p15:guide>
        <p15:guide id="16" pos="4501">
          <p15:clr>
            <a:srgbClr val="FDE53C"/>
          </p15:clr>
        </p15:guide>
        <p15:guide id="17" pos="5028">
          <p15:clr>
            <a:srgbClr val="FDE53C"/>
          </p15:clr>
        </p15:guide>
        <p15:guide id="18" pos="5118">
          <p15:clr>
            <a:srgbClr val="FDE53C"/>
          </p15:clr>
        </p15:guide>
        <p15:guide id="19" pos="5645">
          <p15:clr>
            <a:srgbClr val="FDE53C"/>
          </p15:clr>
        </p15:guide>
        <p15:guide id="20" pos="5735">
          <p15:clr>
            <a:srgbClr val="FDE53C"/>
          </p15:clr>
        </p15:guide>
        <p15:guide id="21" pos="6262">
          <p15:clr>
            <a:srgbClr val="FDE53C"/>
          </p15:clr>
        </p15:guide>
        <p15:guide id="22" pos="6352">
          <p15:clr>
            <a:srgbClr val="FDE53C"/>
          </p15:clr>
        </p15:guide>
        <p15:guide id="23" pos="6879">
          <p15:clr>
            <a:srgbClr val="FDE53C"/>
          </p15:clr>
        </p15:guide>
        <p15:guide id="24" pos="6970">
          <p15:clr>
            <a:srgbClr val="FDE53C"/>
          </p15:clr>
        </p15:guide>
        <p15:guide id="25" pos="7496">
          <p15:clr>
            <a:srgbClr val="FDE53C"/>
          </p15:clr>
        </p15:guide>
        <p15:guide id="28" orient="horz" pos="1382">
          <p15:clr>
            <a:srgbClr val="FDE53C"/>
          </p15:clr>
        </p15:guide>
        <p15:guide id="29" orient="horz" pos="1473">
          <p15:clr>
            <a:srgbClr val="FDE53C"/>
          </p15:clr>
        </p15:guide>
        <p15:guide id="30" orient="horz" pos="2024">
          <p15:clr>
            <a:srgbClr val="FDE53C"/>
          </p15:clr>
        </p15:guide>
        <p15:guide id="31" orient="horz" pos="2115">
          <p15:clr>
            <a:srgbClr val="FDE53C"/>
          </p15:clr>
        </p15:guide>
        <p15:guide id="32" orient="horz" pos="2666">
          <p15:clr>
            <a:srgbClr val="FDE53C"/>
          </p15:clr>
        </p15:guide>
        <p15:guide id="33" orient="horz" pos="2757">
          <p15:clr>
            <a:srgbClr val="FDE53C"/>
          </p15:clr>
        </p15:guide>
        <p15:guide id="34" orient="horz" pos="3308">
          <p15:clr>
            <a:srgbClr val="FDE53C"/>
          </p15:clr>
        </p15:guide>
        <p15:guide id="35" orient="horz" pos="3398">
          <p15:clr>
            <a:srgbClr val="FDE53C"/>
          </p15:clr>
        </p15:guide>
        <p15:guide id="36" orient="horz" pos="3954">
          <p15:clr>
            <a:srgbClr val="FDE53C"/>
          </p15:clr>
        </p15:guide>
        <p15:guide id="37" orient="horz" pos="4044">
          <p15:clr>
            <a:srgbClr val="FDE53C"/>
          </p15:clr>
        </p15:guide>
        <p15:guide id="38" orient="horz" pos="4131">
          <p15:clr>
            <a:srgbClr val="FDE53C"/>
          </p15:clr>
        </p15:guide>
        <p15:guide id="39" orient="horz" pos="738">
          <p15:clr>
            <a:srgbClr val="FDE53C"/>
          </p15:clr>
        </p15:guide>
        <p15:guide id="40" orient="horz" pos="828">
          <p15:clr>
            <a:srgbClr val="FDE53C"/>
          </p15:clr>
        </p15:guide>
        <p15:guide id="41" orient="horz" pos="1060">
          <p15:clr>
            <a:srgbClr val="FDE53C"/>
          </p15:clr>
        </p15:guide>
        <p15:guide id="42" orient="horz" pos="1148">
          <p15:clr>
            <a:srgbClr val="FDE53C"/>
          </p15:clr>
        </p15:guide>
        <p15:guide id="43" orient="horz" pos="1702">
          <p15:clr>
            <a:srgbClr val="FDE53C"/>
          </p15:clr>
        </p15:guide>
        <p15:guide id="44" orient="horz" pos="1794">
          <p15:clr>
            <a:srgbClr val="FDE53C"/>
          </p15:clr>
        </p15:guide>
        <p15:guide id="45" orient="horz" pos="2346">
          <p15:clr>
            <a:srgbClr val="FDE53C"/>
          </p15:clr>
        </p15:guide>
        <p15:guide id="46" orient="horz" pos="2436">
          <p15:clr>
            <a:srgbClr val="FDE53C"/>
          </p15:clr>
        </p15:guide>
        <p15:guide id="47" orient="horz" pos="2990">
          <p15:clr>
            <a:srgbClr val="FDE53C"/>
          </p15:clr>
        </p15:guide>
        <p15:guide id="48" orient="horz" pos="3080">
          <p15:clr>
            <a:srgbClr val="FDE53C"/>
          </p15:clr>
        </p15:guide>
        <p15:guide id="49" orient="horz" pos="3632">
          <p15:clr>
            <a:srgbClr val="FDE53C"/>
          </p15:clr>
        </p15:guide>
        <p15:guide id="50" orient="horz" pos="3722">
          <p15:clr>
            <a:srgbClr val="FDE53C"/>
          </p15:clr>
        </p15:guide>
        <p15:guide id="51" orient="horz" pos="380">
          <p15:clr>
            <a:srgbClr val="547EBF"/>
          </p15:clr>
        </p15:guide>
        <p15:guide id="52" pos="7172">
          <p15:clr>
            <a:srgbClr val="547EBF"/>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hyperlink" Target="https://cran.r-project.org/bin/windows/base/old/4.2.1/" TargetMode="External"/><Relationship Id="rId1" Type="http://schemas.openxmlformats.org/officeDocument/2006/relationships/slideLayout" Target="../slideLayouts/slideLayout162.xml"/></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62.xml"/></Relationships>
</file>

<file path=ppt/slides/_rels/slide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62.xml"/></Relationships>
</file>

<file path=ppt/slides/_rels/slide13.xml.rels><?xml version="1.0" encoding="UTF-8" standalone="yes"?>
<Relationships xmlns="http://schemas.openxmlformats.org/package/2006/relationships"><Relationship Id="rId2" Type="http://schemas.openxmlformats.org/officeDocument/2006/relationships/hyperlink" Target="https://packagemanager.posit.co/cran/2022-09-15" TargetMode="External"/><Relationship Id="rId1" Type="http://schemas.openxmlformats.org/officeDocument/2006/relationships/slideLayout" Target="../slideLayouts/slideLayout162.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162.xml"/><Relationship Id="rId4" Type="http://schemas.openxmlformats.org/officeDocument/2006/relationships/image" Target="../media/image11.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3.xml"/></Relationships>
</file>

<file path=ppt/slides/_rels/slide16.xml.rels><?xml version="1.0" encoding="UTF-8" standalone="yes"?>
<Relationships xmlns="http://schemas.openxmlformats.org/package/2006/relationships"><Relationship Id="rId3" Type="http://schemas.openxmlformats.org/officeDocument/2006/relationships/hyperlink" Target="https://github.com/RConsortium/submissions-pilot2-to-fda" TargetMode="External"/><Relationship Id="rId2" Type="http://schemas.openxmlformats.org/officeDocument/2006/relationships/hyperlink" Target="https://github.com/RConsortium/submissions-pilot1-to-fda" TargetMode="External"/><Relationship Id="rId1" Type="http://schemas.openxmlformats.org/officeDocument/2006/relationships/slideLayout" Target="../slideLayouts/slideLayout163.xml"/><Relationship Id="rId6" Type="http://schemas.openxmlformats.org/officeDocument/2006/relationships/hyperlink" Target="https://www.youtube.com/watch?v=BlJNILSoZlM" TargetMode="External"/><Relationship Id="rId5" Type="http://schemas.openxmlformats.org/officeDocument/2006/relationships/hyperlink" Target="https://www.youtube.com/watch?v=t33dS17QHuA" TargetMode="External"/><Relationship Id="rId4" Type="http://schemas.openxmlformats.org/officeDocument/2006/relationships/hyperlink" Target="https://github.com/RConsortium/submissions-pilot3-adam-to-fda"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4.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162.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63.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63.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63.xm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6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EC91AC-C302-AEC3-1CD4-A5616037B74F}"/>
              </a:ext>
            </a:extLst>
          </p:cNvPr>
          <p:cNvSpPr>
            <a:spLocks noGrp="1"/>
          </p:cNvSpPr>
          <p:nvPr>
            <p:ph type="ctrTitle"/>
          </p:nvPr>
        </p:nvSpPr>
        <p:spPr>
          <a:xfrm>
            <a:off x="366998" y="1349299"/>
            <a:ext cx="10918036" cy="4415952"/>
          </a:xfrm>
        </p:spPr>
        <p:txBody>
          <a:bodyPr/>
          <a:lstStyle/>
          <a:p>
            <a:r>
              <a:rPr lang="en-US" sz="5400" b="1"/>
              <a:t>How can we ensure that health authorities reproduce the sponsor's R based submission results?</a:t>
            </a:r>
            <a:br>
              <a:rPr lang="en-US" sz="5400" b="1"/>
            </a:br>
            <a:br>
              <a:rPr lang="en-US" sz="2800" b="1"/>
            </a:br>
            <a:br>
              <a:rPr lang="en-US" sz="2800" b="1"/>
            </a:br>
            <a:r>
              <a:rPr lang="en-US" sz="2800" b="1" err="1"/>
              <a:t>Renfa</a:t>
            </a:r>
            <a:r>
              <a:rPr lang="en-US" sz="2800" b="1"/>
              <a:t> He, He Liu</a:t>
            </a:r>
            <a:br>
              <a:rPr lang="en-US" sz="2800" b="1"/>
            </a:br>
            <a:br>
              <a:rPr lang="en-US" sz="2800" b="1"/>
            </a:br>
            <a:br>
              <a:rPr lang="en-US" sz="2800" b="1"/>
            </a:br>
            <a:br>
              <a:rPr lang="en-US" sz="2800" b="1"/>
            </a:br>
            <a:r>
              <a:rPr lang="en-US" sz="2800" b="1"/>
              <a:t>Mar. 28, 2025</a:t>
            </a:r>
            <a:endParaRPr lang="en-US" sz="2800" b="1">
              <a:solidFill>
                <a:schemeClr val="bg1"/>
              </a:solidFill>
            </a:endParaRPr>
          </a:p>
        </p:txBody>
      </p:sp>
    </p:spTree>
    <p:extLst>
      <p:ext uri="{BB962C8B-B14F-4D97-AF65-F5344CB8AC3E}">
        <p14:creationId xmlns:p14="http://schemas.microsoft.com/office/powerpoint/2010/main" val="1055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p:nvPr/>
        </p:nvSpPr>
        <p:spPr>
          <a:xfrm>
            <a:off x="0" y="0"/>
            <a:ext cx="12192000" cy="6858000"/>
          </a:xfrm>
          <a:prstGeom prst="rect">
            <a:avLst/>
          </a:prstGeom>
          <a:gradFill>
            <a:gsLst>
              <a:gs pos="0">
                <a:schemeClr val="accent1">
                  <a:lumMod val="20000"/>
                  <a:lumOff val="80000"/>
                  <a:alpha val="41000"/>
                </a:schemeClr>
              </a:gs>
              <a:gs pos="100000">
                <a:schemeClr val="accent2">
                  <a:lumMod val="10000"/>
                  <a:lumOff val="90000"/>
                  <a:alpha val="35000"/>
                </a:schemeClr>
              </a:gs>
            </a:gsLst>
            <a:lin ang="16200000" scaled="0"/>
          </a:gradFill>
          <a:ln w="12700" cap="sq">
            <a:noFill/>
            <a:miter/>
          </a:ln>
        </p:spPr>
        <p:txBody>
          <a:bodyPr vert="horz" wrap="square" lIns="91440" tIns="45720" rIns="91440" bIns="45720" rtlCol="0" anchor="ctr"/>
          <a:lstStyle/>
          <a:p>
            <a:pPr algn="ctr">
              <a:lnSpc>
                <a:spcPct val="110000"/>
              </a:lnSpc>
            </a:pPr>
            <a:endParaRPr kumimoji="1" lang="zh-CN" altLang="en-US"/>
          </a:p>
        </p:txBody>
      </p:sp>
      <p:sp>
        <p:nvSpPr>
          <p:cNvPr id="3" name="标题 1"/>
          <p:cNvSpPr txBox="1"/>
          <p:nvPr/>
        </p:nvSpPr>
        <p:spPr>
          <a:xfrm>
            <a:off x="541904" y="1696167"/>
            <a:ext cx="2598152" cy="689930"/>
          </a:xfrm>
          <a:prstGeom prst="rightArrow">
            <a:avLst/>
          </a:prstGeom>
          <a:gradFill>
            <a:gsLst>
              <a:gs pos="23000">
                <a:schemeClr val="accent1">
                  <a:lumMod val="60000"/>
                  <a:lumOff val="40000"/>
                </a:schemeClr>
              </a:gs>
              <a:gs pos="65000">
                <a:schemeClr val="accent1"/>
              </a:gs>
              <a:gs pos="100000">
                <a:schemeClr val="accent1">
                  <a:lumMod val="75000"/>
                </a:schemeClr>
              </a:gs>
            </a:gsLst>
            <a:lin ang="1200000" scaled="0"/>
          </a:gradFill>
          <a:ln w="12700" cap="sq">
            <a:noFill/>
            <a:miter/>
          </a:ln>
        </p:spPr>
        <p:txBody>
          <a:bodyPr vert="horz" wrap="square" lIns="91440" tIns="45720" rIns="91440" bIns="45720" rtlCol="0" anchor="ctr"/>
          <a:lstStyle/>
          <a:p>
            <a:pPr algn="ctr">
              <a:lnSpc>
                <a:spcPct val="110000"/>
              </a:lnSpc>
            </a:pPr>
            <a:r>
              <a:rPr kumimoji="1" lang="en-US" altLang="zh-CN" sz="1800">
                <a:ln w="12700">
                  <a:noFill/>
                </a:ln>
                <a:solidFill>
                  <a:srgbClr val="FFFFFF">
                    <a:alpha val="100000"/>
                  </a:srgbClr>
                </a:solidFill>
                <a:latin typeface="OPPOSans R"/>
                <a:ea typeface="OPPOSans R"/>
                <a:cs typeface="OPPOSans R"/>
              </a:rPr>
              <a:t> </a:t>
            </a:r>
            <a:endParaRPr kumimoji="1" lang="zh-CN" altLang="en-US"/>
          </a:p>
        </p:txBody>
      </p:sp>
      <p:sp>
        <p:nvSpPr>
          <p:cNvPr id="5" name="标题 1"/>
          <p:cNvSpPr txBox="1"/>
          <p:nvPr/>
        </p:nvSpPr>
        <p:spPr>
          <a:xfrm>
            <a:off x="3257464" y="1715954"/>
            <a:ext cx="7210509" cy="311290"/>
          </a:xfrm>
          <a:prstGeom prst="rect">
            <a:avLst/>
          </a:prstGeom>
          <a:noFill/>
          <a:ln>
            <a:noFill/>
          </a:ln>
        </p:spPr>
        <p:txBody>
          <a:bodyPr vert="horz" wrap="square" lIns="0" tIns="0" rIns="0" bIns="0" rtlCol="0" anchor="ctr"/>
          <a:lstStyle/>
          <a:p>
            <a:pPr algn="l">
              <a:lnSpc>
                <a:spcPct val="120000"/>
              </a:lnSpc>
            </a:pPr>
            <a:r>
              <a:rPr kumimoji="1" lang="en-US" altLang="zh-CN" sz="2000">
                <a:ln w="12700">
                  <a:noFill/>
                </a:ln>
                <a:solidFill>
                  <a:srgbClr val="262626">
                    <a:alpha val="100000"/>
                  </a:srgbClr>
                </a:solidFill>
                <a:latin typeface="Johnson Text"/>
                <a:ea typeface="Calibri"/>
                <a:cs typeface="Calibri"/>
              </a:rPr>
              <a:t>Installing R and RStudio</a:t>
            </a:r>
            <a:endParaRPr kumimoji="1" lang="zh-CN" altLang="en-US" sz="2000">
              <a:latin typeface="Johnson Text"/>
              <a:cs typeface="Calibri"/>
            </a:endParaRPr>
          </a:p>
        </p:txBody>
      </p:sp>
      <p:sp>
        <p:nvSpPr>
          <p:cNvPr id="6" name="标题 1"/>
          <p:cNvSpPr txBox="1"/>
          <p:nvPr/>
        </p:nvSpPr>
        <p:spPr>
          <a:xfrm>
            <a:off x="3257464" y="2255478"/>
            <a:ext cx="8149277" cy="2784254"/>
          </a:xfrm>
          <a:prstGeom prst="rect">
            <a:avLst/>
          </a:prstGeom>
          <a:noFill/>
          <a:ln>
            <a:noFill/>
          </a:ln>
        </p:spPr>
        <p:txBody>
          <a:bodyPr vert="horz" wrap="square" lIns="0" tIns="0" rIns="0" bIns="0" rtlCol="0" anchor="t"/>
          <a:lstStyle/>
          <a:p>
            <a:pPr algn="l">
              <a:lnSpc>
                <a:spcPct val="150000"/>
              </a:lnSpc>
            </a:pPr>
            <a:r>
              <a:rPr kumimoji="1" lang="en-US" altLang="zh-CN" sz="1400">
                <a:ln w="12700">
                  <a:noFill/>
                </a:ln>
                <a:solidFill>
                  <a:srgbClr val="262626">
                    <a:alpha val="100000"/>
                  </a:srgbClr>
                </a:solidFill>
                <a:latin typeface="Johnson Text"/>
                <a:ea typeface="Calibri"/>
                <a:cs typeface="Calibri"/>
              </a:rPr>
              <a:t>The ADRG document provides detailed instructions for installing R and RStudio to ensure reproducibility. For example, it specifies downloading R 4.2.1 and RStudio 2023.03.1+446.pro1:</a:t>
            </a:r>
            <a:endParaRPr lang="en-US" altLang="zh-CN" sz="1400">
              <a:ln w="12700">
                <a:noFill/>
              </a:ln>
              <a:solidFill>
                <a:srgbClr val="262626">
                  <a:alpha val="100000"/>
                </a:srgbClr>
              </a:solidFill>
              <a:latin typeface="Johnson Text"/>
              <a:ea typeface="Calibri"/>
              <a:cs typeface="Calibri"/>
            </a:endParaRPr>
          </a:p>
          <a:p>
            <a:pPr>
              <a:lnSpc>
                <a:spcPct val="150000"/>
              </a:lnSpc>
            </a:pPr>
            <a:endParaRPr kumimoji="1" lang="en-US" altLang="zh-CN" sz="1400">
              <a:ln w="12700">
                <a:noFill/>
              </a:ln>
              <a:solidFill>
                <a:srgbClr val="262626">
                  <a:alpha val="100000"/>
                </a:srgbClr>
              </a:solidFill>
              <a:latin typeface="Johnson Text"/>
              <a:ea typeface="Calibri"/>
              <a:cs typeface="Calibri"/>
            </a:endParaRPr>
          </a:p>
          <a:p>
            <a:pPr marL="171450" indent="-171450" algn="l">
              <a:lnSpc>
                <a:spcPct val="150000"/>
              </a:lnSpc>
              <a:buFont typeface="Arial" panose="020B0604020202020204" pitchFamily="34" charset="0"/>
              <a:buChar char="•"/>
            </a:pPr>
            <a:r>
              <a:rPr kumimoji="1" lang="en-US" altLang="zh-CN" sz="1400">
                <a:ln w="12700">
                  <a:noFill/>
                </a:ln>
                <a:solidFill>
                  <a:srgbClr val="262626">
                    <a:alpha val="100000"/>
                  </a:srgbClr>
                </a:solidFill>
                <a:latin typeface="Johnson Text"/>
                <a:ea typeface="Calibri"/>
                <a:cs typeface="Calibri"/>
              </a:rPr>
              <a:t>Download and install R 4.2.1 for Windows from </a:t>
            </a:r>
            <a:r>
              <a:rPr kumimoji="1" lang="en-US" altLang="zh-CN" sz="1400">
                <a:ln w="12700">
                  <a:noFill/>
                </a:ln>
                <a:solidFill>
                  <a:srgbClr val="262626">
                    <a:alpha val="100000"/>
                  </a:srgbClr>
                </a:solidFill>
                <a:latin typeface="Johnson Text"/>
                <a:ea typeface="Calibri"/>
                <a:cs typeface="Calibri"/>
                <a:hlinkClick r:id="rId2"/>
              </a:rPr>
              <a:t>https://cran.r-project.org/bin/windows/base/old/4.2.1/</a:t>
            </a:r>
            <a:r>
              <a:rPr kumimoji="1" lang="en-US" altLang="zh-CN" sz="1400">
                <a:ln w="12700">
                  <a:noFill/>
                </a:ln>
                <a:solidFill>
                  <a:srgbClr val="262626">
                    <a:alpha val="100000"/>
                  </a:srgbClr>
                </a:solidFill>
                <a:latin typeface="Johnson Text"/>
                <a:ea typeface="Calibri"/>
                <a:cs typeface="Calibri"/>
              </a:rPr>
              <a:t>.</a:t>
            </a:r>
            <a:endParaRPr lang="en-US" altLang="zh-CN" sz="1400">
              <a:ln w="12700">
                <a:noFill/>
              </a:ln>
              <a:solidFill>
                <a:srgbClr val="262626">
                  <a:alpha val="100000"/>
                </a:srgbClr>
              </a:solidFill>
              <a:latin typeface="Johnson Text"/>
              <a:ea typeface="Calibri"/>
              <a:cs typeface="Calibri"/>
            </a:endParaRPr>
          </a:p>
          <a:p>
            <a:pPr marL="171450" indent="-171450">
              <a:lnSpc>
                <a:spcPct val="150000"/>
              </a:lnSpc>
              <a:buFont typeface="Arial" panose="020B0604020202020204" pitchFamily="34" charset="0"/>
              <a:buChar char="•"/>
            </a:pPr>
            <a:endParaRPr lang="en-US" altLang="zh-CN" sz="1400">
              <a:ln w="12700">
                <a:noFill/>
              </a:ln>
              <a:solidFill>
                <a:srgbClr val="262626">
                  <a:alpha val="100000"/>
                </a:srgbClr>
              </a:solidFill>
              <a:latin typeface="Johnson Text"/>
              <a:ea typeface="Calibri"/>
              <a:cs typeface="Calibri"/>
            </a:endParaRPr>
          </a:p>
          <a:p>
            <a:pPr marL="171450" indent="-171450" algn="l">
              <a:lnSpc>
                <a:spcPct val="150000"/>
              </a:lnSpc>
              <a:buFont typeface="Arial" panose="020B0604020202020204" pitchFamily="34" charset="0"/>
              <a:buChar char="•"/>
            </a:pPr>
            <a:r>
              <a:rPr kumimoji="1" lang="en-US" altLang="zh-CN" sz="1400">
                <a:ln w="12700">
                  <a:noFill/>
                </a:ln>
                <a:solidFill>
                  <a:srgbClr val="262626">
                    <a:alpha val="100000"/>
                  </a:srgbClr>
                </a:solidFill>
                <a:latin typeface="Johnson Text"/>
                <a:ea typeface="Calibri"/>
                <a:cs typeface="Calibri"/>
              </a:rPr>
              <a:t>Download RStudio Desktop for Windows by visiting</a:t>
            </a:r>
            <a:r>
              <a:rPr kumimoji="1" lang="en-US" altLang="zh-CN" sz="1400">
                <a:ln w="12700">
                  <a:noFill/>
                </a:ln>
                <a:solidFill>
                  <a:srgbClr val="262626">
                    <a:alpha val="100000"/>
                  </a:srgbClr>
                </a:solidFill>
                <a:latin typeface="Calibri"/>
                <a:ea typeface="Calibri"/>
                <a:cs typeface="Calibri"/>
              </a:rPr>
              <a:t> </a:t>
            </a:r>
            <a:r>
              <a:rPr kumimoji="1" lang="en-US" altLang="zh-CN" sz="1400">
                <a:ln w="12700">
                  <a:noFill/>
                </a:ln>
                <a:solidFill>
                  <a:srgbClr val="262626">
                    <a:alpha val="100000"/>
                  </a:srgbClr>
                </a:solidFill>
                <a:latin typeface="Johnson Text"/>
                <a:ea typeface="Calibri"/>
                <a:cs typeface="Calibri"/>
              </a:rPr>
              <a:t>https://dailies.rstudio.com/version/2023.03.1+446.pro1/.
</a:t>
            </a:r>
            <a:r>
              <a:rPr kumimoji="1" lang="en-US" altLang="zh-CN" sz="1400">
                <a:ln w="12700">
                  <a:noFill/>
                </a:ln>
                <a:solidFill>
                  <a:srgbClr val="FF0000"/>
                </a:solidFill>
                <a:latin typeface="Johnson Text"/>
                <a:ea typeface="Calibri"/>
                <a:cs typeface="Calibri"/>
              </a:rPr>
              <a:t>!!!</a:t>
            </a:r>
            <a:r>
              <a:rPr kumimoji="1" lang="en-US" altLang="zh-CN" sz="1400">
                <a:ln w="12700">
                  <a:noFill/>
                </a:ln>
                <a:solidFill>
                  <a:srgbClr val="262626">
                    <a:alpha val="100000"/>
                  </a:srgbClr>
                </a:solidFill>
                <a:latin typeface="Johnson Text"/>
                <a:ea typeface="Calibri"/>
                <a:cs typeface="Calibri"/>
              </a:rPr>
              <a:t> These steps are fundamental to establishing a consistent R environment</a:t>
            </a:r>
            <a:endParaRPr kumimoji="1" lang="zh-CN" altLang="en-US" sz="1400">
              <a:latin typeface="Johnson Text"/>
              <a:cs typeface="Calibri"/>
            </a:endParaRPr>
          </a:p>
        </p:txBody>
      </p:sp>
      <p:sp>
        <p:nvSpPr>
          <p:cNvPr id="15" name="标题 1"/>
          <p:cNvSpPr txBox="1"/>
          <p:nvPr/>
        </p:nvSpPr>
        <p:spPr>
          <a:xfrm>
            <a:off x="446049" y="416700"/>
            <a:ext cx="4680000" cy="612000"/>
          </a:xfrm>
          <a:prstGeom prst="rect">
            <a:avLst/>
          </a:prstGeom>
          <a:gradFill>
            <a:gsLst>
              <a:gs pos="0">
                <a:schemeClr val="accent1">
                  <a:lumMod val="20000"/>
                  <a:lumOff val="80000"/>
                </a:schemeClr>
              </a:gs>
              <a:gs pos="100000">
                <a:schemeClr val="bg1"/>
              </a:gs>
            </a:gsLst>
            <a:lin ang="0" scaled="0"/>
          </a:gradFill>
          <a:ln w="12700" cap="sq">
            <a:noFill/>
            <a:miter/>
          </a:ln>
        </p:spPr>
        <p:txBody>
          <a:bodyPr vert="horz" wrap="square" lIns="91440" tIns="45720" rIns="91440" bIns="45720" rtlCol="0" anchor="ctr"/>
          <a:lstStyle/>
          <a:p>
            <a:pPr algn="ctr">
              <a:lnSpc>
                <a:spcPct val="110000"/>
              </a:lnSpc>
            </a:pPr>
            <a:endParaRPr kumimoji="1" lang="zh-CN" altLang="en-US"/>
          </a:p>
        </p:txBody>
      </p:sp>
      <p:sp>
        <p:nvSpPr>
          <p:cNvPr id="16" name="标题 1"/>
          <p:cNvSpPr txBox="1"/>
          <p:nvPr/>
        </p:nvSpPr>
        <p:spPr>
          <a:xfrm>
            <a:off x="444157" y="488700"/>
            <a:ext cx="10858500" cy="468000"/>
          </a:xfrm>
          <a:prstGeom prst="rect">
            <a:avLst/>
          </a:prstGeom>
          <a:noFill/>
          <a:ln>
            <a:noFill/>
          </a:ln>
        </p:spPr>
        <p:txBody>
          <a:bodyPr vert="horz" wrap="square" lIns="0" tIns="0" rIns="0" bIns="0" rtlCol="0" anchor="ctr"/>
          <a:lstStyle/>
          <a:p>
            <a:pPr>
              <a:lnSpc>
                <a:spcPct val="85000"/>
              </a:lnSpc>
              <a:spcBef>
                <a:spcPts val="600"/>
              </a:spcBef>
              <a:spcAft>
                <a:spcPts val="600"/>
              </a:spcAft>
            </a:pPr>
            <a:r>
              <a:rPr lang="en-US" altLang="zh-CN" sz="3500" b="1">
                <a:solidFill>
                  <a:schemeClr val="tx2"/>
                </a:solidFill>
                <a:latin typeface="+mj-lt"/>
                <a:ea typeface="+mj-ea"/>
                <a:cs typeface="+mj-cs"/>
              </a:rPr>
              <a:t>Key Steps for Setup of the R Environment</a:t>
            </a:r>
            <a:endParaRPr lang="zh-CN" altLang="en-US" sz="3500" b="1">
              <a:solidFill>
                <a:schemeClr val="tx2"/>
              </a:solidFill>
              <a:latin typeface="+mj-lt"/>
              <a:ea typeface="+mj-ea"/>
              <a:cs typeface="+mj-cs"/>
            </a:endParaRPr>
          </a:p>
        </p:txBody>
      </p:sp>
    </p:spTree>
    <p:extLst>
      <p:ext uri="{BB962C8B-B14F-4D97-AF65-F5344CB8AC3E}">
        <p14:creationId xmlns:p14="http://schemas.microsoft.com/office/powerpoint/2010/main" val="23261725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p:nvPr/>
        </p:nvSpPr>
        <p:spPr>
          <a:xfrm>
            <a:off x="0" y="0"/>
            <a:ext cx="12192000" cy="6858000"/>
          </a:xfrm>
          <a:prstGeom prst="rect">
            <a:avLst/>
          </a:prstGeom>
          <a:gradFill>
            <a:gsLst>
              <a:gs pos="0">
                <a:schemeClr val="accent1">
                  <a:lumMod val="20000"/>
                  <a:lumOff val="80000"/>
                  <a:alpha val="41000"/>
                </a:schemeClr>
              </a:gs>
              <a:gs pos="100000">
                <a:schemeClr val="accent2">
                  <a:lumMod val="10000"/>
                  <a:lumOff val="90000"/>
                  <a:alpha val="35000"/>
                </a:schemeClr>
              </a:gs>
            </a:gsLst>
            <a:lin ang="16200000" scaled="0"/>
          </a:gradFill>
          <a:ln w="12700" cap="sq">
            <a:noFill/>
            <a:miter/>
          </a:ln>
        </p:spPr>
        <p:txBody>
          <a:bodyPr vert="horz" wrap="square" lIns="91440" tIns="45720" rIns="91440" bIns="45720"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srgbClr val="000000"/>
              </a:solidFill>
              <a:effectLst/>
              <a:uLnTx/>
              <a:uFillTx/>
              <a:latin typeface="Johnson Text"/>
              <a:ea typeface="+mn-ea"/>
              <a:cs typeface="+mn-cs"/>
            </a:endParaRPr>
          </a:p>
        </p:txBody>
      </p:sp>
      <p:sp>
        <p:nvSpPr>
          <p:cNvPr id="7" name="标题 1"/>
          <p:cNvSpPr txBox="1"/>
          <p:nvPr/>
        </p:nvSpPr>
        <p:spPr>
          <a:xfrm>
            <a:off x="200652" y="1621029"/>
            <a:ext cx="2185310" cy="673543"/>
          </a:xfrm>
          <a:prstGeom prst="rightArrow">
            <a:avLst/>
          </a:prstGeom>
          <a:gradFill>
            <a:gsLst>
              <a:gs pos="23000">
                <a:schemeClr val="accent1">
                  <a:lumMod val="60000"/>
                  <a:lumOff val="40000"/>
                </a:schemeClr>
              </a:gs>
              <a:gs pos="65000">
                <a:schemeClr val="accent1"/>
              </a:gs>
              <a:gs pos="100000">
                <a:schemeClr val="accent1">
                  <a:lumMod val="75000"/>
                </a:schemeClr>
              </a:gs>
            </a:gsLst>
            <a:lin ang="1200000" scaled="0"/>
          </a:gradFill>
          <a:ln w="12700" cap="sq">
            <a:noFill/>
            <a:miter/>
          </a:ln>
        </p:spPr>
        <p:txBody>
          <a:bodyPr vert="horz" wrap="square" lIns="91440" tIns="45720" rIns="91440" bIns="45720"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1" lang="en-US" altLang="zh-CN" sz="1800" b="0" i="0" u="none" strike="noStrike" kern="1200" cap="none" spc="0" normalizeH="0" baseline="0" noProof="0">
                <a:ln w="12700">
                  <a:noFill/>
                </a:ln>
                <a:solidFill>
                  <a:srgbClr val="FFFFFF">
                    <a:alpha val="100000"/>
                  </a:srgbClr>
                </a:solidFill>
                <a:effectLst/>
                <a:uLnTx/>
                <a:uFillTx/>
                <a:latin typeface="OPPOSans R"/>
                <a:ea typeface="OPPOSans R"/>
                <a:cs typeface="OPPOSans R"/>
              </a:rPr>
              <a:t> </a:t>
            </a:r>
            <a:endParaRPr kumimoji="1" lang="zh-CN" altLang="en-US" sz="1800" b="0" i="0" u="none" strike="noStrike" kern="1200" cap="none" spc="0" normalizeH="0" baseline="0" noProof="0">
              <a:ln>
                <a:noFill/>
              </a:ln>
              <a:solidFill>
                <a:srgbClr val="000000"/>
              </a:solidFill>
              <a:effectLst/>
              <a:uLnTx/>
              <a:uFillTx/>
              <a:latin typeface="Johnson Text"/>
              <a:ea typeface="+mn-ea"/>
              <a:cs typeface="+mn-cs"/>
            </a:endParaRPr>
          </a:p>
        </p:txBody>
      </p:sp>
      <p:sp>
        <p:nvSpPr>
          <p:cNvPr id="9" name="标题 1"/>
          <p:cNvSpPr txBox="1"/>
          <p:nvPr/>
        </p:nvSpPr>
        <p:spPr>
          <a:xfrm>
            <a:off x="2555704" y="1690927"/>
            <a:ext cx="8201921" cy="311290"/>
          </a:xfrm>
          <a:prstGeom prst="rect">
            <a:avLst/>
          </a:prstGeom>
          <a:noFill/>
          <a:ln>
            <a:noFill/>
          </a:ln>
        </p:spPr>
        <p:txBody>
          <a:bodyPr vert="horz" wrap="square" lIns="0" tIns="0" rIns="0" bIns="0" rtlCol="0" anchor="ct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en-US" altLang="zh-CN" sz="2000" b="0" i="0" u="none" strike="noStrike" kern="1200" cap="none" spc="0" normalizeH="0" baseline="0" noProof="0">
                <a:ln w="12700">
                  <a:noFill/>
                </a:ln>
                <a:solidFill>
                  <a:srgbClr val="262626">
                    <a:alpha val="100000"/>
                  </a:srgbClr>
                </a:solidFill>
                <a:effectLst/>
                <a:uLnTx/>
                <a:uFillTx/>
                <a:latin typeface="Johnson Text"/>
                <a:ea typeface="Calibri"/>
                <a:cs typeface="Calibri"/>
              </a:rPr>
              <a:t>Defining the Working Directory</a:t>
            </a:r>
            <a:endParaRPr kumimoji="1" lang="zh-CN" altLang="en-US" sz="2000" b="0" i="0" u="none" strike="noStrike" kern="1200" cap="none" spc="0" normalizeH="0" baseline="0" noProof="0">
              <a:ln>
                <a:noFill/>
              </a:ln>
              <a:solidFill>
                <a:srgbClr val="000000"/>
              </a:solidFill>
              <a:effectLst/>
              <a:uLnTx/>
              <a:uFillTx/>
              <a:latin typeface="Johnson Text"/>
              <a:cs typeface="Calibri"/>
            </a:endParaRPr>
          </a:p>
        </p:txBody>
      </p:sp>
      <p:sp>
        <p:nvSpPr>
          <p:cNvPr id="10" name="标题 1"/>
          <p:cNvSpPr txBox="1"/>
          <p:nvPr/>
        </p:nvSpPr>
        <p:spPr>
          <a:xfrm>
            <a:off x="2555704" y="2123936"/>
            <a:ext cx="8201921" cy="787890"/>
          </a:xfrm>
          <a:prstGeom prst="rect">
            <a:avLst/>
          </a:prstGeom>
          <a:noFill/>
          <a:ln>
            <a:noFill/>
          </a:ln>
        </p:spPr>
        <p:txBody>
          <a:bodyPr vert="horz" wrap="square" lIns="0" tIns="0" rIns="0" bIns="0" rtlCol="0" anchor="t"/>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1" lang="en-US" altLang="zh-CN" sz="1400" b="0" i="0" u="none" strike="noStrike" kern="1200" cap="none" spc="0" normalizeH="0" baseline="0" noProof="0">
                <a:ln w="12700">
                  <a:noFill/>
                </a:ln>
                <a:solidFill>
                  <a:srgbClr val="262626">
                    <a:alpha val="100000"/>
                  </a:srgbClr>
                </a:solidFill>
                <a:effectLst/>
                <a:uLnTx/>
                <a:uFillTx/>
                <a:latin typeface="Johnson Text"/>
                <a:ea typeface="Calibri"/>
                <a:cs typeface="Calibri"/>
              </a:rPr>
              <a:t>Creating a working directory like  "</a:t>
            </a:r>
            <a:r>
              <a:rPr kumimoji="1" lang="en-US" altLang="zh-CN" sz="1400" b="0" i="1" u="none" strike="noStrike" kern="1200" cap="none" spc="0" normalizeH="0" baseline="0" noProof="0">
                <a:ln w="12700">
                  <a:noFill/>
                </a:ln>
                <a:solidFill>
                  <a:srgbClr val="262626">
                    <a:alpha val="100000"/>
                  </a:srgbClr>
                </a:solidFill>
                <a:effectLst/>
                <a:uLnTx/>
                <a:uFillTx/>
                <a:latin typeface="Johnson Text"/>
                <a:ea typeface="Calibri"/>
                <a:cs typeface="Calibri"/>
              </a:rPr>
              <a:t>C:\mock</a:t>
            </a:r>
            <a:r>
              <a:rPr kumimoji="1" lang="en-US" altLang="zh-CN" sz="1400" b="0" i="0" u="none" strike="noStrike" kern="1200" cap="none" spc="0" normalizeH="0" baseline="0" noProof="0">
                <a:ln w="12700">
                  <a:noFill/>
                </a:ln>
                <a:solidFill>
                  <a:srgbClr val="262626">
                    <a:alpha val="100000"/>
                  </a:srgbClr>
                </a:solidFill>
                <a:effectLst/>
                <a:uLnTx/>
                <a:uFillTx/>
                <a:latin typeface="Johnson Text"/>
                <a:ea typeface="Calibri"/>
                <a:cs typeface="Calibri"/>
              </a:rPr>
              <a:t>" and copying the submission folder into it ensures that all analysis steps are executed in this location. Creating subfolders that mimics the sponsor’s analysis structure. </a:t>
            </a:r>
          </a:p>
        </p:txBody>
      </p:sp>
      <p:pic>
        <p:nvPicPr>
          <p:cNvPr id="17" name="Picture 6" descr="mock">
            <a:extLst>
              <a:ext uri="{FF2B5EF4-FFF2-40B4-BE49-F238E27FC236}">
                <a16:creationId xmlns:a16="http://schemas.microsoft.com/office/drawing/2014/main" id="{BC0AE5E5-08EC-932F-0FC9-4A627E7C918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55707" y="3192187"/>
            <a:ext cx="5941644" cy="2085409"/>
          </a:xfrm>
          <a:prstGeom prst="rect">
            <a:avLst/>
          </a:prstGeom>
        </p:spPr>
      </p:pic>
      <p:sp>
        <p:nvSpPr>
          <p:cNvPr id="20" name="标题 1">
            <a:extLst>
              <a:ext uri="{FF2B5EF4-FFF2-40B4-BE49-F238E27FC236}">
                <a16:creationId xmlns:a16="http://schemas.microsoft.com/office/drawing/2014/main" id="{1A31E1EF-0A5E-5249-7833-B3594D0D61BC}"/>
              </a:ext>
            </a:extLst>
          </p:cNvPr>
          <p:cNvSpPr txBox="1"/>
          <p:nvPr/>
        </p:nvSpPr>
        <p:spPr>
          <a:xfrm>
            <a:off x="446049" y="416700"/>
            <a:ext cx="4680000" cy="612000"/>
          </a:xfrm>
          <a:prstGeom prst="rect">
            <a:avLst/>
          </a:prstGeom>
          <a:gradFill>
            <a:gsLst>
              <a:gs pos="0">
                <a:schemeClr val="accent1">
                  <a:lumMod val="20000"/>
                  <a:lumOff val="80000"/>
                </a:schemeClr>
              </a:gs>
              <a:gs pos="100000">
                <a:schemeClr val="bg1"/>
              </a:gs>
            </a:gsLst>
            <a:lin ang="0" scaled="0"/>
          </a:gradFill>
          <a:ln w="12700" cap="sq">
            <a:noFill/>
            <a:miter/>
          </a:ln>
        </p:spPr>
        <p:txBody>
          <a:bodyPr vert="horz" wrap="square" lIns="91440" tIns="45720" rIns="91440" bIns="45720" rtlCol="0" anchor="ctr"/>
          <a:lstStyle/>
          <a:p>
            <a:pPr algn="ctr">
              <a:lnSpc>
                <a:spcPct val="110000"/>
              </a:lnSpc>
            </a:pPr>
            <a:endParaRPr kumimoji="1" lang="zh-CN" altLang="en-US"/>
          </a:p>
        </p:txBody>
      </p:sp>
      <p:sp>
        <p:nvSpPr>
          <p:cNvPr id="21" name="标题 1">
            <a:extLst>
              <a:ext uri="{FF2B5EF4-FFF2-40B4-BE49-F238E27FC236}">
                <a16:creationId xmlns:a16="http://schemas.microsoft.com/office/drawing/2014/main" id="{A1E32713-4AB3-3904-62A3-0E36FEAF3FA1}"/>
              </a:ext>
            </a:extLst>
          </p:cNvPr>
          <p:cNvSpPr txBox="1"/>
          <p:nvPr/>
        </p:nvSpPr>
        <p:spPr>
          <a:xfrm>
            <a:off x="444157" y="488700"/>
            <a:ext cx="10858500" cy="468000"/>
          </a:xfrm>
          <a:prstGeom prst="rect">
            <a:avLst/>
          </a:prstGeom>
          <a:noFill/>
          <a:ln>
            <a:noFill/>
          </a:ln>
        </p:spPr>
        <p:txBody>
          <a:bodyPr vert="horz" wrap="square" lIns="0" tIns="0" rIns="0" bIns="0"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5000"/>
              </a:lnSpc>
              <a:spcBef>
                <a:spcPts val="600"/>
              </a:spcBef>
              <a:spcAft>
                <a:spcPts val="600"/>
              </a:spcAft>
            </a:pPr>
            <a:r>
              <a:rPr lang="en-US" altLang="zh-CN" sz="3500" b="1">
                <a:solidFill>
                  <a:schemeClr val="tx2"/>
                </a:solidFill>
                <a:latin typeface="+mj-lt"/>
                <a:ea typeface="+mj-ea"/>
                <a:cs typeface="+mj-cs"/>
              </a:rPr>
              <a:t>Key Steps for Setup of the R Environment</a:t>
            </a:r>
            <a:endParaRPr lang="zh-CN" altLang="en-US" sz="3500" b="1">
              <a:solidFill>
                <a:schemeClr val="tx2"/>
              </a:solidFill>
              <a:latin typeface="+mj-lt"/>
              <a:ea typeface="+mj-ea"/>
              <a:cs typeface="+mj-cs"/>
            </a:endParaRPr>
          </a:p>
        </p:txBody>
      </p:sp>
    </p:spTree>
    <p:extLst>
      <p:ext uri="{BB962C8B-B14F-4D97-AF65-F5344CB8AC3E}">
        <p14:creationId xmlns:p14="http://schemas.microsoft.com/office/powerpoint/2010/main" val="15705430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p:nvPr/>
        </p:nvSpPr>
        <p:spPr>
          <a:xfrm>
            <a:off x="0" y="0"/>
            <a:ext cx="12192000" cy="6858000"/>
          </a:xfrm>
          <a:prstGeom prst="rect">
            <a:avLst/>
          </a:prstGeom>
          <a:gradFill>
            <a:gsLst>
              <a:gs pos="0">
                <a:schemeClr val="accent1">
                  <a:lumMod val="20000"/>
                  <a:lumOff val="80000"/>
                  <a:alpha val="41000"/>
                </a:schemeClr>
              </a:gs>
              <a:gs pos="100000">
                <a:schemeClr val="accent2">
                  <a:lumMod val="10000"/>
                  <a:lumOff val="90000"/>
                  <a:alpha val="35000"/>
                </a:schemeClr>
              </a:gs>
            </a:gsLst>
            <a:lin ang="16200000" scaled="0"/>
          </a:gradFill>
          <a:ln w="12700" cap="sq">
            <a:noFill/>
            <a:miter/>
          </a:ln>
        </p:spPr>
        <p:txBody>
          <a:bodyPr vert="horz" wrap="square" lIns="91440" tIns="45720" rIns="91440" bIns="45720"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srgbClr val="000000"/>
              </a:solidFill>
              <a:effectLst/>
              <a:uLnTx/>
              <a:uFillTx/>
              <a:latin typeface="Johnson Text"/>
              <a:ea typeface="+mn-ea"/>
              <a:cs typeface="+mn-cs"/>
            </a:endParaRPr>
          </a:p>
        </p:txBody>
      </p:sp>
      <p:sp>
        <p:nvSpPr>
          <p:cNvPr id="7" name="标题 1"/>
          <p:cNvSpPr txBox="1"/>
          <p:nvPr/>
        </p:nvSpPr>
        <p:spPr>
          <a:xfrm>
            <a:off x="235552" y="1223160"/>
            <a:ext cx="2185310" cy="673543"/>
          </a:xfrm>
          <a:prstGeom prst="rightArrow">
            <a:avLst/>
          </a:prstGeom>
          <a:gradFill>
            <a:gsLst>
              <a:gs pos="23000">
                <a:schemeClr val="accent1">
                  <a:lumMod val="60000"/>
                  <a:lumOff val="40000"/>
                </a:schemeClr>
              </a:gs>
              <a:gs pos="65000">
                <a:schemeClr val="accent1"/>
              </a:gs>
              <a:gs pos="100000">
                <a:schemeClr val="accent1">
                  <a:lumMod val="75000"/>
                </a:schemeClr>
              </a:gs>
            </a:gsLst>
            <a:lin ang="1200000" scaled="0"/>
          </a:gradFill>
          <a:ln w="12700" cap="sq">
            <a:noFill/>
            <a:miter/>
          </a:ln>
        </p:spPr>
        <p:txBody>
          <a:bodyPr vert="horz" wrap="square" lIns="91440" tIns="45720" rIns="91440" bIns="45720"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1" lang="en-US" altLang="zh-CN" sz="1800" b="0" i="0" u="none" strike="noStrike" kern="1200" cap="none" spc="0" normalizeH="0" baseline="0" noProof="0">
                <a:ln w="12700">
                  <a:noFill/>
                </a:ln>
                <a:solidFill>
                  <a:srgbClr val="FFFFFF">
                    <a:alpha val="100000"/>
                  </a:srgbClr>
                </a:solidFill>
                <a:effectLst/>
                <a:uLnTx/>
                <a:uFillTx/>
                <a:latin typeface="OPPOSans R"/>
                <a:ea typeface="OPPOSans R"/>
                <a:cs typeface="OPPOSans R"/>
              </a:rPr>
              <a:t> </a:t>
            </a:r>
            <a:endParaRPr kumimoji="1" lang="zh-CN" altLang="en-US" sz="1800" b="0" i="0" u="none" strike="noStrike" kern="1200" cap="none" spc="0" normalizeH="0" baseline="0" noProof="0">
              <a:ln>
                <a:noFill/>
              </a:ln>
              <a:solidFill>
                <a:srgbClr val="000000"/>
              </a:solidFill>
              <a:effectLst/>
              <a:uLnTx/>
              <a:uFillTx/>
              <a:latin typeface="Johnson Text"/>
              <a:ea typeface="+mn-ea"/>
              <a:cs typeface="+mn-cs"/>
            </a:endParaRPr>
          </a:p>
        </p:txBody>
      </p:sp>
      <p:sp>
        <p:nvSpPr>
          <p:cNvPr id="9" name="标题 1"/>
          <p:cNvSpPr txBox="1"/>
          <p:nvPr/>
        </p:nvSpPr>
        <p:spPr>
          <a:xfrm>
            <a:off x="2590604" y="1293058"/>
            <a:ext cx="8201921" cy="311290"/>
          </a:xfrm>
          <a:prstGeom prst="rect">
            <a:avLst/>
          </a:prstGeom>
          <a:noFill/>
          <a:ln>
            <a:noFill/>
          </a:ln>
        </p:spPr>
        <p:txBody>
          <a:bodyPr vert="horz" wrap="square" lIns="0" tIns="0" rIns="0" bIns="0" rtlCol="0" anchor="ct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en-US" altLang="zh-CN" sz="2000" b="0" i="0" u="none" strike="noStrike" kern="1200" cap="none" spc="0" normalizeH="0" baseline="0" noProof="0">
                <a:ln w="12700">
                  <a:noFill/>
                </a:ln>
                <a:solidFill>
                  <a:srgbClr val="262626">
                    <a:alpha val="100000"/>
                  </a:srgbClr>
                </a:solidFill>
                <a:effectLst/>
                <a:uLnTx/>
                <a:uFillTx/>
                <a:latin typeface="Johnson Text"/>
                <a:ea typeface="Calibri"/>
                <a:cs typeface="Calibri"/>
              </a:rPr>
              <a:t>Setup the Working Environment</a:t>
            </a:r>
            <a:endParaRPr kumimoji="1" lang="zh-CN" altLang="en-US" sz="2000" b="0" i="0" u="none" strike="noStrike" kern="1200" cap="none" spc="0" normalizeH="0" baseline="0" noProof="0">
              <a:ln>
                <a:noFill/>
              </a:ln>
              <a:solidFill>
                <a:srgbClr val="000000"/>
              </a:solidFill>
              <a:effectLst/>
              <a:uLnTx/>
              <a:uFillTx/>
              <a:latin typeface="Johnson Text"/>
              <a:cs typeface="Calibri"/>
            </a:endParaRPr>
          </a:p>
        </p:txBody>
      </p:sp>
      <p:sp>
        <p:nvSpPr>
          <p:cNvPr id="10" name="标题 1"/>
          <p:cNvSpPr txBox="1"/>
          <p:nvPr/>
        </p:nvSpPr>
        <p:spPr>
          <a:xfrm>
            <a:off x="2591818" y="1713223"/>
            <a:ext cx="8832824" cy="484730"/>
          </a:xfrm>
          <a:prstGeom prst="rect">
            <a:avLst/>
          </a:prstGeom>
          <a:noFill/>
          <a:ln>
            <a:noFill/>
          </a:ln>
        </p:spPr>
        <p:txBody>
          <a:bodyPr vert="horz" wrap="square" lIns="0" tIns="0" rIns="0" bIns="0" rtlCol="0" anchor="t"/>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1" lang="en-US" altLang="zh-CN" sz="1400">
                <a:ln w="12700">
                  <a:noFill/>
                </a:ln>
                <a:solidFill>
                  <a:srgbClr val="262626">
                    <a:alpha val="100000"/>
                  </a:srgbClr>
                </a:solidFill>
                <a:latin typeface="Johnson Text"/>
                <a:ea typeface="Calibri"/>
                <a:cs typeface="Calibri"/>
              </a:rPr>
              <a:t>Provide</a:t>
            </a:r>
            <a:r>
              <a:rPr kumimoji="1" lang="en-US" altLang="zh-CN" sz="1400" b="0" i="0" u="none" strike="noStrike" kern="1200" cap="none" spc="0" normalizeH="0" baseline="0" noProof="0">
                <a:ln w="12700">
                  <a:noFill/>
                </a:ln>
                <a:solidFill>
                  <a:srgbClr val="262626">
                    <a:alpha val="100000"/>
                  </a:srgbClr>
                </a:solidFill>
                <a:effectLst/>
                <a:uLnTx/>
                <a:uFillTx/>
                <a:latin typeface="Johnson Text"/>
                <a:ea typeface="Calibri"/>
                <a:cs typeface="Calibri"/>
              </a:rPr>
              <a:t> Codes to convert the deliverables to original format and placing them in corresponding new subfolders.</a:t>
            </a:r>
          </a:p>
        </p:txBody>
      </p:sp>
      <p:sp>
        <p:nvSpPr>
          <p:cNvPr id="15" name="标题 1"/>
          <p:cNvSpPr txBox="1"/>
          <p:nvPr/>
        </p:nvSpPr>
        <p:spPr>
          <a:xfrm>
            <a:off x="446049" y="416700"/>
            <a:ext cx="4680000" cy="612000"/>
          </a:xfrm>
          <a:prstGeom prst="rect">
            <a:avLst/>
          </a:prstGeom>
          <a:gradFill>
            <a:gsLst>
              <a:gs pos="0">
                <a:schemeClr val="accent1">
                  <a:lumMod val="20000"/>
                  <a:lumOff val="80000"/>
                </a:schemeClr>
              </a:gs>
              <a:gs pos="100000">
                <a:schemeClr val="bg1"/>
              </a:gs>
            </a:gsLst>
            <a:lin ang="0" scaled="0"/>
          </a:gradFill>
          <a:ln w="12700" cap="sq">
            <a:noFill/>
            <a:miter/>
          </a:ln>
        </p:spPr>
        <p:txBody>
          <a:bodyPr vert="horz" wrap="square" lIns="91440" tIns="45720" rIns="91440" bIns="45720"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srgbClr val="000000"/>
              </a:solidFill>
              <a:effectLst/>
              <a:uLnTx/>
              <a:uFillTx/>
              <a:latin typeface="Johnson Text"/>
              <a:ea typeface="+mn-ea"/>
              <a:cs typeface="+mn-cs"/>
            </a:endParaRPr>
          </a:p>
        </p:txBody>
      </p:sp>
      <p:sp>
        <p:nvSpPr>
          <p:cNvPr id="11" name="标题 1">
            <a:extLst>
              <a:ext uri="{FF2B5EF4-FFF2-40B4-BE49-F238E27FC236}">
                <a16:creationId xmlns:a16="http://schemas.microsoft.com/office/drawing/2014/main" id="{2C382D4E-E52B-D6B8-5206-71DC02367DDA}"/>
              </a:ext>
            </a:extLst>
          </p:cNvPr>
          <p:cNvSpPr txBox="1"/>
          <p:nvPr/>
        </p:nvSpPr>
        <p:spPr>
          <a:xfrm>
            <a:off x="673148" y="2074395"/>
            <a:ext cx="11509970" cy="4301357"/>
          </a:xfrm>
          <a:prstGeom prst="rect">
            <a:avLst/>
          </a:prstGeom>
          <a:noFill/>
          <a:ln>
            <a:noFill/>
          </a:ln>
        </p:spPr>
        <p:txBody>
          <a:bodyPr vert="horz" wrap="square" lIns="0" tIns="0" rIns="0" bIns="0" rtlCol="0" anchor="t"/>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1" lang="en-US" altLang="zh-CN" sz="1200" b="0" i="0" u="none" strike="noStrike" kern="1200" cap="none" spc="0" normalizeH="0" baseline="0" noProof="0">
                <a:ln w="12700">
                  <a:noFill/>
                </a:ln>
                <a:solidFill>
                  <a:srgbClr val="262626">
                    <a:alpha val="100000"/>
                  </a:srgbClr>
                </a:solidFill>
                <a:effectLst/>
                <a:uLnTx/>
                <a:uFillTx/>
                <a:latin typeface="Johnson Text"/>
                <a:ea typeface="Calibri"/>
                <a:cs typeface="Calibri"/>
              </a:rPr>
              <a:t>E.g.</a:t>
            </a:r>
          </a:p>
          <a:p>
            <a:pPr marL="171450" marR="0" lvl="0" indent="-1714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1" lang="en-US" altLang="zh-CN" sz="1200" b="0" i="0" u="none" strike="noStrike" kern="1200" cap="none" spc="0" normalizeH="0" baseline="0" noProof="0">
                <a:ln w="12700">
                  <a:noFill/>
                </a:ln>
                <a:solidFill>
                  <a:srgbClr val="262626">
                    <a:alpha val="100000"/>
                  </a:srgbClr>
                </a:solidFill>
                <a:effectLst/>
                <a:uLnTx/>
                <a:uFillTx/>
                <a:latin typeface="Johnson Text"/>
                <a:ea typeface="Calibri"/>
                <a:cs typeface="Calibri"/>
              </a:rPr>
              <a:t>XPT to SAS7BDAT:     %xpt2sas(type=ADAM, </a:t>
            </a:r>
            <a:r>
              <a:rPr kumimoji="1" lang="en-US" altLang="zh-CN" sz="1200" b="0" i="0" u="none" strike="noStrike" kern="1200" cap="none" spc="0" normalizeH="0" baseline="0" noProof="0" err="1">
                <a:ln w="12700">
                  <a:noFill/>
                </a:ln>
                <a:solidFill>
                  <a:srgbClr val="262626">
                    <a:alpha val="100000"/>
                  </a:srgbClr>
                </a:solidFill>
                <a:effectLst/>
                <a:uLnTx/>
                <a:uFillTx/>
                <a:latin typeface="Johnson Text"/>
                <a:ea typeface="Calibri"/>
                <a:cs typeface="Calibri"/>
              </a:rPr>
              <a:t>indir</a:t>
            </a:r>
            <a:r>
              <a:rPr kumimoji="1" lang="en-US" altLang="zh-CN" sz="1200" b="0" i="0" u="none" strike="noStrike" kern="1200" cap="none" spc="0" normalizeH="0" baseline="0" noProof="0">
                <a:ln w="12700">
                  <a:noFill/>
                </a:ln>
                <a:solidFill>
                  <a:srgbClr val="262626">
                    <a:alpha val="100000"/>
                  </a:srgbClr>
                </a:solidFill>
                <a:effectLst/>
                <a:uLnTx/>
                <a:uFillTx/>
                <a:latin typeface="Johnson Text"/>
                <a:ea typeface="Calibri"/>
                <a:cs typeface="Calibri"/>
              </a:rPr>
              <a:t>=C:\mock\</a:t>
            </a:r>
            <a:r>
              <a:rPr kumimoji="1" lang="en-US" altLang="zh-CN" sz="1200" b="0" i="0" u="none" strike="noStrike" kern="1200" cap="none" spc="0" normalizeH="0" baseline="0" noProof="0" err="1">
                <a:ln w="12700">
                  <a:noFill/>
                </a:ln>
                <a:solidFill>
                  <a:srgbClr val="262626">
                    <a:alpha val="100000"/>
                  </a:srgbClr>
                </a:solidFill>
                <a:effectLst/>
                <a:uLnTx/>
                <a:uFillTx/>
                <a:latin typeface="Johnson Text"/>
                <a:ea typeface="Calibri"/>
                <a:cs typeface="Calibri"/>
              </a:rPr>
              <a:t>xpt</a:t>
            </a:r>
            <a:r>
              <a:rPr kumimoji="1" lang="en-US" altLang="zh-CN" sz="1200" b="0" i="0" u="none" strike="noStrike" kern="1200" cap="none" spc="0" normalizeH="0" baseline="0" noProof="0">
                <a:ln w="12700">
                  <a:noFill/>
                </a:ln>
                <a:solidFill>
                  <a:srgbClr val="262626">
                    <a:alpha val="100000"/>
                  </a:srgbClr>
                </a:solidFill>
                <a:effectLst/>
                <a:uLnTx/>
                <a:uFillTx/>
                <a:latin typeface="Johnson Text"/>
                <a:ea typeface="Calibri"/>
                <a:cs typeface="Calibri"/>
              </a:rPr>
              <a:t>, </a:t>
            </a:r>
            <a:r>
              <a:rPr kumimoji="1" lang="en-US" altLang="zh-CN" sz="1200" b="0" i="0" u="none" strike="noStrike" kern="1200" cap="none" spc="0" normalizeH="0" baseline="0" noProof="0" err="1">
                <a:ln w="12700">
                  <a:noFill/>
                </a:ln>
                <a:solidFill>
                  <a:srgbClr val="262626">
                    <a:alpha val="100000"/>
                  </a:srgbClr>
                </a:solidFill>
                <a:effectLst/>
                <a:uLnTx/>
                <a:uFillTx/>
                <a:latin typeface="Johnson Text"/>
                <a:ea typeface="Calibri"/>
                <a:cs typeface="Calibri"/>
              </a:rPr>
              <a:t>outdir</a:t>
            </a:r>
            <a:r>
              <a:rPr kumimoji="1" lang="en-US" altLang="zh-CN" sz="1200" b="0" i="0" u="none" strike="noStrike" kern="1200" cap="none" spc="0" normalizeH="0" baseline="0" noProof="0">
                <a:ln w="12700">
                  <a:noFill/>
                </a:ln>
                <a:solidFill>
                  <a:srgbClr val="262626">
                    <a:alpha val="100000"/>
                  </a:srgbClr>
                </a:solidFill>
                <a:effectLst/>
                <a:uLnTx/>
                <a:uFillTx/>
                <a:latin typeface="Johnson Text"/>
                <a:ea typeface="Calibri"/>
                <a:cs typeface="Calibri"/>
              </a:rPr>
              <a:t>=C:\mock\</a:t>
            </a:r>
            <a:r>
              <a:rPr kumimoji="1" lang="en-US" altLang="zh-CN" sz="1200" b="0" i="0" u="none" strike="noStrike" kern="1200" cap="none" spc="0" normalizeH="0" baseline="0" noProof="0" err="1">
                <a:ln w="12700">
                  <a:noFill/>
                </a:ln>
                <a:solidFill>
                  <a:srgbClr val="262626">
                    <a:alpha val="100000"/>
                  </a:srgbClr>
                </a:solidFill>
                <a:effectLst/>
                <a:uLnTx/>
                <a:uFillTx/>
                <a:latin typeface="Johnson Text"/>
                <a:ea typeface="Calibri"/>
                <a:cs typeface="Calibri"/>
              </a:rPr>
              <a:t>adam</a:t>
            </a:r>
            <a:r>
              <a:rPr kumimoji="1" lang="en-US" altLang="zh-CN" sz="1200" b="0" i="0" u="none" strike="noStrike" kern="1200" cap="none" spc="0" normalizeH="0" baseline="0" noProof="0">
                <a:ln w="12700">
                  <a:noFill/>
                </a:ln>
                <a:solidFill>
                  <a:srgbClr val="262626">
                    <a:alpha val="100000"/>
                  </a:srgbClr>
                </a:solidFill>
                <a:effectLst/>
                <a:uLnTx/>
                <a:uFillTx/>
                <a:latin typeface="Johnson Text"/>
                <a:ea typeface="Calibri"/>
                <a:cs typeface="Calibri"/>
              </a:rPr>
              <a:t>);</a:t>
            </a:r>
            <a:endParaRPr lang="en-US" altLang="zh-CN" sz="1200" b="0" i="0" u="none" strike="noStrike" kern="1200" cap="none" spc="0" normalizeH="0" baseline="0" noProof="0">
              <a:ln w="12700">
                <a:noFill/>
              </a:ln>
              <a:solidFill>
                <a:srgbClr val="262626">
                  <a:alpha val="100000"/>
                </a:srgbClr>
              </a:solidFill>
              <a:effectLst/>
              <a:uLnTx/>
              <a:uFillTx/>
              <a:latin typeface="Johnson Text"/>
              <a:ea typeface="Calibri"/>
              <a:cs typeface="Calibri"/>
            </a:endParaRPr>
          </a:p>
          <a:p>
            <a:pPr marL="171450" indent="-171450">
              <a:lnSpc>
                <a:spcPct val="150000"/>
              </a:lnSpc>
              <a:buFont typeface="Wingdings" panose="05000000000000000000" pitchFamily="2" charset="2"/>
              <a:buChar char="ü"/>
              <a:defRPr/>
            </a:pPr>
            <a:r>
              <a:rPr kumimoji="1" lang="en-US" altLang="zh-CN" sz="1200" b="0" i="0" u="none" strike="noStrike" kern="1200" cap="none" spc="0" normalizeH="0" baseline="0" noProof="0">
                <a:ln w="12700">
                  <a:noFill/>
                </a:ln>
                <a:solidFill>
                  <a:srgbClr val="262626">
                    <a:alpha val="100000"/>
                  </a:srgbClr>
                </a:solidFill>
                <a:effectLst/>
                <a:uLnTx/>
                <a:uFillTx/>
                <a:latin typeface="Johnson Text"/>
                <a:ea typeface="Calibri"/>
                <a:cs typeface="Calibri"/>
              </a:rPr>
              <a:t>XPT to XLSX</a:t>
            </a:r>
            <a:r>
              <a:rPr kumimoji="1" lang="en-US" altLang="zh-CN" sz="1200">
                <a:ln w="12700">
                  <a:noFill/>
                </a:ln>
                <a:solidFill>
                  <a:srgbClr val="262626">
                    <a:alpha val="100000"/>
                  </a:srgbClr>
                </a:solidFill>
                <a:latin typeface="Johnson Text"/>
                <a:cs typeface="Calibri"/>
              </a:rPr>
              <a:t> :              </a:t>
            </a:r>
            <a:r>
              <a:rPr kumimoji="1" lang="en-US" sz="1200">
                <a:ln w="12700">
                  <a:noFill/>
                </a:ln>
                <a:solidFill>
                  <a:srgbClr val="262626">
                    <a:alpha val="100000"/>
                  </a:srgbClr>
                </a:solidFill>
                <a:latin typeface="Johnson Text"/>
                <a:cs typeface="Calibri"/>
              </a:rPr>
              <a:t> %escnxpt2extrn(</a:t>
            </a:r>
            <a:r>
              <a:rPr kumimoji="1" lang="en-US" sz="1200" err="1">
                <a:ln w="12700">
                  <a:noFill/>
                </a:ln>
                <a:solidFill>
                  <a:srgbClr val="262626">
                    <a:alpha val="100000"/>
                  </a:srgbClr>
                </a:solidFill>
                <a:latin typeface="Johnson Text"/>
                <a:cs typeface="Calibri"/>
              </a:rPr>
              <a:t>indir</a:t>
            </a:r>
            <a:r>
              <a:rPr kumimoji="1" lang="en-US" sz="1200">
                <a:ln w="12700">
                  <a:noFill/>
                </a:ln>
                <a:solidFill>
                  <a:srgbClr val="262626">
                    <a:alpha val="100000"/>
                  </a:srgbClr>
                </a:solidFill>
                <a:latin typeface="Johnson Text"/>
                <a:cs typeface="Calibri"/>
              </a:rPr>
              <a:t>= C:\mock\xpt ,</a:t>
            </a:r>
            <a:r>
              <a:rPr kumimoji="1" lang="en-US" sz="1200" err="1">
                <a:ln w="12700">
                  <a:noFill/>
                </a:ln>
                <a:solidFill>
                  <a:srgbClr val="262626">
                    <a:alpha val="100000"/>
                  </a:srgbClr>
                </a:solidFill>
                <a:latin typeface="Johnson Text"/>
                <a:cs typeface="Calibri"/>
              </a:rPr>
              <a:t>outdir</a:t>
            </a:r>
            <a:r>
              <a:rPr kumimoji="1" lang="en-US" sz="1200">
                <a:ln w="12700">
                  <a:noFill/>
                </a:ln>
                <a:solidFill>
                  <a:srgbClr val="262626">
                    <a:alpha val="100000"/>
                  </a:srgbClr>
                </a:solidFill>
                <a:latin typeface="Johnson Text"/>
                <a:cs typeface="Calibri"/>
              </a:rPr>
              <a:t>= C:\mock\input ,</a:t>
            </a:r>
            <a:r>
              <a:rPr kumimoji="1" lang="en-US" sz="1200" err="1">
                <a:ln w="12700">
                  <a:noFill/>
                </a:ln>
                <a:solidFill>
                  <a:srgbClr val="262626">
                    <a:alpha val="100000"/>
                  </a:srgbClr>
                </a:solidFill>
                <a:latin typeface="Johnson Text"/>
                <a:cs typeface="Calibri"/>
              </a:rPr>
              <a:t>sheetlist</a:t>
            </a:r>
            <a:r>
              <a:rPr kumimoji="1" lang="en-US" sz="1200">
                <a:ln w="12700">
                  <a:noFill/>
                </a:ln>
                <a:solidFill>
                  <a:srgbClr val="262626">
                    <a:alpha val="100000"/>
                  </a:srgbClr>
                </a:solidFill>
                <a:latin typeface="Johnson Text"/>
                <a:cs typeface="Calibri"/>
              </a:rPr>
              <a:t>=%str(Sheet1),</a:t>
            </a:r>
            <a:r>
              <a:rPr kumimoji="1" lang="en-US" sz="1200" err="1">
                <a:ln w="12700">
                  <a:noFill/>
                </a:ln>
                <a:solidFill>
                  <a:srgbClr val="262626">
                    <a:alpha val="100000"/>
                  </a:srgbClr>
                </a:solidFill>
                <a:latin typeface="Johnson Text"/>
                <a:cs typeface="Calibri"/>
              </a:rPr>
              <a:t>xptlist</a:t>
            </a:r>
            <a:r>
              <a:rPr kumimoji="1" lang="en-US" sz="1200">
                <a:ln w="12700">
                  <a:noFill/>
                </a:ln>
                <a:solidFill>
                  <a:srgbClr val="262626">
                    <a:alpha val="100000"/>
                  </a:srgbClr>
                </a:solidFill>
                <a:latin typeface="Johnson Text"/>
                <a:cs typeface="Calibri"/>
              </a:rPr>
              <a:t>=%str(titles),</a:t>
            </a:r>
            <a:r>
              <a:rPr kumimoji="1" lang="en-US" sz="1200" err="1">
                <a:ln w="12700">
                  <a:noFill/>
                </a:ln>
                <a:solidFill>
                  <a:srgbClr val="262626">
                    <a:alpha val="100000"/>
                  </a:srgbClr>
                </a:solidFill>
                <a:latin typeface="Johnson Text"/>
                <a:cs typeface="Calibri"/>
              </a:rPr>
              <a:t>filelist</a:t>
            </a:r>
            <a:r>
              <a:rPr kumimoji="1" lang="en-US" sz="1200">
                <a:ln w="12700">
                  <a:noFill/>
                </a:ln>
                <a:solidFill>
                  <a:srgbClr val="262626">
                    <a:alpha val="100000"/>
                  </a:srgbClr>
                </a:solidFill>
                <a:latin typeface="Johnson Text"/>
                <a:cs typeface="Calibri"/>
              </a:rPr>
              <a:t>=%str(titles.xlsx),</a:t>
            </a:r>
            <a:r>
              <a:rPr kumimoji="1" lang="en-US" sz="1200" err="1">
                <a:ln w="12700">
                  <a:noFill/>
                </a:ln>
                <a:solidFill>
                  <a:srgbClr val="262626">
                    <a:alpha val="100000"/>
                  </a:srgbClr>
                </a:solidFill>
                <a:latin typeface="Johnson Text"/>
                <a:cs typeface="Calibri"/>
              </a:rPr>
              <a:t>fileextlist</a:t>
            </a:r>
            <a:r>
              <a:rPr kumimoji="1" lang="en-US" sz="1200">
                <a:ln w="12700">
                  <a:noFill/>
                </a:ln>
                <a:solidFill>
                  <a:srgbClr val="262626">
                    <a:alpha val="100000"/>
                  </a:srgbClr>
                </a:solidFill>
                <a:latin typeface="Johnson Text"/>
                <a:cs typeface="Calibri"/>
              </a:rPr>
              <a:t>=xlsx);​</a:t>
            </a:r>
            <a:endParaRPr lang="en-US" altLang="zh-CN" sz="1200">
              <a:ln w="12700">
                <a:noFill/>
              </a:ln>
              <a:solidFill>
                <a:srgbClr val="262626">
                  <a:alpha val="100000"/>
                </a:srgbClr>
              </a:solidFill>
              <a:latin typeface="Johnson Text"/>
              <a:cs typeface="Calibri"/>
            </a:endParaRPr>
          </a:p>
          <a:p>
            <a:pPr marL="171450" marR="0" lvl="0" indent="-1714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1" lang="en-US" altLang="zh-CN" sz="1200" b="0" i="0" u="none" strike="noStrike" kern="1200" cap="none" spc="0" normalizeH="0" baseline="0" noProof="0">
                <a:ln w="12700">
                  <a:noFill/>
                </a:ln>
                <a:solidFill>
                  <a:srgbClr val="262626">
                    <a:alpha val="100000"/>
                  </a:srgbClr>
                </a:solidFill>
                <a:effectLst/>
                <a:uLnTx/>
                <a:uFillTx/>
                <a:latin typeface="Johnson Text"/>
                <a:ea typeface="Calibri"/>
                <a:cs typeface="Calibri"/>
              </a:rPr>
              <a:t>R Code to convert “.txt” to</a:t>
            </a:r>
            <a:r>
              <a:rPr kumimoji="1" lang="zh-CN" altLang="en-US" sz="1200" b="0" i="0" u="none" strike="noStrike" kern="1200" cap="none" spc="0" normalizeH="0" baseline="0" noProof="0">
                <a:ln w="12700">
                  <a:noFill/>
                </a:ln>
                <a:solidFill>
                  <a:srgbClr val="262626">
                    <a:alpha val="100000"/>
                  </a:srgbClr>
                </a:solidFill>
                <a:effectLst/>
                <a:uLnTx/>
                <a:uFillTx/>
                <a:latin typeface="Johnson Text"/>
                <a:ea typeface="Calibri" panose="020F0502020204030204" pitchFamily="34" charset="0"/>
                <a:cs typeface="Calibri"/>
              </a:rPr>
              <a:t>“</a:t>
            </a:r>
            <a:r>
              <a:rPr kumimoji="1" lang="en-US" altLang="zh-CN" sz="1200" b="0" i="0" u="none" strike="noStrike" kern="1200" cap="none" spc="0" normalizeH="0" baseline="0" noProof="0">
                <a:ln w="12700">
                  <a:noFill/>
                </a:ln>
                <a:solidFill>
                  <a:srgbClr val="262626">
                    <a:alpha val="100000"/>
                  </a:srgbClr>
                </a:solidFill>
                <a:effectLst/>
                <a:uLnTx/>
                <a:uFillTx/>
                <a:latin typeface="Johnson Text"/>
                <a:ea typeface="Calibri"/>
                <a:cs typeface="Calibri"/>
              </a:rPr>
              <a:t>.</a:t>
            </a:r>
            <a:r>
              <a:rPr kumimoji="1" lang="en-US" altLang="zh-CN" sz="1200" b="0" i="0" u="none" strike="noStrike" kern="1200" cap="none" spc="0" normalizeH="0" baseline="0" noProof="0" err="1">
                <a:ln w="12700">
                  <a:noFill/>
                </a:ln>
                <a:solidFill>
                  <a:srgbClr val="262626">
                    <a:alpha val="100000"/>
                  </a:srgbClr>
                </a:solidFill>
                <a:effectLst/>
                <a:uLnTx/>
                <a:uFillTx/>
                <a:latin typeface="Johnson Text"/>
                <a:ea typeface="Calibri"/>
                <a:cs typeface="Calibri"/>
              </a:rPr>
              <a:t>sas</a:t>
            </a:r>
            <a:r>
              <a:rPr kumimoji="1" lang="en-US" altLang="zh-CN" sz="1200" b="0" i="0" u="none" strike="noStrike" kern="1200" cap="none" spc="0" normalizeH="0" baseline="0" noProof="0">
                <a:ln w="12700">
                  <a:noFill/>
                </a:ln>
                <a:solidFill>
                  <a:srgbClr val="262626">
                    <a:alpha val="100000"/>
                  </a:srgbClr>
                </a:solidFill>
                <a:effectLst/>
                <a:uLnTx/>
                <a:uFillTx/>
                <a:latin typeface="Johnson Text"/>
                <a:ea typeface="Calibri"/>
                <a:cs typeface="Calibri"/>
              </a:rPr>
              <a:t>”/”.r”</a:t>
            </a:r>
            <a:endParaRPr lang="en-US" altLang="zh-CN" sz="1200" b="0" i="0" u="none" strike="noStrike" kern="1200" cap="none" spc="0" normalizeH="0" baseline="0" noProof="0">
              <a:ln w="12700">
                <a:noFill/>
              </a:ln>
              <a:solidFill>
                <a:srgbClr val="262626">
                  <a:alpha val="100000"/>
                </a:srgbClr>
              </a:solidFill>
              <a:effectLst/>
              <a:uLnTx/>
              <a:uFillTx/>
              <a:latin typeface="Johnson Text"/>
              <a:ea typeface="Calibri"/>
              <a:cs typeface="Calibri"/>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1" lang="en-US" altLang="zh-CN" sz="1200" b="0" i="0" u="none" strike="noStrike" kern="1200" cap="none" spc="0" normalizeH="0" baseline="0" noProof="0">
              <a:ln w="12700">
                <a:noFill/>
              </a:ln>
              <a:solidFill>
                <a:srgbClr val="262626">
                  <a:alpha val="100000"/>
                </a:srgbClr>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4" name="标题 1">
            <a:extLst>
              <a:ext uri="{FF2B5EF4-FFF2-40B4-BE49-F238E27FC236}">
                <a16:creationId xmlns:a16="http://schemas.microsoft.com/office/drawing/2014/main" id="{1FE4963B-0294-ECF5-776B-DA3666407BF2}"/>
              </a:ext>
            </a:extLst>
          </p:cNvPr>
          <p:cNvSpPr txBox="1"/>
          <p:nvPr/>
        </p:nvSpPr>
        <p:spPr>
          <a:xfrm>
            <a:off x="444157" y="488700"/>
            <a:ext cx="10858500" cy="468000"/>
          </a:xfrm>
          <a:prstGeom prst="rect">
            <a:avLst/>
          </a:prstGeom>
          <a:noFill/>
          <a:ln>
            <a:noFill/>
          </a:ln>
        </p:spPr>
        <p:txBody>
          <a:bodyPr vert="horz" wrap="square" lIns="0" tIns="0" rIns="0" bIns="0" rtlCol="0" anchor="ctr"/>
          <a:lstStyle/>
          <a:p>
            <a:pPr>
              <a:lnSpc>
                <a:spcPct val="85000"/>
              </a:lnSpc>
              <a:spcBef>
                <a:spcPts val="600"/>
              </a:spcBef>
              <a:spcAft>
                <a:spcPts val="600"/>
              </a:spcAft>
            </a:pPr>
            <a:r>
              <a:rPr lang="en-US" altLang="zh-CN" sz="3500" b="1">
                <a:solidFill>
                  <a:schemeClr val="tx2"/>
                </a:solidFill>
                <a:latin typeface="+mj-lt"/>
                <a:ea typeface="+mj-ea"/>
                <a:cs typeface="+mj-cs"/>
              </a:rPr>
              <a:t>Key Steps for Setup of the R Environment</a:t>
            </a:r>
            <a:endParaRPr lang="zh-CN" altLang="en-US" sz="3500" b="1">
              <a:solidFill>
                <a:schemeClr val="tx2"/>
              </a:solidFill>
              <a:latin typeface="+mj-lt"/>
              <a:ea typeface="+mj-ea"/>
              <a:cs typeface="+mj-cs"/>
            </a:endParaRPr>
          </a:p>
        </p:txBody>
      </p:sp>
      <p:pic>
        <p:nvPicPr>
          <p:cNvPr id="1026" name="Picture 2" descr="A screenshot of a computer program&#10;&#10;AI-generated content may be incorrect.">
            <a:extLst>
              <a:ext uri="{FF2B5EF4-FFF2-40B4-BE49-F238E27FC236}">
                <a16:creationId xmlns:a16="http://schemas.microsoft.com/office/drawing/2014/main" id="{E249480E-A6BE-9043-0767-40556B1C21F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0856" y="3243648"/>
            <a:ext cx="4401878" cy="31321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83349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a:extLst>
              <a:ext uri="{FF2B5EF4-FFF2-40B4-BE49-F238E27FC236}">
                <a16:creationId xmlns:a16="http://schemas.microsoft.com/office/drawing/2014/main" id="{75DC22F4-AFD1-2877-3983-706CA8EDFA3E}"/>
              </a:ext>
            </a:extLst>
          </p:cNvPr>
          <p:cNvSpPr txBox="1"/>
          <p:nvPr/>
        </p:nvSpPr>
        <p:spPr>
          <a:xfrm>
            <a:off x="0" y="0"/>
            <a:ext cx="12192000" cy="6858000"/>
          </a:xfrm>
          <a:prstGeom prst="rect">
            <a:avLst/>
          </a:prstGeom>
          <a:gradFill>
            <a:gsLst>
              <a:gs pos="0">
                <a:schemeClr val="accent1">
                  <a:lumMod val="20000"/>
                  <a:lumOff val="80000"/>
                  <a:alpha val="41000"/>
                </a:schemeClr>
              </a:gs>
              <a:gs pos="100000">
                <a:schemeClr val="accent2">
                  <a:lumMod val="10000"/>
                  <a:lumOff val="90000"/>
                  <a:alpha val="35000"/>
                </a:schemeClr>
              </a:gs>
            </a:gsLst>
            <a:lin ang="16200000" scaled="0"/>
          </a:gradFill>
          <a:ln w="12700" cap="sq">
            <a:noFill/>
            <a:miter/>
          </a:ln>
        </p:spPr>
        <p:txBody>
          <a:bodyPr vert="horz" wrap="square" lIns="91440" tIns="45720" rIns="91440" bIns="45720"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srgbClr val="000000"/>
              </a:solidFill>
              <a:effectLst/>
              <a:uLnTx/>
              <a:uFillTx/>
              <a:latin typeface="Johnson Text"/>
              <a:ea typeface="+mn-ea"/>
              <a:cs typeface="+mn-cs"/>
            </a:endParaRPr>
          </a:p>
        </p:txBody>
      </p:sp>
      <p:sp>
        <p:nvSpPr>
          <p:cNvPr id="5" name="标题 1">
            <a:extLst>
              <a:ext uri="{FF2B5EF4-FFF2-40B4-BE49-F238E27FC236}">
                <a16:creationId xmlns:a16="http://schemas.microsoft.com/office/drawing/2014/main" id="{92C116D9-E563-2728-EB62-5E9F093C68B5}"/>
              </a:ext>
            </a:extLst>
          </p:cNvPr>
          <p:cNvSpPr txBox="1"/>
          <p:nvPr/>
        </p:nvSpPr>
        <p:spPr>
          <a:xfrm>
            <a:off x="446049" y="416700"/>
            <a:ext cx="8453278" cy="612000"/>
          </a:xfrm>
          <a:prstGeom prst="rect">
            <a:avLst/>
          </a:prstGeom>
          <a:gradFill>
            <a:gsLst>
              <a:gs pos="0">
                <a:schemeClr val="accent1">
                  <a:lumMod val="20000"/>
                  <a:lumOff val="80000"/>
                </a:schemeClr>
              </a:gs>
              <a:gs pos="100000">
                <a:schemeClr val="bg1"/>
              </a:gs>
            </a:gsLst>
            <a:lin ang="0" scaled="0"/>
          </a:gradFill>
          <a:ln w="12700" cap="sq">
            <a:noFill/>
            <a:miter/>
          </a:ln>
        </p:spPr>
        <p:txBody>
          <a:bodyPr vert="horz" wrap="square" lIns="91440" tIns="45720" rIns="91440" bIns="45720" rtlCol="0" anchor="ctr"/>
          <a:lstStyle/>
          <a:p>
            <a:pPr algn="ctr">
              <a:lnSpc>
                <a:spcPct val="110000"/>
              </a:lnSpc>
            </a:pPr>
            <a:r>
              <a:rPr lang="en-US" sz="3500" b="1" baseline="0">
                <a:solidFill>
                  <a:srgbClr val="EB1700"/>
                </a:solidFill>
                <a:latin typeface="Johnson Display"/>
              </a:rPr>
              <a:t>Key Steps for Setup of the R Environment</a:t>
            </a:r>
            <a:r>
              <a:rPr lang="en-US" sz="3500">
                <a:latin typeface="Johnson Display"/>
                <a:ea typeface="Johnson Display"/>
                <a:cs typeface="Johnson Display"/>
              </a:rPr>
              <a:t>​</a:t>
            </a:r>
            <a:endParaRPr kumimoji="1" lang="zh-CN" altLang="en-US"/>
          </a:p>
        </p:txBody>
      </p:sp>
      <p:sp>
        <p:nvSpPr>
          <p:cNvPr id="7" name="标题 1">
            <a:extLst>
              <a:ext uri="{FF2B5EF4-FFF2-40B4-BE49-F238E27FC236}">
                <a16:creationId xmlns:a16="http://schemas.microsoft.com/office/drawing/2014/main" id="{0F23CCD2-4DD9-E179-309D-C9AFC66890C4}"/>
              </a:ext>
            </a:extLst>
          </p:cNvPr>
          <p:cNvSpPr txBox="1"/>
          <p:nvPr/>
        </p:nvSpPr>
        <p:spPr>
          <a:xfrm>
            <a:off x="3773758" y="1209348"/>
            <a:ext cx="7210509" cy="311290"/>
          </a:xfrm>
          <a:prstGeom prst="rect">
            <a:avLst/>
          </a:prstGeom>
          <a:noFill/>
          <a:ln>
            <a:noFill/>
          </a:ln>
        </p:spPr>
        <p:txBody>
          <a:bodyPr vert="horz" wrap="square" lIns="0" tIns="0" rIns="0" bIns="0" rtlCol="0" anchor="ctr"/>
          <a:lstStyle/>
          <a:p>
            <a:pPr algn="l">
              <a:lnSpc>
                <a:spcPct val="120000"/>
              </a:lnSpc>
            </a:pPr>
            <a:r>
              <a:rPr kumimoji="1" lang="en-US" altLang="zh-CN" sz="2000">
                <a:ln w="12700">
                  <a:noFill/>
                </a:ln>
                <a:solidFill>
                  <a:srgbClr val="262626">
                    <a:alpha val="100000"/>
                  </a:srgbClr>
                </a:solidFill>
                <a:latin typeface="Johnson Text"/>
                <a:ea typeface="Calibri"/>
                <a:cs typeface="Calibri"/>
              </a:rPr>
              <a:t>Reproduce the Working Environment</a:t>
            </a:r>
            <a:endParaRPr lang="zh-CN" altLang="en-US" sz="2000">
              <a:latin typeface="Johnson Text"/>
              <a:cs typeface="Calibri"/>
            </a:endParaRPr>
          </a:p>
        </p:txBody>
      </p:sp>
      <p:sp>
        <p:nvSpPr>
          <p:cNvPr id="9" name="标题 1">
            <a:extLst>
              <a:ext uri="{FF2B5EF4-FFF2-40B4-BE49-F238E27FC236}">
                <a16:creationId xmlns:a16="http://schemas.microsoft.com/office/drawing/2014/main" id="{5658A25A-020A-6B4E-8F89-3530D2DC650D}"/>
              </a:ext>
            </a:extLst>
          </p:cNvPr>
          <p:cNvSpPr txBox="1"/>
          <p:nvPr/>
        </p:nvSpPr>
        <p:spPr>
          <a:xfrm>
            <a:off x="3773110" y="1712971"/>
            <a:ext cx="7472459" cy="1766388"/>
          </a:xfrm>
          <a:prstGeom prst="rect">
            <a:avLst/>
          </a:prstGeom>
          <a:noFill/>
          <a:ln>
            <a:noFill/>
          </a:ln>
        </p:spPr>
        <p:txBody>
          <a:bodyPr vert="horz" wrap="square" lIns="0" tIns="0" rIns="0" bIns="0" rtlCol="0" anchor="t"/>
          <a:lstStyle/>
          <a:p>
            <a:pPr algn="l">
              <a:lnSpc>
                <a:spcPct val="150000"/>
              </a:lnSpc>
            </a:pPr>
            <a:r>
              <a:rPr kumimoji="1" lang="en-US" altLang="zh-CN" sz="1200">
                <a:ln w="12700">
                  <a:noFill/>
                </a:ln>
                <a:solidFill>
                  <a:srgbClr val="262626">
                    <a:alpha val="100000"/>
                  </a:srgbClr>
                </a:solidFill>
                <a:latin typeface="Johnson Text"/>
                <a:ea typeface="Calibri"/>
                <a:cs typeface="Calibri"/>
              </a:rPr>
              <a:t>In the R session, install the required packages listed in </a:t>
            </a:r>
            <a:r>
              <a:rPr kumimoji="1" lang="en-US" altLang="zh-CN" sz="1200" i="1">
                <a:ln w="12700">
                  <a:noFill/>
                </a:ln>
                <a:solidFill>
                  <a:srgbClr val="262626">
                    <a:alpha val="100000"/>
                  </a:srgbClr>
                </a:solidFill>
                <a:latin typeface="Johnson Text"/>
                <a:ea typeface="Calibri"/>
                <a:cs typeface="Calibri"/>
              </a:rPr>
              <a:t>packages.txt </a:t>
            </a:r>
            <a:r>
              <a:rPr kumimoji="1" lang="en-US" altLang="zh-CN" sz="1200">
                <a:ln w="12700">
                  <a:noFill/>
                </a:ln>
                <a:solidFill>
                  <a:srgbClr val="262626">
                    <a:alpha val="100000"/>
                  </a:srgbClr>
                </a:solidFill>
                <a:latin typeface="Johnson Text"/>
                <a:ea typeface="Calibri"/>
                <a:cs typeface="Calibri"/>
              </a:rPr>
              <a:t>(located at “.\m5\datasets\jnjcompound01\</a:t>
            </a:r>
            <a:r>
              <a:rPr kumimoji="1" lang="en-US" altLang="zh-CN" sz="1200" err="1">
                <a:ln w="12700">
                  <a:noFill/>
                </a:ln>
                <a:solidFill>
                  <a:srgbClr val="262626">
                    <a:alpha val="100000"/>
                  </a:srgbClr>
                </a:solidFill>
                <a:latin typeface="Johnson Text"/>
                <a:ea typeface="Calibri"/>
                <a:cs typeface="Calibri"/>
              </a:rPr>
              <a:t>misc</a:t>
            </a:r>
            <a:r>
              <a:rPr kumimoji="1" lang="en-US" altLang="zh-CN" sz="1200">
                <a:ln w="12700">
                  <a:noFill/>
                </a:ln>
                <a:solidFill>
                  <a:srgbClr val="262626">
                    <a:alpha val="100000"/>
                  </a:srgbClr>
                </a:solidFill>
                <a:latin typeface="Johnson Text"/>
                <a:ea typeface="Calibri"/>
                <a:cs typeface="Calibri"/>
              </a:rPr>
              <a:t>”). The packages can be installed by running the code below in RStudio. </a:t>
            </a:r>
          </a:p>
          <a:p>
            <a:pPr algn="l">
              <a:lnSpc>
                <a:spcPct val="150000"/>
              </a:lnSpc>
            </a:pPr>
            <a:r>
              <a:rPr kumimoji="1" lang="en-US" altLang="zh-CN" sz="1100">
                <a:ln w="12700">
                  <a:noFill/>
                </a:ln>
                <a:solidFill>
                  <a:srgbClr val="262626">
                    <a:alpha val="100000"/>
                  </a:srgbClr>
                </a:solidFill>
                <a:latin typeface="Calibri"/>
                <a:ea typeface="Calibri"/>
                <a:cs typeface="Calibri"/>
              </a:rPr>
              <a:t>     </a:t>
            </a:r>
            <a:r>
              <a:rPr kumimoji="1" lang="en-US" altLang="zh-CN" sz="1100">
                <a:ln w="12700">
                  <a:noFill/>
                </a:ln>
                <a:solidFill>
                  <a:srgbClr val="262626">
                    <a:alpha val="100000"/>
                  </a:srgbClr>
                </a:solidFill>
                <a:latin typeface="Johnson Text"/>
                <a:ea typeface="Calibri"/>
                <a:cs typeface="Calibri"/>
              </a:rPr>
              <a:t> </a:t>
            </a:r>
            <a:r>
              <a:rPr kumimoji="1" lang="en-US" altLang="zh-CN" sz="1100" err="1">
                <a:ln w="12700">
                  <a:noFill/>
                </a:ln>
                <a:solidFill>
                  <a:srgbClr val="262626">
                    <a:alpha val="100000"/>
                  </a:srgbClr>
                </a:solidFill>
                <a:latin typeface="Johnson Text"/>
                <a:ea typeface="Calibri"/>
                <a:cs typeface="Calibri"/>
              </a:rPr>
              <a:t>setwd</a:t>
            </a:r>
            <a:r>
              <a:rPr kumimoji="1" lang="en-US" altLang="zh-CN" sz="1100">
                <a:ln w="12700">
                  <a:noFill/>
                </a:ln>
                <a:solidFill>
                  <a:srgbClr val="262626">
                    <a:alpha val="100000"/>
                  </a:srgbClr>
                </a:solidFill>
                <a:latin typeface="Johnson Text"/>
                <a:ea typeface="Calibri"/>
                <a:cs typeface="Calibri"/>
              </a:rPr>
              <a:t>('C:/mock’);</a:t>
            </a:r>
            <a:endParaRPr lang="en-US" altLang="zh-CN" sz="1100">
              <a:ln w="12700">
                <a:noFill/>
              </a:ln>
              <a:solidFill>
                <a:srgbClr val="262626">
                  <a:alpha val="100000"/>
                </a:srgbClr>
              </a:solidFill>
              <a:latin typeface="Johnson Text"/>
              <a:ea typeface="Calibri"/>
              <a:cs typeface="Calibri"/>
            </a:endParaRPr>
          </a:p>
          <a:p>
            <a:pPr algn="l">
              <a:lnSpc>
                <a:spcPct val="150000"/>
              </a:lnSpc>
            </a:pPr>
            <a:r>
              <a:rPr kumimoji="1" lang="en-US" altLang="zh-CN" sz="1100">
                <a:ln w="12700">
                  <a:noFill/>
                </a:ln>
                <a:solidFill>
                  <a:srgbClr val="262626">
                    <a:alpha val="100000"/>
                  </a:srgbClr>
                </a:solidFill>
                <a:latin typeface="Johnson Text"/>
                <a:ea typeface="Calibri"/>
                <a:cs typeface="Calibri"/>
              </a:rPr>
              <a:t>      </a:t>
            </a:r>
            <a:r>
              <a:rPr kumimoji="1" lang="en-US" altLang="zh-CN" sz="1100" err="1">
                <a:ln w="12700">
                  <a:noFill/>
                </a:ln>
                <a:solidFill>
                  <a:srgbClr val="262626">
                    <a:alpha val="100000"/>
                  </a:srgbClr>
                </a:solidFill>
                <a:latin typeface="Johnson Text"/>
                <a:ea typeface="Calibri"/>
                <a:cs typeface="Calibri"/>
              </a:rPr>
              <a:t>install.packages</a:t>
            </a:r>
            <a:r>
              <a:rPr kumimoji="1" lang="en-US" altLang="zh-CN" sz="1100">
                <a:ln w="12700">
                  <a:noFill/>
                </a:ln>
                <a:solidFill>
                  <a:srgbClr val="262626">
                    <a:alpha val="100000"/>
                  </a:srgbClr>
                </a:solidFill>
                <a:latin typeface="Johnson Text"/>
                <a:ea typeface="Calibri"/>
                <a:cs typeface="Calibri"/>
              </a:rPr>
              <a:t>("remotes")</a:t>
            </a:r>
            <a:endParaRPr lang="en-US" altLang="zh-CN" sz="1100">
              <a:ln w="12700">
                <a:noFill/>
              </a:ln>
              <a:solidFill>
                <a:srgbClr val="262626">
                  <a:alpha val="100000"/>
                </a:srgbClr>
              </a:solidFill>
              <a:latin typeface="Johnson Text"/>
              <a:ea typeface="Calibri"/>
              <a:cs typeface="Calibri"/>
            </a:endParaRPr>
          </a:p>
          <a:p>
            <a:pPr algn="l">
              <a:lnSpc>
                <a:spcPct val="150000"/>
              </a:lnSpc>
            </a:pPr>
            <a:r>
              <a:rPr kumimoji="1" lang="en-US" altLang="zh-CN" sz="1200">
                <a:ln w="12700">
                  <a:noFill/>
                </a:ln>
                <a:solidFill>
                  <a:srgbClr val="262626">
                    <a:alpha val="100000"/>
                  </a:srgbClr>
                </a:solidFill>
                <a:latin typeface="Johnson Text"/>
                <a:cs typeface="Calibri"/>
              </a:rPr>
              <a:t>Install the {</a:t>
            </a:r>
            <a:r>
              <a:rPr kumimoji="1" lang="en-US" altLang="zh-CN" sz="1200" err="1">
                <a:ln w="12700">
                  <a:noFill/>
                </a:ln>
                <a:solidFill>
                  <a:srgbClr val="262626">
                    <a:alpha val="100000"/>
                  </a:srgbClr>
                </a:solidFill>
                <a:latin typeface="Johnson Text"/>
                <a:cs typeface="Calibri"/>
              </a:rPr>
              <a:t>renv</a:t>
            </a:r>
            <a:r>
              <a:rPr kumimoji="1" lang="en-US" altLang="zh-CN" sz="1200">
                <a:ln w="12700">
                  <a:noFill/>
                </a:ln>
                <a:solidFill>
                  <a:srgbClr val="262626">
                    <a:alpha val="100000"/>
                  </a:srgbClr>
                </a:solidFill>
                <a:latin typeface="Johnson Text"/>
                <a:cs typeface="Calibri"/>
              </a:rPr>
              <a:t>} package, version 1.0.3, which supports reproducible environments for R</a:t>
            </a:r>
            <a:endParaRPr lang="en-US" altLang="zh-CN" sz="1200">
              <a:ln w="12700">
                <a:noFill/>
              </a:ln>
              <a:solidFill>
                <a:srgbClr val="262626">
                  <a:alpha val="100000"/>
                </a:srgbClr>
              </a:solidFill>
              <a:latin typeface="Johnson Text"/>
              <a:cs typeface="Calibri"/>
            </a:endParaRPr>
          </a:p>
          <a:p>
            <a:pPr algn="l">
              <a:lnSpc>
                <a:spcPct val="150000"/>
              </a:lnSpc>
            </a:pPr>
            <a:r>
              <a:rPr kumimoji="1" lang="fr-FR" altLang="zh-CN" sz="1100">
                <a:ln w="12700">
                  <a:noFill/>
                </a:ln>
                <a:solidFill>
                  <a:srgbClr val="262626">
                    <a:alpha val="100000"/>
                  </a:srgbClr>
                </a:solidFill>
                <a:latin typeface="Calibri"/>
                <a:ea typeface="Calibri"/>
                <a:cs typeface="Calibri"/>
              </a:rPr>
              <a:t>      </a:t>
            </a:r>
            <a:r>
              <a:rPr kumimoji="1" lang="fr-FR" altLang="zh-CN" sz="1100">
                <a:ln w="12700">
                  <a:noFill/>
                </a:ln>
                <a:solidFill>
                  <a:srgbClr val="262626">
                    <a:alpha val="100000"/>
                  </a:srgbClr>
                </a:solidFill>
                <a:latin typeface="Johnson Text"/>
                <a:ea typeface="Calibri"/>
                <a:cs typeface="Calibri"/>
              </a:rPr>
              <a:t>options(</a:t>
            </a:r>
            <a:r>
              <a:rPr kumimoji="1" lang="fr-FR" altLang="zh-CN" sz="1100" err="1">
                <a:ln w="12700">
                  <a:noFill/>
                </a:ln>
                <a:solidFill>
                  <a:srgbClr val="262626">
                    <a:alpha val="100000"/>
                  </a:srgbClr>
                </a:solidFill>
                <a:latin typeface="Johnson Text"/>
                <a:ea typeface="Calibri"/>
                <a:cs typeface="Calibri"/>
              </a:rPr>
              <a:t>renv.consent</a:t>
            </a:r>
            <a:r>
              <a:rPr kumimoji="1" lang="fr-FR" altLang="zh-CN" sz="1100">
                <a:ln w="12700">
                  <a:noFill/>
                </a:ln>
                <a:solidFill>
                  <a:srgbClr val="262626">
                    <a:alpha val="100000"/>
                  </a:srgbClr>
                </a:solidFill>
                <a:latin typeface="Johnson Text"/>
                <a:ea typeface="Calibri"/>
                <a:cs typeface="Calibri"/>
              </a:rPr>
              <a:t> = TRUE); </a:t>
            </a:r>
            <a:endParaRPr lang="fr-FR" altLang="zh-CN" sz="1100">
              <a:ln w="12700">
                <a:noFill/>
              </a:ln>
              <a:solidFill>
                <a:srgbClr val="262626">
                  <a:alpha val="100000"/>
                </a:srgbClr>
              </a:solidFill>
              <a:latin typeface="Johnson Text"/>
              <a:ea typeface="Calibri"/>
              <a:cs typeface="Calibri"/>
            </a:endParaRPr>
          </a:p>
          <a:p>
            <a:pPr algn="l">
              <a:lnSpc>
                <a:spcPct val="150000"/>
              </a:lnSpc>
            </a:pPr>
            <a:r>
              <a:rPr kumimoji="1" lang="fr-FR" altLang="zh-CN" sz="1100">
                <a:ln w="12700">
                  <a:noFill/>
                </a:ln>
                <a:solidFill>
                  <a:srgbClr val="262626">
                    <a:alpha val="100000"/>
                  </a:srgbClr>
                </a:solidFill>
                <a:latin typeface="Johnson Text"/>
                <a:ea typeface="Calibri"/>
                <a:cs typeface="Calibri"/>
              </a:rPr>
              <a:t>      </a:t>
            </a:r>
            <a:r>
              <a:rPr kumimoji="1" lang="fr-FR" altLang="zh-CN" sz="1100" err="1">
                <a:ln w="12700">
                  <a:noFill/>
                </a:ln>
                <a:solidFill>
                  <a:srgbClr val="262626">
                    <a:alpha val="100000"/>
                  </a:srgbClr>
                </a:solidFill>
                <a:latin typeface="Johnson Text"/>
                <a:ea typeface="Calibri"/>
                <a:cs typeface="Calibri"/>
              </a:rPr>
              <a:t>remotes</a:t>
            </a:r>
            <a:r>
              <a:rPr kumimoji="1" lang="fr-FR" altLang="zh-CN" sz="1100">
                <a:ln w="12700">
                  <a:noFill/>
                </a:ln>
                <a:solidFill>
                  <a:srgbClr val="262626">
                    <a:alpha val="100000"/>
                  </a:srgbClr>
                </a:solidFill>
                <a:latin typeface="Johnson Text"/>
                <a:ea typeface="Calibri"/>
                <a:cs typeface="Calibri"/>
              </a:rPr>
              <a:t>::</a:t>
            </a:r>
            <a:r>
              <a:rPr kumimoji="1" lang="fr-FR" altLang="zh-CN" sz="1100" err="1">
                <a:ln w="12700">
                  <a:noFill/>
                </a:ln>
                <a:solidFill>
                  <a:srgbClr val="262626">
                    <a:alpha val="100000"/>
                  </a:srgbClr>
                </a:solidFill>
                <a:latin typeface="Johnson Text"/>
                <a:ea typeface="Calibri"/>
                <a:cs typeface="Calibri"/>
              </a:rPr>
              <a:t>install_version</a:t>
            </a:r>
            <a:r>
              <a:rPr kumimoji="1" lang="fr-FR" altLang="zh-CN" sz="1100">
                <a:ln w="12700">
                  <a:noFill/>
                </a:ln>
                <a:solidFill>
                  <a:srgbClr val="262626">
                    <a:alpha val="100000"/>
                  </a:srgbClr>
                </a:solidFill>
                <a:latin typeface="Johnson Text"/>
                <a:ea typeface="Calibri"/>
                <a:cs typeface="Calibri"/>
              </a:rPr>
              <a:t>("</a:t>
            </a:r>
            <a:r>
              <a:rPr kumimoji="1" lang="fr-FR" altLang="zh-CN" sz="1100" err="1">
                <a:ln w="12700">
                  <a:noFill/>
                </a:ln>
                <a:solidFill>
                  <a:srgbClr val="262626">
                    <a:alpha val="100000"/>
                  </a:srgbClr>
                </a:solidFill>
                <a:latin typeface="Johnson Text"/>
                <a:ea typeface="Calibri"/>
                <a:cs typeface="Calibri"/>
              </a:rPr>
              <a:t>renv</a:t>
            </a:r>
            <a:r>
              <a:rPr kumimoji="1" lang="fr-FR" altLang="zh-CN" sz="1100">
                <a:ln w="12700">
                  <a:noFill/>
                </a:ln>
                <a:solidFill>
                  <a:srgbClr val="262626">
                    <a:alpha val="100000"/>
                  </a:srgbClr>
                </a:solidFill>
                <a:latin typeface="Johnson Text"/>
                <a:ea typeface="Calibri"/>
                <a:cs typeface="Calibri"/>
              </a:rPr>
              <a:t>", version = "1.0.3")</a:t>
            </a:r>
            <a:endParaRPr lang="fr-FR" altLang="zh-CN" sz="1100">
              <a:ln w="12700">
                <a:noFill/>
              </a:ln>
              <a:solidFill>
                <a:srgbClr val="262626">
                  <a:alpha val="100000"/>
                </a:srgbClr>
              </a:solidFill>
              <a:latin typeface="Johnson Text"/>
              <a:ea typeface="Calibri"/>
              <a:cs typeface="Calibri"/>
            </a:endParaRPr>
          </a:p>
          <a:p>
            <a:pPr algn="l">
              <a:lnSpc>
                <a:spcPct val="150000"/>
              </a:lnSpc>
            </a:pPr>
            <a:endParaRPr kumimoji="1" lang="fr-FR" altLang="zh-CN" sz="1100">
              <a:ln w="12700">
                <a:noFill/>
              </a:ln>
              <a:solidFill>
                <a:srgbClr val="262626">
                  <a:alpha val="100000"/>
                </a:srgbClr>
              </a:solidFill>
              <a:latin typeface="Calibri" panose="020F0502020204030204" pitchFamily="34" charset="0"/>
              <a:ea typeface="Calibri" panose="020F0502020204030204" pitchFamily="34" charset="0"/>
              <a:cs typeface="Calibri" panose="020F0502020204030204" pitchFamily="34" charset="0"/>
            </a:endParaRPr>
          </a:p>
          <a:p>
            <a:pPr algn="l">
              <a:lnSpc>
                <a:spcPct val="150000"/>
              </a:lnSpc>
            </a:pPr>
            <a:endParaRPr kumimoji="1" lang="fr-FR" altLang="zh-CN" sz="1100">
              <a:ln w="12700">
                <a:noFill/>
              </a:ln>
              <a:solidFill>
                <a:srgbClr val="262626">
                  <a:alpha val="100000"/>
                </a:srgbClr>
              </a:solidFill>
              <a:latin typeface="Calibri" panose="020F0502020204030204" pitchFamily="34" charset="0"/>
              <a:ea typeface="Calibri" panose="020F0502020204030204" pitchFamily="34" charset="0"/>
              <a:cs typeface="Calibri" panose="020F0502020204030204" pitchFamily="34" charset="0"/>
            </a:endParaRPr>
          </a:p>
          <a:p>
            <a:pPr algn="l">
              <a:lnSpc>
                <a:spcPct val="150000"/>
              </a:lnSpc>
            </a:pPr>
            <a:endParaRPr kumimoji="1" lang="en-US" altLang="zh-CN" sz="900">
              <a:ln w="12700">
                <a:noFill/>
              </a:ln>
              <a:solidFill>
                <a:srgbClr val="262626">
                  <a:alpha val="100000"/>
                </a:srgbClr>
              </a:solidFill>
              <a:latin typeface="Calibri" panose="020F0502020204030204" pitchFamily="34" charset="0"/>
              <a:ea typeface="Calibri" panose="020F0502020204030204" pitchFamily="34" charset="0"/>
              <a:cs typeface="Calibri" panose="020F0502020204030204" pitchFamily="34" charset="0"/>
            </a:endParaRPr>
          </a:p>
          <a:p>
            <a:pPr algn="l">
              <a:lnSpc>
                <a:spcPct val="150000"/>
              </a:lnSpc>
            </a:pPr>
            <a:endParaRPr kumimoji="1" lang="zh-CN" altLang="en-US" sz="1200">
              <a:latin typeface="Calibri" panose="020F0502020204030204" pitchFamily="34" charset="0"/>
              <a:cs typeface="Calibri" panose="020F0502020204030204" pitchFamily="34" charset="0"/>
            </a:endParaRPr>
          </a:p>
        </p:txBody>
      </p:sp>
      <p:sp>
        <p:nvSpPr>
          <p:cNvPr id="11" name="标题 1">
            <a:extLst>
              <a:ext uri="{FF2B5EF4-FFF2-40B4-BE49-F238E27FC236}">
                <a16:creationId xmlns:a16="http://schemas.microsoft.com/office/drawing/2014/main" id="{E06E7763-FBD0-0143-8803-AE43F1EF7F06}"/>
              </a:ext>
            </a:extLst>
          </p:cNvPr>
          <p:cNvSpPr txBox="1"/>
          <p:nvPr/>
        </p:nvSpPr>
        <p:spPr>
          <a:xfrm>
            <a:off x="3773759" y="3684196"/>
            <a:ext cx="8689240" cy="303746"/>
          </a:xfrm>
          <a:prstGeom prst="rect">
            <a:avLst/>
          </a:prstGeom>
          <a:noFill/>
          <a:ln>
            <a:noFill/>
          </a:ln>
        </p:spPr>
        <p:txBody>
          <a:bodyPr vert="horz" wrap="square" lIns="0" tIns="0" rIns="0" bIns="0" rtlCol="0" anchor="ctr"/>
          <a:lstStyle/>
          <a:p>
            <a:pPr algn="l">
              <a:lnSpc>
                <a:spcPct val="120000"/>
              </a:lnSpc>
            </a:pPr>
            <a:r>
              <a:rPr kumimoji="1" lang="en-US" altLang="zh-CN" sz="2000">
                <a:ln w="12700">
                  <a:noFill/>
                </a:ln>
                <a:solidFill>
                  <a:srgbClr val="262626">
                    <a:alpha val="100000"/>
                  </a:srgbClr>
                </a:solidFill>
                <a:latin typeface="Johnson Text"/>
                <a:ea typeface="Calibri"/>
                <a:cs typeface="Calibri"/>
              </a:rPr>
              <a:t>Installing required packages</a:t>
            </a:r>
            <a:endParaRPr lang="zh-CN" altLang="en-US" sz="2000">
              <a:latin typeface="Johnson Text"/>
              <a:cs typeface="Calibri"/>
            </a:endParaRPr>
          </a:p>
        </p:txBody>
      </p:sp>
      <p:sp>
        <p:nvSpPr>
          <p:cNvPr id="13" name="标题 1">
            <a:extLst>
              <a:ext uri="{FF2B5EF4-FFF2-40B4-BE49-F238E27FC236}">
                <a16:creationId xmlns:a16="http://schemas.microsoft.com/office/drawing/2014/main" id="{61B82DB4-B6CD-D852-82DA-D7966E8B8D19}"/>
              </a:ext>
            </a:extLst>
          </p:cNvPr>
          <p:cNvSpPr txBox="1"/>
          <p:nvPr/>
        </p:nvSpPr>
        <p:spPr>
          <a:xfrm>
            <a:off x="3773110" y="4161102"/>
            <a:ext cx="7472459" cy="829128"/>
          </a:xfrm>
          <a:prstGeom prst="rect">
            <a:avLst/>
          </a:prstGeom>
          <a:noFill/>
          <a:ln>
            <a:noFill/>
          </a:ln>
        </p:spPr>
        <p:txBody>
          <a:bodyPr vert="horz" wrap="square" lIns="0" tIns="0" rIns="0" bIns="0" rtlCol="0" anchor="t"/>
          <a:lstStyle/>
          <a:p>
            <a:pPr>
              <a:lnSpc>
                <a:spcPct val="150000"/>
              </a:lnSpc>
            </a:pPr>
            <a:r>
              <a:rPr kumimoji="1" lang="en-US" sz="1100" err="1">
                <a:ln w="12700">
                  <a:noFill/>
                </a:ln>
                <a:solidFill>
                  <a:srgbClr val="000000"/>
                </a:solidFill>
                <a:highlight>
                  <a:srgbClr val="FFFF00"/>
                </a:highlight>
                <a:latin typeface="Johnson Text"/>
                <a:ea typeface="Calibri"/>
                <a:cs typeface="Calibri"/>
              </a:rPr>
              <a:t>renv</a:t>
            </a:r>
            <a:r>
              <a:rPr kumimoji="1" lang="en-US" sz="1100">
                <a:ln w="12700">
                  <a:noFill/>
                </a:ln>
                <a:solidFill>
                  <a:srgbClr val="000000"/>
                </a:solidFill>
                <a:highlight>
                  <a:srgbClr val="FFFF00"/>
                </a:highlight>
                <a:latin typeface="Johnson Text"/>
                <a:ea typeface="Calibri"/>
                <a:cs typeface="Calibri"/>
              </a:rPr>
              <a:t>::</a:t>
            </a:r>
            <a:r>
              <a:rPr kumimoji="1" lang="en-US" sz="1100" err="1">
                <a:ln w="12700">
                  <a:noFill/>
                </a:ln>
                <a:solidFill>
                  <a:srgbClr val="000000"/>
                </a:solidFill>
                <a:highlight>
                  <a:srgbClr val="FFFF00"/>
                </a:highlight>
                <a:latin typeface="Johnson Text"/>
                <a:ea typeface="Calibri"/>
                <a:cs typeface="Calibri"/>
              </a:rPr>
              <a:t>init</a:t>
            </a:r>
            <a:r>
              <a:rPr kumimoji="1" lang="en-US" sz="1100">
                <a:ln w="12700">
                  <a:noFill/>
                </a:ln>
                <a:solidFill>
                  <a:srgbClr val="000000"/>
                </a:solidFill>
                <a:highlight>
                  <a:srgbClr val="FFFF00"/>
                </a:highlight>
                <a:latin typeface="Johnson Text"/>
                <a:ea typeface="Calibri"/>
                <a:cs typeface="Calibri"/>
              </a:rPr>
              <a:t>(bare = TRUE, repos = "</a:t>
            </a:r>
            <a:r>
              <a:rPr kumimoji="1" lang="en-US" sz="1100">
                <a:ln w="12700">
                  <a:noFill/>
                </a:ln>
                <a:solidFill>
                  <a:srgbClr val="000000"/>
                </a:solidFill>
                <a:highlight>
                  <a:srgbClr val="FFFF00"/>
                </a:highlight>
                <a:latin typeface="Johnson Text"/>
                <a:ea typeface="Calibri"/>
                <a:cs typeface="Calibri"/>
                <a:hlinkClick r:id="rId2"/>
              </a:rPr>
              <a:t>https://packagemanager.posit.co/cran/</a:t>
            </a:r>
            <a:r>
              <a:rPr kumimoji="1" lang="en-US" sz="1100">
                <a:ln w="12700">
                  <a:noFill/>
                </a:ln>
                <a:solidFill>
                  <a:srgbClr val="000000"/>
                </a:solidFill>
                <a:highlight>
                  <a:srgbClr val="FFFF00"/>
                </a:highlight>
                <a:latin typeface="Johnson Text"/>
                <a:cs typeface="Calibri"/>
                <a:hlinkClick r:id="rId2"/>
              </a:rPr>
              <a:t>2022-09-15</a:t>
            </a:r>
            <a:r>
              <a:rPr kumimoji="1" lang="en-US" sz="1100">
                <a:ln w="12700">
                  <a:noFill/>
                </a:ln>
                <a:solidFill>
                  <a:srgbClr val="000000"/>
                </a:solidFill>
                <a:highlight>
                  <a:srgbClr val="FFFF00"/>
                </a:highlight>
                <a:latin typeface="Johnson Text"/>
                <a:cs typeface="Calibri"/>
              </a:rPr>
              <a:t>")</a:t>
            </a:r>
            <a:endParaRPr kumimoji="1" lang="en-US" sz="1100">
              <a:ln w="12700">
                <a:noFill/>
              </a:ln>
              <a:solidFill>
                <a:srgbClr val="000000"/>
              </a:solidFill>
              <a:latin typeface="Johnson Text"/>
              <a:cs typeface="Calibri"/>
            </a:endParaRPr>
          </a:p>
          <a:p>
            <a:pPr>
              <a:lnSpc>
                <a:spcPct val="150000"/>
              </a:lnSpc>
            </a:pPr>
            <a:r>
              <a:rPr kumimoji="1" lang="en-US" sz="1100">
                <a:ln w="12700">
                  <a:noFill/>
                </a:ln>
                <a:solidFill>
                  <a:srgbClr val="000000"/>
                </a:solidFill>
                <a:highlight>
                  <a:srgbClr val="FFFF00"/>
                </a:highlight>
                <a:latin typeface="Johnson Text"/>
                <a:cs typeface="Calibri"/>
              </a:rPr>
              <a:t>pkgs &lt;- read.csv(</a:t>
            </a:r>
            <a:r>
              <a:rPr kumimoji="1" lang="en-US" sz="1100" err="1">
                <a:ln w="12700">
                  <a:noFill/>
                </a:ln>
                <a:solidFill>
                  <a:srgbClr val="000000"/>
                </a:solidFill>
                <a:highlight>
                  <a:srgbClr val="FFFF00"/>
                </a:highlight>
                <a:latin typeface="Johnson Text"/>
                <a:cs typeface="Calibri"/>
              </a:rPr>
              <a:t>file</a:t>
            </a:r>
            <a:r>
              <a:rPr kumimoji="1" lang="en-US" sz="1100" err="1">
                <a:ln w="12700">
                  <a:noFill/>
                </a:ln>
                <a:solidFill>
                  <a:srgbClr val="000000"/>
                </a:solidFill>
                <a:highlight>
                  <a:srgbClr val="FFFF00"/>
                </a:highlight>
                <a:latin typeface="Johnson Text"/>
                <a:ea typeface="Calibri"/>
                <a:cs typeface="Calibri"/>
              </a:rPr>
              <a:t>.</a:t>
            </a:r>
            <a:r>
              <a:rPr kumimoji="1" lang="en-US" sz="1100" err="1">
                <a:ln w="12700">
                  <a:noFill/>
                </a:ln>
                <a:solidFill>
                  <a:srgbClr val="000000"/>
                </a:solidFill>
                <a:highlight>
                  <a:srgbClr val="FFFF00"/>
                </a:highlight>
                <a:latin typeface="Johnson Text"/>
                <a:cs typeface="Calibri"/>
              </a:rPr>
              <a:t>path</a:t>
            </a:r>
            <a:r>
              <a:rPr kumimoji="1" lang="en-US" sz="1100">
                <a:ln w="12700">
                  <a:noFill/>
                </a:ln>
                <a:solidFill>
                  <a:srgbClr val="000000"/>
                </a:solidFill>
                <a:highlight>
                  <a:srgbClr val="FFFF00"/>
                </a:highlight>
                <a:latin typeface="Johnson Text"/>
                <a:ea typeface="Calibri"/>
                <a:cs typeface="Calibri"/>
              </a:rPr>
              <a:t>(</a:t>
            </a:r>
            <a:r>
              <a:rPr kumimoji="1" lang="en-US" sz="1100" err="1">
                <a:ln w="12700">
                  <a:noFill/>
                </a:ln>
                <a:solidFill>
                  <a:srgbClr val="000000"/>
                </a:solidFill>
                <a:highlight>
                  <a:srgbClr val="FFFF00"/>
                </a:highlight>
                <a:latin typeface="Johnson Text"/>
                <a:cs typeface="Calibri"/>
              </a:rPr>
              <a:t>getwd</a:t>
            </a:r>
            <a:r>
              <a:rPr kumimoji="1" lang="en-US" sz="1100">
                <a:ln w="12700">
                  <a:noFill/>
                </a:ln>
                <a:solidFill>
                  <a:srgbClr val="000000"/>
                </a:solidFill>
                <a:highlight>
                  <a:srgbClr val="FFFF00"/>
                </a:highlight>
                <a:latin typeface="Johnson Text"/>
                <a:cs typeface="Calibri"/>
              </a:rPr>
              <a:t>(), "</a:t>
            </a:r>
            <a:r>
              <a:rPr kumimoji="1" lang="en-US" sz="1100">
                <a:ln w="12700">
                  <a:noFill/>
                </a:ln>
                <a:solidFill>
                  <a:srgbClr val="000000"/>
                </a:solidFill>
                <a:highlight>
                  <a:srgbClr val="FFFF00"/>
                </a:highlight>
                <a:latin typeface="Johnson Text"/>
                <a:ea typeface="Calibri"/>
                <a:cs typeface="Calibri"/>
              </a:rPr>
              <a:t>m5</a:t>
            </a:r>
            <a:r>
              <a:rPr kumimoji="1" lang="en-US" sz="1100">
                <a:ln w="12700">
                  <a:noFill/>
                </a:ln>
                <a:solidFill>
                  <a:srgbClr val="000000"/>
                </a:solidFill>
                <a:highlight>
                  <a:srgbClr val="FFFF00"/>
                </a:highlight>
                <a:latin typeface="Johnson Text"/>
                <a:cs typeface="Calibri"/>
              </a:rPr>
              <a:t>/</a:t>
            </a:r>
            <a:r>
              <a:rPr kumimoji="1" lang="en-US" sz="1100">
                <a:ln w="12700">
                  <a:noFill/>
                </a:ln>
                <a:solidFill>
                  <a:srgbClr val="000000"/>
                </a:solidFill>
                <a:highlight>
                  <a:srgbClr val="FFFF00"/>
                </a:highlight>
                <a:latin typeface="Johnson Text"/>
                <a:ea typeface="Calibri"/>
                <a:cs typeface="Calibri"/>
              </a:rPr>
              <a:t>datasets</a:t>
            </a:r>
            <a:r>
              <a:rPr kumimoji="1" lang="en-US" sz="1100">
                <a:ln w="12700">
                  <a:noFill/>
                </a:ln>
                <a:solidFill>
                  <a:srgbClr val="000000"/>
                </a:solidFill>
                <a:highlight>
                  <a:srgbClr val="FFFF00"/>
                </a:highlight>
                <a:latin typeface="Johnson Text"/>
                <a:cs typeface="Calibri"/>
              </a:rPr>
              <a:t>/</a:t>
            </a:r>
            <a:r>
              <a:rPr kumimoji="1" lang="en-US" sz="1100">
                <a:ln w="12700">
                  <a:noFill/>
                </a:ln>
                <a:solidFill>
                  <a:srgbClr val="000000"/>
                </a:solidFill>
                <a:highlight>
                  <a:srgbClr val="FFFF00"/>
                </a:highlight>
                <a:latin typeface="Johnson Text"/>
                <a:ea typeface="Calibri"/>
                <a:cs typeface="Calibri"/>
              </a:rPr>
              <a:t>jnjcompound01</a:t>
            </a:r>
            <a:r>
              <a:rPr kumimoji="1" lang="en-US" sz="1100">
                <a:ln w="12700">
                  <a:noFill/>
                </a:ln>
                <a:solidFill>
                  <a:srgbClr val="000000"/>
                </a:solidFill>
                <a:highlight>
                  <a:srgbClr val="FFFF00"/>
                </a:highlight>
                <a:latin typeface="Johnson Text"/>
                <a:cs typeface="Calibri"/>
              </a:rPr>
              <a:t>/</a:t>
            </a:r>
            <a:r>
              <a:rPr kumimoji="1" lang="en-US" sz="1100" err="1">
                <a:ln w="12700">
                  <a:noFill/>
                </a:ln>
                <a:solidFill>
                  <a:srgbClr val="000000"/>
                </a:solidFill>
                <a:highlight>
                  <a:srgbClr val="FFFF00"/>
                </a:highlight>
                <a:latin typeface="Johnson Text"/>
                <a:ea typeface="Calibri"/>
                <a:cs typeface="Calibri"/>
              </a:rPr>
              <a:t>misc</a:t>
            </a:r>
            <a:r>
              <a:rPr kumimoji="1" lang="en-US" sz="1100">
                <a:ln w="12700">
                  <a:noFill/>
                </a:ln>
                <a:solidFill>
                  <a:srgbClr val="000000"/>
                </a:solidFill>
                <a:highlight>
                  <a:srgbClr val="FFFF00"/>
                </a:highlight>
                <a:latin typeface="Johnson Text"/>
                <a:cs typeface="Calibri"/>
              </a:rPr>
              <a:t>/</a:t>
            </a:r>
            <a:r>
              <a:rPr kumimoji="1" lang="en-US" sz="1100">
                <a:ln w="12700">
                  <a:noFill/>
                </a:ln>
                <a:solidFill>
                  <a:srgbClr val="000000"/>
                </a:solidFill>
                <a:highlight>
                  <a:srgbClr val="FFFF00"/>
                </a:highlight>
                <a:latin typeface="Johnson Text"/>
                <a:ea typeface="Calibri"/>
                <a:cs typeface="Calibri"/>
              </a:rPr>
              <a:t>packages.txt"))</a:t>
            </a:r>
            <a:endParaRPr lang="en-US" sz="1100">
              <a:ln w="12700">
                <a:noFill/>
              </a:ln>
              <a:solidFill>
                <a:srgbClr val="000000"/>
              </a:solidFill>
              <a:latin typeface="Johnson Text"/>
              <a:ea typeface="Calibri"/>
              <a:cs typeface="Calibri"/>
            </a:endParaRPr>
          </a:p>
          <a:p>
            <a:pPr algn="l">
              <a:lnSpc>
                <a:spcPct val="150000"/>
              </a:lnSpc>
            </a:pPr>
            <a:r>
              <a:rPr kumimoji="1" lang="en-US" sz="1100" err="1">
                <a:ln w="12700">
                  <a:noFill/>
                </a:ln>
                <a:solidFill>
                  <a:srgbClr val="000000"/>
                </a:solidFill>
                <a:highlight>
                  <a:srgbClr val="FFFF00"/>
                </a:highlight>
                <a:latin typeface="Johnson Text"/>
                <a:ea typeface="Calibri"/>
                <a:cs typeface="Calibri"/>
              </a:rPr>
              <a:t>install.packages</a:t>
            </a:r>
            <a:r>
              <a:rPr kumimoji="1" lang="en-US" sz="1100">
                <a:ln w="12700">
                  <a:noFill/>
                </a:ln>
                <a:solidFill>
                  <a:srgbClr val="000000"/>
                </a:solidFill>
                <a:highlight>
                  <a:srgbClr val="FFFF00"/>
                </a:highlight>
                <a:latin typeface="Johnson Text"/>
                <a:ea typeface="Calibri"/>
                <a:cs typeface="Calibri"/>
              </a:rPr>
              <a:t>(</a:t>
            </a:r>
            <a:r>
              <a:rPr kumimoji="1" lang="en-US" sz="1100" err="1">
                <a:ln w="12700">
                  <a:noFill/>
                </a:ln>
                <a:solidFill>
                  <a:srgbClr val="000000"/>
                </a:solidFill>
                <a:highlight>
                  <a:srgbClr val="FFFF00"/>
                </a:highlight>
                <a:latin typeface="Johnson Text"/>
                <a:ea typeface="Calibri"/>
                <a:cs typeface="Calibri"/>
              </a:rPr>
              <a:t>pkgs$Package</a:t>
            </a:r>
            <a:r>
              <a:rPr kumimoji="1" lang="en-US" sz="1100">
                <a:ln w="12700">
                  <a:noFill/>
                </a:ln>
                <a:solidFill>
                  <a:srgbClr val="000000"/>
                </a:solidFill>
                <a:highlight>
                  <a:srgbClr val="FFFF00"/>
                </a:highlight>
                <a:latin typeface="Johnson Text"/>
                <a:ea typeface="Calibri"/>
                <a:cs typeface="Calibri"/>
              </a:rPr>
              <a:t>, repos = "</a:t>
            </a:r>
            <a:r>
              <a:rPr kumimoji="1" lang="en-US" sz="1100">
                <a:ln w="12700">
                  <a:noFill/>
                </a:ln>
                <a:solidFill>
                  <a:srgbClr val="000000"/>
                </a:solidFill>
                <a:highlight>
                  <a:srgbClr val="FFFF00"/>
                </a:highlight>
                <a:latin typeface="Johnson Text"/>
                <a:ea typeface="Calibri"/>
                <a:cs typeface="Calibri"/>
                <a:hlinkClick r:id="rId2"/>
              </a:rPr>
              <a:t>https://packagemanager.posit.co/cran/2022-09-15</a:t>
            </a:r>
            <a:r>
              <a:rPr kumimoji="1" lang="en-US" sz="1100">
                <a:ln w="12700">
                  <a:noFill/>
                </a:ln>
                <a:solidFill>
                  <a:srgbClr val="000000"/>
                </a:solidFill>
                <a:highlight>
                  <a:srgbClr val="FFFF00"/>
                </a:highlight>
                <a:latin typeface="Johnson Text"/>
                <a:ea typeface="Calibri"/>
                <a:cs typeface="Calibri"/>
              </a:rPr>
              <a:t>")</a:t>
            </a:r>
            <a:endParaRPr lang="en-US">
              <a:solidFill>
                <a:srgbClr val="000000"/>
              </a:solidFill>
              <a:highlight>
                <a:srgbClr val="FFFF00"/>
              </a:highlight>
            </a:endParaRPr>
          </a:p>
          <a:p>
            <a:pPr algn="l">
              <a:lnSpc>
                <a:spcPct val="150000"/>
              </a:lnSpc>
            </a:pPr>
            <a:endParaRPr kumimoji="1" lang="fr-FR" altLang="zh-CN" sz="1100">
              <a:ln w="12700">
                <a:noFill/>
              </a:ln>
              <a:solidFill>
                <a:srgbClr val="262626">
                  <a:alpha val="100000"/>
                </a:srgbClr>
              </a:solidFill>
              <a:latin typeface="Calibri" panose="020F0502020204030204" pitchFamily="34" charset="0"/>
              <a:ea typeface="Calibri" panose="020F0502020204030204" pitchFamily="34" charset="0"/>
              <a:cs typeface="Calibri" panose="020F0502020204030204" pitchFamily="34" charset="0"/>
            </a:endParaRPr>
          </a:p>
          <a:p>
            <a:pPr algn="l">
              <a:lnSpc>
                <a:spcPct val="150000"/>
              </a:lnSpc>
            </a:pPr>
            <a:endParaRPr kumimoji="1" lang="fr-FR" altLang="zh-CN" sz="1100">
              <a:ln w="12700">
                <a:noFill/>
              </a:ln>
              <a:solidFill>
                <a:srgbClr val="262626">
                  <a:alpha val="100000"/>
                </a:srgbClr>
              </a:solidFill>
              <a:latin typeface="Calibri" panose="020F0502020204030204" pitchFamily="34" charset="0"/>
              <a:ea typeface="Calibri" panose="020F0502020204030204" pitchFamily="34" charset="0"/>
              <a:cs typeface="Calibri" panose="020F0502020204030204" pitchFamily="34" charset="0"/>
            </a:endParaRPr>
          </a:p>
          <a:p>
            <a:pPr algn="l">
              <a:lnSpc>
                <a:spcPct val="150000"/>
              </a:lnSpc>
            </a:pPr>
            <a:endParaRPr kumimoji="1" lang="en-US" altLang="zh-CN" sz="900">
              <a:ln w="12700">
                <a:noFill/>
              </a:ln>
              <a:solidFill>
                <a:srgbClr val="262626">
                  <a:alpha val="100000"/>
                </a:srgbClr>
              </a:solidFill>
              <a:latin typeface="Calibri" panose="020F0502020204030204" pitchFamily="34" charset="0"/>
              <a:ea typeface="Calibri" panose="020F0502020204030204" pitchFamily="34" charset="0"/>
              <a:cs typeface="Calibri" panose="020F0502020204030204" pitchFamily="34" charset="0"/>
            </a:endParaRPr>
          </a:p>
          <a:p>
            <a:pPr algn="l">
              <a:lnSpc>
                <a:spcPct val="150000"/>
              </a:lnSpc>
            </a:pPr>
            <a:endParaRPr kumimoji="1" lang="zh-CN" altLang="en-US" sz="1200">
              <a:latin typeface="Calibri" panose="020F0502020204030204" pitchFamily="34" charset="0"/>
              <a:cs typeface="Calibri" panose="020F0502020204030204" pitchFamily="34" charset="0"/>
            </a:endParaRPr>
          </a:p>
        </p:txBody>
      </p:sp>
      <p:sp>
        <p:nvSpPr>
          <p:cNvPr id="15" name="标题 1">
            <a:extLst>
              <a:ext uri="{FF2B5EF4-FFF2-40B4-BE49-F238E27FC236}">
                <a16:creationId xmlns:a16="http://schemas.microsoft.com/office/drawing/2014/main" id="{D3F2E347-40D5-1065-5E51-1FD1B8C802E4}"/>
              </a:ext>
            </a:extLst>
          </p:cNvPr>
          <p:cNvSpPr txBox="1"/>
          <p:nvPr/>
        </p:nvSpPr>
        <p:spPr>
          <a:xfrm>
            <a:off x="3775131" y="4996210"/>
            <a:ext cx="7894685" cy="941429"/>
          </a:xfrm>
          <a:prstGeom prst="rect">
            <a:avLst/>
          </a:prstGeom>
          <a:noFill/>
          <a:ln>
            <a:noFill/>
          </a:ln>
        </p:spPr>
        <p:txBody>
          <a:bodyPr vert="horz" wrap="square" lIns="0" tIns="0" rIns="0" bIns="0" rtlCol="0" anchor="t"/>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1" lang="en-US" altLang="en-US" sz="1100">
              <a:ln w="12700">
                <a:noFill/>
              </a:ln>
              <a:solidFill>
                <a:srgbClr val="262626">
                  <a:alpha val="100000"/>
                </a:srgbClr>
              </a:solidFill>
              <a:latin typeface="Calibri" panose="020F0502020204030204" pitchFamily="34" charset="0"/>
              <a:cs typeface="Calibri" panose="020F0502020204030204" pitchFamily="34" charset="0"/>
            </a:endParaRPr>
          </a:p>
          <a:p>
            <a:pPr eaLnBrk="0" fontAlgn="base" hangingPunct="0">
              <a:spcBef>
                <a:spcPct val="0"/>
              </a:spcBef>
              <a:spcAft>
                <a:spcPct val="0"/>
              </a:spcAft>
            </a:pPr>
            <a:r>
              <a:rPr kumimoji="1" lang="en-US" altLang="en-US" sz="1100">
                <a:ln w="12700">
                  <a:noFill/>
                </a:ln>
                <a:solidFill>
                  <a:srgbClr val="262626">
                    <a:alpha val="100000"/>
                  </a:srgbClr>
                </a:solidFill>
                <a:latin typeface="Calibri"/>
                <a:ea typeface="Calibri"/>
                <a:cs typeface="Calibri"/>
              </a:rPr>
              <a:t> </a:t>
            </a:r>
            <a:r>
              <a:rPr kumimoji="1" lang="en-US" altLang="en-US" sz="1100">
                <a:ln w="12700">
                  <a:noFill/>
                </a:ln>
                <a:solidFill>
                  <a:srgbClr val="262626">
                    <a:alpha val="100000"/>
                  </a:srgbClr>
                </a:solidFill>
                <a:latin typeface="Johnson Text"/>
                <a:ea typeface="Calibri"/>
                <a:cs typeface="Calibri"/>
              </a:rPr>
              <a:t> PS: After the </a:t>
            </a:r>
            <a:r>
              <a:rPr kumimoji="1" lang="en-US" sz="1100">
                <a:ln w="12700">
                  <a:noFill/>
                </a:ln>
                <a:solidFill>
                  <a:srgbClr val="262626">
                    <a:alpha val="100000"/>
                  </a:srgbClr>
                </a:solidFill>
                <a:latin typeface="Johnson Text"/>
                <a:ea typeface="Calibri"/>
                <a:cs typeface="Calibri"/>
              </a:rPr>
              <a:t>packages </a:t>
            </a:r>
            <a:r>
              <a:rPr kumimoji="1" lang="en-US" altLang="en-US" sz="1100">
                <a:ln w="12700">
                  <a:noFill/>
                </a:ln>
                <a:solidFill>
                  <a:srgbClr val="262626">
                    <a:alpha val="100000"/>
                  </a:srgbClr>
                </a:solidFill>
                <a:latin typeface="Johnson Text"/>
                <a:ea typeface="Calibri"/>
                <a:cs typeface="Calibri"/>
              </a:rPr>
              <a:t>installation is complete, recommended to use the </a:t>
            </a:r>
            <a:r>
              <a:rPr kumimoji="1" lang="en-US" altLang="en-US" sz="1100" i="1" err="1">
                <a:ln w="12700">
                  <a:noFill/>
                </a:ln>
                <a:solidFill>
                  <a:srgbClr val="262626">
                    <a:alpha val="100000"/>
                  </a:srgbClr>
                </a:solidFill>
                <a:latin typeface="Johnson Text"/>
                <a:ea typeface="Calibri"/>
                <a:cs typeface="Calibri"/>
              </a:rPr>
              <a:t>renv</a:t>
            </a:r>
            <a:r>
              <a:rPr kumimoji="1" lang="en-US" altLang="en-US" sz="1100" i="1">
                <a:ln w="12700">
                  <a:noFill/>
                </a:ln>
                <a:solidFill>
                  <a:srgbClr val="262626">
                    <a:alpha val="100000"/>
                  </a:srgbClr>
                </a:solidFill>
                <a:latin typeface="Johnson Text"/>
                <a:ea typeface="Calibri"/>
                <a:cs typeface="Calibri"/>
              </a:rPr>
              <a:t>::status() </a:t>
            </a:r>
            <a:r>
              <a:rPr kumimoji="1" lang="en-US" altLang="en-US" sz="1100">
                <a:ln w="12700">
                  <a:noFill/>
                </a:ln>
                <a:solidFill>
                  <a:srgbClr val="262626">
                    <a:alpha val="100000"/>
                  </a:srgbClr>
                </a:solidFill>
                <a:latin typeface="Johnson Text"/>
                <a:ea typeface="Calibri"/>
                <a:cs typeface="Calibri"/>
              </a:rPr>
              <a:t>command to check </a:t>
            </a:r>
            <a:r>
              <a:rPr kumimoji="1" lang="en-US" altLang="zh-CN" sz="1100">
                <a:ln w="12700">
                  <a:noFill/>
                </a:ln>
                <a:solidFill>
                  <a:srgbClr val="262626">
                    <a:alpha val="100000"/>
                  </a:srgbClr>
                </a:solidFill>
                <a:latin typeface="Johnson Text"/>
                <a:ea typeface="Calibri"/>
                <a:cs typeface="Calibri"/>
              </a:rPr>
              <a:t>ensure</a:t>
            </a:r>
            <a:r>
              <a:rPr kumimoji="1" lang="en-US" altLang="en-US" sz="1100">
                <a:ln w="12700">
                  <a:noFill/>
                </a:ln>
                <a:solidFill>
                  <a:srgbClr val="262626">
                    <a:alpha val="100000"/>
                  </a:srgbClr>
                </a:solidFill>
                <a:latin typeface="Johnson Text"/>
                <a:ea typeface="Calibri"/>
                <a:cs typeface="Calibri"/>
              </a:rPr>
              <a:t> the required packages were installed successfully . If any packages installation failure due to network firewall settings/governmental regulatory role, then install package manually  .</a:t>
            </a:r>
            <a:endParaRPr lang="en-US" altLang="en-US" sz="1100">
              <a:ln w="12700">
                <a:noFill/>
              </a:ln>
              <a:solidFill>
                <a:srgbClr val="262626">
                  <a:alpha val="100000"/>
                </a:srgbClr>
              </a:solidFill>
              <a:latin typeface="Johnson Text"/>
              <a:ea typeface="Calibri"/>
              <a:cs typeface="Calibri"/>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1" lang="en-US" altLang="en-US" sz="1100">
              <a:ln w="12700">
                <a:noFill/>
              </a:ln>
              <a:solidFill>
                <a:srgbClr val="262626">
                  <a:alpha val="100000"/>
                </a:srgbClr>
              </a:solidFill>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1" lang="en-US" altLang="en-US" sz="1100">
              <a:ln w="12700">
                <a:noFill/>
              </a:ln>
              <a:solidFill>
                <a:srgbClr val="262626">
                  <a:alpha val="100000"/>
                </a:srgbClr>
              </a:solidFill>
              <a:latin typeface="Calibri" panose="020F0502020204030204" pitchFamily="34" charset="0"/>
              <a:cs typeface="Calibri" panose="020F0502020204030204" pitchFamily="34" charset="0"/>
            </a:endParaRPr>
          </a:p>
        </p:txBody>
      </p:sp>
      <p:sp>
        <p:nvSpPr>
          <p:cNvPr id="17" name="标题 1">
            <a:extLst>
              <a:ext uri="{FF2B5EF4-FFF2-40B4-BE49-F238E27FC236}">
                <a16:creationId xmlns:a16="http://schemas.microsoft.com/office/drawing/2014/main" id="{80BED48D-F253-2065-80E5-24DE4118262D}"/>
              </a:ext>
            </a:extLst>
          </p:cNvPr>
          <p:cNvSpPr txBox="1"/>
          <p:nvPr/>
        </p:nvSpPr>
        <p:spPr>
          <a:xfrm>
            <a:off x="447275" y="1210629"/>
            <a:ext cx="3163506" cy="673543"/>
          </a:xfrm>
          <a:prstGeom prst="rightArrow">
            <a:avLst/>
          </a:prstGeom>
          <a:gradFill>
            <a:gsLst>
              <a:gs pos="23000">
                <a:schemeClr val="accent1">
                  <a:lumMod val="60000"/>
                  <a:lumOff val="40000"/>
                </a:schemeClr>
              </a:gs>
              <a:gs pos="65000">
                <a:schemeClr val="accent1"/>
              </a:gs>
              <a:gs pos="100000">
                <a:schemeClr val="accent1">
                  <a:lumMod val="75000"/>
                </a:schemeClr>
              </a:gs>
            </a:gsLst>
            <a:lin ang="1200000" scaled="0"/>
          </a:gradFill>
          <a:ln w="12700" cap="sq">
            <a:noFill/>
            <a:miter/>
          </a:ln>
        </p:spPr>
        <p:txBody>
          <a:bodyPr vert="horz" wrap="square" lIns="91440" tIns="45720" rIns="91440" bIns="45720" rtlCol="0" anchor="ctr"/>
          <a:lstStyle/>
          <a:p>
            <a:pPr algn="ctr">
              <a:lnSpc>
                <a:spcPct val="110000"/>
              </a:lnSpc>
            </a:pPr>
            <a:r>
              <a:rPr kumimoji="1" lang="en-US" altLang="zh-CN" sz="1800">
                <a:ln w="12700">
                  <a:noFill/>
                </a:ln>
                <a:solidFill>
                  <a:srgbClr val="FFFFFF">
                    <a:alpha val="100000"/>
                  </a:srgbClr>
                </a:solidFill>
                <a:latin typeface="OPPOSans R"/>
                <a:ea typeface="OPPOSans R"/>
                <a:cs typeface="OPPOSans R"/>
              </a:rPr>
              <a:t> </a:t>
            </a:r>
            <a:endParaRPr kumimoji="1" lang="zh-CN" altLang="en-US"/>
          </a:p>
        </p:txBody>
      </p:sp>
      <p:sp>
        <p:nvSpPr>
          <p:cNvPr id="19" name="标题 1">
            <a:extLst>
              <a:ext uri="{FF2B5EF4-FFF2-40B4-BE49-F238E27FC236}">
                <a16:creationId xmlns:a16="http://schemas.microsoft.com/office/drawing/2014/main" id="{82D1EEF8-D6C3-9DB5-FDFC-7E253D15E5FE}"/>
              </a:ext>
            </a:extLst>
          </p:cNvPr>
          <p:cNvSpPr txBox="1"/>
          <p:nvPr/>
        </p:nvSpPr>
        <p:spPr>
          <a:xfrm>
            <a:off x="1204586" y="3520258"/>
            <a:ext cx="2240394" cy="616879"/>
          </a:xfrm>
          <a:prstGeom prst="rightArrow">
            <a:avLst/>
          </a:prstGeom>
          <a:gradFill>
            <a:gsLst>
              <a:gs pos="23000">
                <a:schemeClr val="accent1">
                  <a:lumMod val="60000"/>
                  <a:lumOff val="40000"/>
                </a:schemeClr>
              </a:gs>
              <a:gs pos="65000">
                <a:schemeClr val="accent1"/>
              </a:gs>
              <a:gs pos="100000">
                <a:schemeClr val="accent1">
                  <a:lumMod val="75000"/>
                </a:schemeClr>
              </a:gs>
            </a:gsLst>
            <a:lin ang="1200000" scaled="0"/>
          </a:gradFill>
          <a:ln w="12700" cap="sq">
            <a:noFill/>
            <a:miter/>
          </a:ln>
        </p:spPr>
        <p:txBody>
          <a:bodyPr vert="horz" wrap="square" lIns="91440" tIns="45720" rIns="91440" bIns="45720" rtlCol="0" anchor="ctr"/>
          <a:lstStyle/>
          <a:p>
            <a:pPr algn="ctr">
              <a:lnSpc>
                <a:spcPct val="110000"/>
              </a:lnSpc>
            </a:pPr>
            <a:r>
              <a:rPr kumimoji="1" lang="en-US" altLang="zh-CN" sz="1800">
                <a:ln w="12700">
                  <a:noFill/>
                </a:ln>
                <a:solidFill>
                  <a:srgbClr val="FFFFFF">
                    <a:alpha val="100000"/>
                  </a:srgbClr>
                </a:solidFill>
                <a:latin typeface="OPPOSans R"/>
                <a:ea typeface="OPPOSans R"/>
                <a:cs typeface="OPPOSans R"/>
              </a:rPr>
              <a:t> </a:t>
            </a:r>
            <a:endParaRPr kumimoji="1" lang="zh-CN" altLang="en-US"/>
          </a:p>
        </p:txBody>
      </p:sp>
    </p:spTree>
    <p:extLst>
      <p:ext uri="{BB962C8B-B14F-4D97-AF65-F5344CB8AC3E}">
        <p14:creationId xmlns:p14="http://schemas.microsoft.com/office/powerpoint/2010/main" val="30067300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A66B86-F078-0591-3D56-C8DEFD96542C}"/>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052ED1D7-93D2-8342-74DE-89790B16ACF7}"/>
              </a:ext>
            </a:extLst>
          </p:cNvPr>
          <p:cNvSpPr txBox="1"/>
          <p:nvPr/>
        </p:nvSpPr>
        <p:spPr>
          <a:xfrm>
            <a:off x="0" y="0"/>
            <a:ext cx="12192000" cy="6858000"/>
          </a:xfrm>
          <a:prstGeom prst="rect">
            <a:avLst/>
          </a:prstGeom>
          <a:gradFill>
            <a:gsLst>
              <a:gs pos="0">
                <a:schemeClr val="accent1">
                  <a:lumMod val="20000"/>
                  <a:lumOff val="80000"/>
                  <a:alpha val="41000"/>
                </a:schemeClr>
              </a:gs>
              <a:gs pos="100000">
                <a:schemeClr val="accent2">
                  <a:lumMod val="10000"/>
                  <a:lumOff val="90000"/>
                  <a:alpha val="35000"/>
                </a:schemeClr>
              </a:gs>
            </a:gsLst>
            <a:lin ang="16200000" scaled="0"/>
          </a:gradFill>
          <a:ln w="12700" cap="sq">
            <a:noFill/>
            <a:miter/>
          </a:ln>
        </p:spPr>
        <p:txBody>
          <a:bodyPr vert="horz" wrap="square" lIns="91440" tIns="45720" rIns="91440" bIns="45720"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srgbClr val="000000"/>
              </a:solidFill>
              <a:effectLst/>
              <a:uLnTx/>
              <a:uFillTx/>
              <a:latin typeface="Johnson Text"/>
              <a:ea typeface="+mn-ea"/>
              <a:cs typeface="+mn-cs"/>
            </a:endParaRPr>
          </a:p>
        </p:txBody>
      </p:sp>
      <p:sp>
        <p:nvSpPr>
          <p:cNvPr id="11" name="标题 1">
            <a:extLst>
              <a:ext uri="{FF2B5EF4-FFF2-40B4-BE49-F238E27FC236}">
                <a16:creationId xmlns:a16="http://schemas.microsoft.com/office/drawing/2014/main" id="{28698A22-E380-CD09-5C9B-76CCA18C621D}"/>
              </a:ext>
            </a:extLst>
          </p:cNvPr>
          <p:cNvSpPr txBox="1"/>
          <p:nvPr/>
        </p:nvSpPr>
        <p:spPr>
          <a:xfrm>
            <a:off x="1116060" y="3511810"/>
            <a:ext cx="3346464" cy="673543"/>
          </a:xfrm>
          <a:prstGeom prst="rightArrow">
            <a:avLst/>
          </a:prstGeom>
          <a:gradFill>
            <a:gsLst>
              <a:gs pos="23000">
                <a:schemeClr val="accent1">
                  <a:lumMod val="60000"/>
                  <a:lumOff val="40000"/>
                </a:schemeClr>
              </a:gs>
              <a:gs pos="65000">
                <a:schemeClr val="accent1"/>
              </a:gs>
              <a:gs pos="100000">
                <a:schemeClr val="accent1">
                  <a:lumMod val="75000"/>
                </a:schemeClr>
              </a:gs>
            </a:gsLst>
            <a:lin ang="1200000" scaled="0"/>
          </a:gradFill>
          <a:ln w="12700" cap="sq">
            <a:noFill/>
            <a:miter/>
          </a:ln>
        </p:spPr>
        <p:txBody>
          <a:bodyPr vert="horz" wrap="square" lIns="91440" tIns="45720" rIns="91440" bIns="45720"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1" lang="en-US" altLang="zh-CN" sz="1800" b="0" i="0" u="none" strike="noStrike" kern="1200" cap="none" spc="0" normalizeH="0" baseline="0" noProof="0">
                <a:ln w="12700">
                  <a:noFill/>
                </a:ln>
                <a:solidFill>
                  <a:srgbClr val="FFFFFF">
                    <a:alpha val="100000"/>
                  </a:srgbClr>
                </a:solidFill>
                <a:effectLst/>
                <a:uLnTx/>
                <a:uFillTx/>
                <a:latin typeface="OPPOSans R"/>
                <a:ea typeface="OPPOSans R"/>
                <a:cs typeface="OPPOSans R"/>
              </a:rPr>
              <a:t> </a:t>
            </a:r>
            <a:endParaRPr kumimoji="1" lang="zh-CN" altLang="en-US" sz="1800" b="0" i="0" u="none" strike="noStrike" kern="1200" cap="none" spc="0" normalizeH="0" baseline="0" noProof="0">
              <a:ln>
                <a:noFill/>
              </a:ln>
              <a:solidFill>
                <a:srgbClr val="000000"/>
              </a:solidFill>
              <a:effectLst/>
              <a:uLnTx/>
              <a:uFillTx/>
              <a:latin typeface="Johnson Text"/>
              <a:ea typeface="+mn-ea"/>
              <a:cs typeface="+mn-cs"/>
            </a:endParaRPr>
          </a:p>
        </p:txBody>
      </p:sp>
      <p:sp>
        <p:nvSpPr>
          <p:cNvPr id="13" name="标题 1">
            <a:extLst>
              <a:ext uri="{FF2B5EF4-FFF2-40B4-BE49-F238E27FC236}">
                <a16:creationId xmlns:a16="http://schemas.microsoft.com/office/drawing/2014/main" id="{4A636A30-89DD-9DCB-0438-F6D7866D481F}"/>
              </a:ext>
            </a:extLst>
          </p:cNvPr>
          <p:cNvSpPr txBox="1"/>
          <p:nvPr/>
        </p:nvSpPr>
        <p:spPr>
          <a:xfrm>
            <a:off x="4808200" y="3509104"/>
            <a:ext cx="6909060" cy="311290"/>
          </a:xfrm>
          <a:prstGeom prst="rect">
            <a:avLst/>
          </a:prstGeom>
          <a:noFill/>
          <a:ln>
            <a:noFill/>
          </a:ln>
        </p:spPr>
        <p:txBody>
          <a:bodyPr vert="horz" wrap="square" lIns="0" tIns="0" rIns="0" bIns="0" rtlCol="0" anchor="ct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1" lang="en-US" altLang="zh-CN" sz="2000" b="0" i="0" u="none" strike="noStrike" kern="1200" cap="none" spc="0" normalizeH="0" baseline="0" noProof="0">
                <a:ln w="12700">
                  <a:noFill/>
                </a:ln>
                <a:solidFill>
                  <a:srgbClr val="262626">
                    <a:alpha val="100000"/>
                  </a:srgbClr>
                </a:solidFill>
                <a:effectLst/>
                <a:uLnTx/>
                <a:uFillTx/>
                <a:latin typeface="Johnson Text"/>
                <a:ea typeface="Calibri"/>
                <a:cs typeface="Calibri"/>
              </a:rPr>
              <a:t>Set the paths for analysis</a:t>
            </a:r>
            <a:endParaRPr kumimoji="1" lang="zh-CN" altLang="en-US" sz="2000" b="0" i="0" u="none" strike="noStrike" kern="1200" cap="none" spc="0" normalizeH="0" baseline="0" noProof="0">
              <a:ln>
                <a:noFill/>
              </a:ln>
              <a:solidFill>
                <a:srgbClr val="000000"/>
              </a:solidFill>
              <a:effectLst/>
              <a:uLnTx/>
              <a:uFillTx/>
              <a:latin typeface="Johnson Text"/>
              <a:cs typeface="Calibri"/>
            </a:endParaRPr>
          </a:p>
        </p:txBody>
      </p:sp>
      <p:sp>
        <p:nvSpPr>
          <p:cNvPr id="14" name="标题 1">
            <a:extLst>
              <a:ext uri="{FF2B5EF4-FFF2-40B4-BE49-F238E27FC236}">
                <a16:creationId xmlns:a16="http://schemas.microsoft.com/office/drawing/2014/main" id="{C9EBED70-8097-D427-459A-33AFE128C8BC}"/>
              </a:ext>
            </a:extLst>
          </p:cNvPr>
          <p:cNvSpPr txBox="1"/>
          <p:nvPr/>
        </p:nvSpPr>
        <p:spPr>
          <a:xfrm>
            <a:off x="4808199" y="4021824"/>
            <a:ext cx="6983207" cy="782660"/>
          </a:xfrm>
          <a:prstGeom prst="rect">
            <a:avLst/>
          </a:prstGeom>
          <a:noFill/>
          <a:ln>
            <a:noFill/>
          </a:ln>
        </p:spPr>
        <p:txBody>
          <a:bodyPr vert="horz" wrap="square" lIns="0" tIns="0" rIns="0" bIns="0" rtlCol="0" anchor="t"/>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1" lang="en-US" altLang="zh-CN" sz="1200" b="0" i="0" u="none" strike="noStrike" kern="1200" cap="none" spc="0" normalizeH="0" baseline="0" noProof="0">
                <a:ln w="12700">
                  <a:noFill/>
                </a:ln>
                <a:solidFill>
                  <a:srgbClr val="262626">
                    <a:alpha val="100000"/>
                  </a:srgbClr>
                </a:solidFill>
                <a:effectLst/>
                <a:uLnTx/>
                <a:uFillTx/>
                <a:latin typeface="Johnson Text"/>
                <a:ea typeface="Calibri"/>
                <a:cs typeface="Calibri"/>
              </a:rPr>
              <a:t>Configuring environment variables is essential for reproducibility. That updating the "</a:t>
            </a:r>
            <a:r>
              <a:rPr kumimoji="1" lang="en-US" altLang="zh-CN" sz="1200" b="0" i="1" u="none" strike="noStrike" kern="1200" cap="none" spc="0" normalizeH="0" baseline="0" noProof="0">
                <a:ln w="12700">
                  <a:noFill/>
                </a:ln>
                <a:solidFill>
                  <a:srgbClr val="262626">
                    <a:alpha val="100000"/>
                  </a:srgbClr>
                </a:solidFill>
                <a:effectLst/>
                <a:uLnTx/>
                <a:uFillTx/>
                <a:latin typeface="Johnson Text"/>
                <a:ea typeface="Calibri"/>
                <a:cs typeface="Calibri"/>
              </a:rPr>
              <a:t>envsetup.txt</a:t>
            </a:r>
            <a:r>
              <a:rPr kumimoji="1" lang="en-US" altLang="zh-CN" sz="1200" b="0" i="0" u="none" strike="noStrike" kern="1200" cap="none" spc="0" normalizeH="0" baseline="0" noProof="0">
                <a:ln w="12700">
                  <a:noFill/>
                </a:ln>
                <a:solidFill>
                  <a:srgbClr val="262626">
                    <a:alpha val="100000"/>
                  </a:srgbClr>
                </a:solidFill>
                <a:effectLst/>
                <a:uLnTx/>
                <a:uFillTx/>
                <a:latin typeface="Johnson Text"/>
                <a:ea typeface="Calibri"/>
                <a:cs typeface="Calibri"/>
              </a:rPr>
              <a:t>" file to reflect the correct paths for input files and output folders ensures that all analysis steps are executed in the correct environment. After the settings are made, manually add the below code to </a:t>
            </a:r>
            <a:r>
              <a:rPr kumimoji="1" lang="en-US" altLang="zh-CN" sz="1200" b="0" i="1" u="none" strike="noStrike" kern="1200" cap="none" spc="0" normalizeH="0" baseline="0" noProof="0">
                <a:ln w="12700">
                  <a:noFill/>
                </a:ln>
                <a:solidFill>
                  <a:srgbClr val="262626">
                    <a:alpha val="100000"/>
                  </a:srgbClr>
                </a:solidFill>
                <a:effectLst/>
                <a:uLnTx/>
                <a:uFillTx/>
                <a:latin typeface="Johnson Text"/>
                <a:ea typeface="Calibri"/>
                <a:cs typeface="Calibri"/>
              </a:rPr>
              <a:t>.</a:t>
            </a:r>
            <a:r>
              <a:rPr kumimoji="1" lang="en-US" altLang="zh-CN" sz="1200" b="0" i="1" u="none" strike="noStrike" kern="1200" cap="none" spc="0" normalizeH="0" baseline="0" noProof="0" err="1">
                <a:ln w="12700">
                  <a:noFill/>
                </a:ln>
                <a:solidFill>
                  <a:srgbClr val="262626">
                    <a:alpha val="100000"/>
                  </a:srgbClr>
                </a:solidFill>
                <a:effectLst/>
                <a:uLnTx/>
                <a:uFillTx/>
                <a:latin typeface="Johnson Text"/>
                <a:ea typeface="Calibri"/>
                <a:cs typeface="Calibri"/>
              </a:rPr>
              <a:t>Rprofile</a:t>
            </a:r>
            <a:r>
              <a:rPr kumimoji="1" lang="en-US" altLang="zh-CN" sz="1200" b="0" i="0" u="none" strike="noStrike" kern="1200" cap="none" spc="0" normalizeH="0" baseline="0" noProof="0">
                <a:ln w="12700">
                  <a:noFill/>
                </a:ln>
                <a:solidFill>
                  <a:srgbClr val="262626">
                    <a:alpha val="100000"/>
                  </a:srgbClr>
                </a:solidFill>
                <a:effectLst/>
                <a:uLnTx/>
                <a:uFillTx/>
                <a:latin typeface="Johnson Text"/>
                <a:ea typeface="Calibri"/>
                <a:cs typeface="Calibri"/>
              </a:rPr>
              <a:t>.</a:t>
            </a:r>
            <a:endParaRPr kumimoji="1" lang="en-US" altLang="zh-CN" sz="1200">
              <a:ln w="12700">
                <a:noFill/>
              </a:ln>
              <a:solidFill>
                <a:srgbClr val="262626">
                  <a:alpha val="100000"/>
                </a:srgbClr>
              </a:solidFill>
              <a:latin typeface="Johnson Text"/>
              <a:ea typeface="Calibri"/>
              <a:cs typeface="Calibri"/>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1" lang="en-US" altLang="zh-CN" sz="1100" b="0" i="0" u="none" strike="noStrike" kern="1200" cap="none" spc="0" normalizeH="0" baseline="0" noProof="0" err="1">
                <a:ln w="12700">
                  <a:noFill/>
                </a:ln>
                <a:solidFill>
                  <a:srgbClr val="262626">
                    <a:alpha val="100000"/>
                  </a:srgbClr>
                </a:solidFill>
                <a:effectLst/>
                <a:highlight>
                  <a:srgbClr val="FFFF00"/>
                </a:highlight>
                <a:uLnTx/>
                <a:uFillTx/>
                <a:latin typeface="Johnson Text"/>
                <a:ea typeface="Calibri"/>
                <a:cs typeface="Calibri"/>
              </a:rPr>
              <a:t>envsetup</a:t>
            </a:r>
            <a:r>
              <a:rPr kumimoji="1" lang="en-US" altLang="zh-CN" sz="1100" b="0" i="0" u="none" strike="noStrike" kern="1200" cap="none" spc="0" normalizeH="0" baseline="0" noProof="0">
                <a:ln w="12700">
                  <a:noFill/>
                </a:ln>
                <a:solidFill>
                  <a:srgbClr val="262626">
                    <a:alpha val="100000"/>
                  </a:srgbClr>
                </a:solidFill>
                <a:effectLst/>
                <a:highlight>
                  <a:srgbClr val="FFFF00"/>
                </a:highlight>
                <a:uLnTx/>
                <a:uFillTx/>
                <a:latin typeface="Johnson Text"/>
                <a:ea typeface="Calibri"/>
                <a:cs typeface="Calibri"/>
              </a:rPr>
              <a:t>::</a:t>
            </a:r>
            <a:r>
              <a:rPr kumimoji="1" lang="en-US" altLang="zh-CN" sz="1100" b="0" i="0" u="none" strike="noStrike" kern="1200" cap="none" spc="0" normalizeH="0" baseline="0" noProof="0" err="1">
                <a:ln w="12700">
                  <a:noFill/>
                </a:ln>
                <a:solidFill>
                  <a:srgbClr val="262626">
                    <a:alpha val="100000"/>
                  </a:srgbClr>
                </a:solidFill>
                <a:effectLst/>
                <a:highlight>
                  <a:srgbClr val="FFFF00"/>
                </a:highlight>
                <a:uLnTx/>
                <a:uFillTx/>
                <a:latin typeface="Johnson Text"/>
                <a:ea typeface="Calibri"/>
                <a:cs typeface="Calibri"/>
              </a:rPr>
              <a:t>rprofile</a:t>
            </a:r>
            <a:r>
              <a:rPr kumimoji="1" lang="en-US" altLang="zh-CN" sz="1100" b="0" i="0" u="none" strike="noStrike" kern="1200" cap="none" spc="0" normalizeH="0" baseline="0" noProof="0">
                <a:ln w="12700">
                  <a:noFill/>
                </a:ln>
                <a:solidFill>
                  <a:srgbClr val="262626">
                    <a:alpha val="100000"/>
                  </a:srgbClr>
                </a:solidFill>
                <a:effectLst/>
                <a:highlight>
                  <a:srgbClr val="FFFF00"/>
                </a:highlight>
                <a:uLnTx/>
                <a:uFillTx/>
                <a:latin typeface="Johnson Text"/>
                <a:ea typeface="Calibri"/>
                <a:cs typeface="Calibri"/>
              </a:rPr>
              <a:t>(config::get(file = </a:t>
            </a:r>
            <a:r>
              <a:rPr kumimoji="1" lang="en-US" altLang="zh-CN" sz="1100" b="0" i="0" u="none" strike="noStrike" kern="1200" cap="none" spc="0" normalizeH="0" baseline="0" noProof="0" err="1">
                <a:ln w="12700">
                  <a:noFill/>
                </a:ln>
                <a:solidFill>
                  <a:srgbClr val="262626">
                    <a:alpha val="100000"/>
                  </a:srgbClr>
                </a:solidFill>
                <a:effectLst/>
                <a:highlight>
                  <a:srgbClr val="FFFF00"/>
                </a:highlight>
                <a:uLnTx/>
                <a:uFillTx/>
                <a:latin typeface="Johnson Text"/>
                <a:ea typeface="Calibri"/>
                <a:cs typeface="Calibri"/>
              </a:rPr>
              <a:t>file.path</a:t>
            </a:r>
            <a:r>
              <a:rPr kumimoji="1" lang="en-US" altLang="zh-CN" sz="1100" b="0" i="0" u="none" strike="noStrike" kern="1200" cap="none" spc="0" normalizeH="0" baseline="0" noProof="0">
                <a:ln w="12700">
                  <a:noFill/>
                </a:ln>
                <a:solidFill>
                  <a:srgbClr val="262626">
                    <a:alpha val="100000"/>
                  </a:srgbClr>
                </a:solidFill>
                <a:effectLst/>
                <a:highlight>
                  <a:srgbClr val="FFFF00"/>
                </a:highlight>
                <a:uLnTx/>
                <a:uFillTx/>
                <a:latin typeface="Johnson Text"/>
                <a:ea typeface="Calibri"/>
                <a:cs typeface="Calibri"/>
              </a:rPr>
              <a:t>(</a:t>
            </a:r>
            <a:r>
              <a:rPr kumimoji="1" lang="en-US" altLang="zh-CN" sz="1100" b="0" i="0" u="none" strike="noStrike" kern="1200" cap="none" spc="0" normalizeH="0" baseline="0" noProof="0" err="1">
                <a:ln w="12700">
                  <a:noFill/>
                </a:ln>
                <a:solidFill>
                  <a:srgbClr val="262626">
                    <a:alpha val="100000"/>
                  </a:srgbClr>
                </a:solidFill>
                <a:effectLst/>
                <a:highlight>
                  <a:srgbClr val="FFFF00"/>
                </a:highlight>
                <a:uLnTx/>
                <a:uFillTx/>
                <a:latin typeface="Johnson Text"/>
                <a:ea typeface="Calibri"/>
                <a:cs typeface="Calibri"/>
              </a:rPr>
              <a:t>getwd</a:t>
            </a:r>
            <a:r>
              <a:rPr kumimoji="1" lang="en-US" altLang="zh-CN" sz="1100" b="0" i="0" u="none" strike="noStrike" kern="1200" cap="none" spc="0" normalizeH="0" baseline="0" noProof="0">
                <a:ln w="12700">
                  <a:noFill/>
                </a:ln>
                <a:solidFill>
                  <a:srgbClr val="262626">
                    <a:alpha val="100000"/>
                  </a:srgbClr>
                </a:solidFill>
                <a:effectLst/>
                <a:highlight>
                  <a:srgbClr val="FFFF00"/>
                </a:highlight>
                <a:uLnTx/>
                <a:uFillTx/>
                <a:latin typeface="Johnson Text"/>
                <a:ea typeface="Calibri"/>
                <a:cs typeface="Calibri"/>
              </a:rPr>
              <a:t>(), "m5/datasets/jnjcompound01/</a:t>
            </a:r>
            <a:r>
              <a:rPr kumimoji="1" lang="en-US" altLang="zh-CN" sz="1100" b="0" i="0" u="none" strike="noStrike" kern="1200" cap="none" spc="0" normalizeH="0" baseline="0" noProof="0" err="1">
                <a:ln w="12700">
                  <a:noFill/>
                </a:ln>
                <a:solidFill>
                  <a:srgbClr val="262626">
                    <a:alpha val="100000"/>
                  </a:srgbClr>
                </a:solidFill>
                <a:effectLst/>
                <a:highlight>
                  <a:srgbClr val="FFFF00"/>
                </a:highlight>
                <a:uLnTx/>
                <a:uFillTx/>
                <a:latin typeface="Johnson Text"/>
                <a:ea typeface="Calibri"/>
                <a:cs typeface="Calibri"/>
              </a:rPr>
              <a:t>misc</a:t>
            </a:r>
            <a:r>
              <a:rPr kumimoji="1" lang="en-US" altLang="zh-CN" sz="1100" b="0" i="0" u="none" strike="noStrike" kern="1200" cap="none" spc="0" normalizeH="0" baseline="0" noProof="0">
                <a:ln w="12700">
                  <a:noFill/>
                </a:ln>
                <a:solidFill>
                  <a:srgbClr val="262626">
                    <a:alpha val="100000"/>
                  </a:srgbClr>
                </a:solidFill>
                <a:effectLst/>
                <a:highlight>
                  <a:srgbClr val="FFFF00"/>
                </a:highlight>
                <a:uLnTx/>
                <a:uFillTx/>
                <a:latin typeface="Johnson Text"/>
                <a:ea typeface="Calibri"/>
                <a:cs typeface="Calibri"/>
              </a:rPr>
              <a:t>/envsetup.txt"</a:t>
            </a:r>
            <a:endParaRPr lang="en-US" altLang="zh-CN" sz="1100" b="0" i="0" u="none" strike="noStrike" kern="1200" cap="none" spc="0" normalizeH="0" baseline="0" noProof="0">
              <a:ln w="12700">
                <a:noFill/>
              </a:ln>
              <a:solidFill>
                <a:srgbClr val="262626">
                  <a:alpha val="100000"/>
                </a:srgbClr>
              </a:solidFill>
              <a:effectLst/>
              <a:highlight>
                <a:srgbClr val="FFFF00"/>
              </a:highlight>
              <a:uLnTx/>
              <a:uFillTx/>
              <a:latin typeface="Johnson Text"/>
              <a:ea typeface="Calibri"/>
              <a:cs typeface="Calibri"/>
            </a:endParaRPr>
          </a:p>
        </p:txBody>
      </p:sp>
      <p:sp>
        <p:nvSpPr>
          <p:cNvPr id="15" name="标题 1">
            <a:extLst>
              <a:ext uri="{FF2B5EF4-FFF2-40B4-BE49-F238E27FC236}">
                <a16:creationId xmlns:a16="http://schemas.microsoft.com/office/drawing/2014/main" id="{A9C6DB33-148F-D9A0-6310-84D52B48E788}"/>
              </a:ext>
            </a:extLst>
          </p:cNvPr>
          <p:cNvSpPr txBox="1"/>
          <p:nvPr/>
        </p:nvSpPr>
        <p:spPr>
          <a:xfrm>
            <a:off x="446049" y="416700"/>
            <a:ext cx="4680000" cy="612000"/>
          </a:xfrm>
          <a:prstGeom prst="rect">
            <a:avLst/>
          </a:prstGeom>
          <a:gradFill>
            <a:gsLst>
              <a:gs pos="0">
                <a:schemeClr val="accent1">
                  <a:lumMod val="20000"/>
                  <a:lumOff val="80000"/>
                </a:schemeClr>
              </a:gs>
              <a:gs pos="100000">
                <a:schemeClr val="bg1"/>
              </a:gs>
            </a:gsLst>
            <a:lin ang="0" scaled="0"/>
          </a:gradFill>
          <a:ln w="12700" cap="sq">
            <a:noFill/>
            <a:miter/>
          </a:ln>
        </p:spPr>
        <p:txBody>
          <a:bodyPr vert="horz" wrap="square" lIns="91440" tIns="45720" rIns="91440" bIns="45720"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srgbClr val="000000"/>
              </a:solidFill>
              <a:effectLst/>
              <a:uLnTx/>
              <a:uFillTx/>
              <a:latin typeface="Johnson Text"/>
              <a:ea typeface="+mn-ea"/>
              <a:cs typeface="+mn-cs"/>
            </a:endParaRPr>
          </a:p>
        </p:txBody>
      </p:sp>
      <p:pic>
        <p:nvPicPr>
          <p:cNvPr id="21" name="图片 20">
            <a:extLst>
              <a:ext uri="{FF2B5EF4-FFF2-40B4-BE49-F238E27FC236}">
                <a16:creationId xmlns:a16="http://schemas.microsoft.com/office/drawing/2014/main" id="{9439B478-AF03-6EDF-CAB3-0C2A1E9B8058}"/>
              </a:ext>
            </a:extLst>
          </p:cNvPr>
          <p:cNvPicPr>
            <a:picLocks noChangeAspect="1"/>
          </p:cNvPicPr>
          <p:nvPr/>
        </p:nvPicPr>
        <p:blipFill>
          <a:blip r:embed="rId3"/>
          <a:stretch>
            <a:fillRect/>
          </a:stretch>
        </p:blipFill>
        <p:spPr>
          <a:xfrm>
            <a:off x="4808199" y="5320893"/>
            <a:ext cx="4694868" cy="1001026"/>
          </a:xfrm>
          <a:prstGeom prst="rect">
            <a:avLst/>
          </a:prstGeom>
        </p:spPr>
      </p:pic>
      <p:sp>
        <p:nvSpPr>
          <p:cNvPr id="3" name="标题 1">
            <a:extLst>
              <a:ext uri="{FF2B5EF4-FFF2-40B4-BE49-F238E27FC236}">
                <a16:creationId xmlns:a16="http://schemas.microsoft.com/office/drawing/2014/main" id="{A503BD0A-750F-671A-B5F3-F83B81787F7B}"/>
              </a:ext>
            </a:extLst>
          </p:cNvPr>
          <p:cNvSpPr txBox="1"/>
          <p:nvPr/>
        </p:nvSpPr>
        <p:spPr>
          <a:xfrm>
            <a:off x="444157" y="488700"/>
            <a:ext cx="10858500" cy="468000"/>
          </a:xfrm>
          <a:prstGeom prst="rect">
            <a:avLst/>
          </a:prstGeom>
          <a:noFill/>
          <a:ln>
            <a:noFill/>
          </a:ln>
        </p:spPr>
        <p:txBody>
          <a:bodyPr vert="horz" wrap="square" lIns="0" tIns="0" rIns="0" bIns="0"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5000"/>
              </a:lnSpc>
              <a:spcBef>
                <a:spcPts val="600"/>
              </a:spcBef>
              <a:spcAft>
                <a:spcPts val="600"/>
              </a:spcAft>
            </a:pPr>
            <a:r>
              <a:rPr lang="en-US" altLang="zh-CN" sz="3500" b="1">
                <a:solidFill>
                  <a:schemeClr val="tx2"/>
                </a:solidFill>
                <a:latin typeface="+mj-lt"/>
                <a:ea typeface="+mj-ea"/>
                <a:cs typeface="+mj-cs"/>
              </a:rPr>
              <a:t>Key Steps for Setup of the R Environment</a:t>
            </a:r>
            <a:endParaRPr lang="zh-CN" altLang="en-US" sz="3500" b="1">
              <a:solidFill>
                <a:schemeClr val="tx2"/>
              </a:solidFill>
              <a:latin typeface="+mj-lt"/>
              <a:ea typeface="+mj-ea"/>
              <a:cs typeface="+mj-cs"/>
            </a:endParaRPr>
          </a:p>
        </p:txBody>
      </p:sp>
      <p:sp>
        <p:nvSpPr>
          <p:cNvPr id="5" name="标题 1">
            <a:extLst>
              <a:ext uri="{FF2B5EF4-FFF2-40B4-BE49-F238E27FC236}">
                <a16:creationId xmlns:a16="http://schemas.microsoft.com/office/drawing/2014/main" id="{28144281-D98E-9B03-3225-941C4CAD2E5E}"/>
              </a:ext>
            </a:extLst>
          </p:cNvPr>
          <p:cNvSpPr txBox="1"/>
          <p:nvPr/>
        </p:nvSpPr>
        <p:spPr>
          <a:xfrm>
            <a:off x="4806026" y="1148144"/>
            <a:ext cx="5330952" cy="442138"/>
          </a:xfrm>
          <a:prstGeom prst="rect">
            <a:avLst/>
          </a:prstGeom>
          <a:noFill/>
          <a:ln>
            <a:noFill/>
          </a:ln>
        </p:spPr>
        <p:txBody>
          <a:bodyPr vert="horz" wrap="square" lIns="0" tIns="0" rIns="0" bIns="0" rtlCol="0" anchor="ctr"/>
          <a:lstStyle/>
          <a:p>
            <a:pPr algn="l">
              <a:lnSpc>
                <a:spcPct val="120000"/>
              </a:lnSpc>
            </a:pPr>
            <a:r>
              <a:rPr kumimoji="1" lang="en-US" altLang="zh-CN" sz="2000">
                <a:ln w="12700">
                  <a:noFill/>
                </a:ln>
                <a:solidFill>
                  <a:srgbClr val="262626">
                    <a:alpha val="100000"/>
                  </a:srgbClr>
                </a:solidFill>
                <a:latin typeface="Johnson Text"/>
                <a:ea typeface="Calibri"/>
                <a:cs typeface="Calibri"/>
              </a:rPr>
              <a:t>Create a </a:t>
            </a:r>
            <a:r>
              <a:rPr kumimoji="1" lang="en-US" altLang="zh-CN" sz="2000" err="1">
                <a:ln w="12700">
                  <a:noFill/>
                </a:ln>
                <a:solidFill>
                  <a:srgbClr val="262626">
                    <a:alpha val="100000"/>
                  </a:srgbClr>
                </a:solidFill>
                <a:latin typeface="Johnson Text"/>
                <a:ea typeface="Calibri"/>
                <a:cs typeface="Calibri"/>
              </a:rPr>
              <a:t>renv</a:t>
            </a:r>
            <a:r>
              <a:rPr kumimoji="1" lang="en-US" altLang="zh-CN" sz="2000">
                <a:ln w="12700">
                  <a:noFill/>
                </a:ln>
                <a:solidFill>
                  <a:srgbClr val="262626">
                    <a:alpha val="100000"/>
                  </a:srgbClr>
                </a:solidFill>
                <a:latin typeface="Johnson Text"/>
                <a:ea typeface="Calibri"/>
                <a:cs typeface="Calibri"/>
              </a:rPr>
              <a:t>-lock File</a:t>
            </a:r>
            <a:endParaRPr kumimoji="1" lang="zh-CN" altLang="en-US" sz="2000">
              <a:latin typeface="Johnson Text"/>
              <a:cs typeface="Calibri"/>
            </a:endParaRPr>
          </a:p>
        </p:txBody>
      </p:sp>
      <p:sp>
        <p:nvSpPr>
          <p:cNvPr id="7" name="标题 1">
            <a:extLst>
              <a:ext uri="{FF2B5EF4-FFF2-40B4-BE49-F238E27FC236}">
                <a16:creationId xmlns:a16="http://schemas.microsoft.com/office/drawing/2014/main" id="{C209B5E8-1BD7-57FC-4756-DEF7F3885136}"/>
              </a:ext>
            </a:extLst>
          </p:cNvPr>
          <p:cNvSpPr txBox="1"/>
          <p:nvPr/>
        </p:nvSpPr>
        <p:spPr>
          <a:xfrm>
            <a:off x="4806025" y="1590734"/>
            <a:ext cx="6486488" cy="641495"/>
          </a:xfrm>
          <a:prstGeom prst="rect">
            <a:avLst/>
          </a:prstGeom>
          <a:noFill/>
          <a:ln>
            <a:noFill/>
          </a:ln>
        </p:spPr>
        <p:txBody>
          <a:bodyPr vert="horz" wrap="square" lIns="0" tIns="0" rIns="0" bIns="0" rtlCol="0" anchor="t"/>
          <a:lstStyle/>
          <a:p>
            <a:pPr algn="l">
              <a:lnSpc>
                <a:spcPct val="150000"/>
              </a:lnSpc>
            </a:pPr>
            <a:r>
              <a:rPr kumimoji="1" lang="en-US" altLang="zh-CN" sz="1200">
                <a:ln w="12700">
                  <a:noFill/>
                </a:ln>
                <a:solidFill>
                  <a:srgbClr val="262626">
                    <a:alpha val="100000"/>
                  </a:srgbClr>
                </a:solidFill>
                <a:latin typeface="Johnson Text"/>
                <a:ea typeface="Calibri"/>
                <a:cs typeface="Calibri"/>
              </a:rPr>
              <a:t>Creating the </a:t>
            </a:r>
            <a:r>
              <a:rPr kumimoji="1" lang="en-US" altLang="zh-CN" sz="1200" err="1">
                <a:ln w="12700">
                  <a:noFill/>
                </a:ln>
                <a:solidFill>
                  <a:srgbClr val="262626">
                    <a:alpha val="100000"/>
                  </a:srgbClr>
                </a:solidFill>
                <a:latin typeface="Johnson Text"/>
                <a:ea typeface="Calibri"/>
                <a:cs typeface="Calibri"/>
              </a:rPr>
              <a:t>renv</a:t>
            </a:r>
            <a:r>
              <a:rPr kumimoji="1" lang="en-US" altLang="zh-CN" sz="1200">
                <a:ln w="12700">
                  <a:noFill/>
                </a:ln>
                <a:solidFill>
                  <a:srgbClr val="262626">
                    <a:alpha val="100000"/>
                  </a:srgbClr>
                </a:solidFill>
                <a:latin typeface="Johnson Text"/>
                <a:ea typeface="Calibri"/>
                <a:cs typeface="Calibri"/>
              </a:rPr>
              <a:t>- lock file is crucial for maintaining a consistent R environment</a:t>
            </a:r>
            <a:endParaRPr lang="en-US" altLang="zh-CN" sz="1200">
              <a:ln w="12700">
                <a:noFill/>
              </a:ln>
              <a:solidFill>
                <a:srgbClr val="262626">
                  <a:alpha val="100000"/>
                </a:srgbClr>
              </a:solidFill>
              <a:latin typeface="Johnson Text"/>
              <a:ea typeface="Calibri"/>
              <a:cs typeface="Calibri"/>
            </a:endParaRPr>
          </a:p>
          <a:p>
            <a:pPr algn="l">
              <a:lnSpc>
                <a:spcPct val="150000"/>
              </a:lnSpc>
            </a:pPr>
            <a:r>
              <a:rPr kumimoji="1" lang="en-US" altLang="zh-CN" sz="1100" err="1">
                <a:ln w="12700">
                  <a:noFill/>
                </a:ln>
                <a:solidFill>
                  <a:srgbClr val="262626">
                    <a:alpha val="100000"/>
                  </a:srgbClr>
                </a:solidFill>
                <a:highlight>
                  <a:srgbClr val="FFFF00"/>
                </a:highlight>
                <a:latin typeface="Johnson Text"/>
                <a:ea typeface="Calibri"/>
                <a:cs typeface="Calibri"/>
              </a:rPr>
              <a:t>renv</a:t>
            </a:r>
            <a:r>
              <a:rPr kumimoji="1" lang="en-US" altLang="zh-CN" sz="1100">
                <a:ln w="12700">
                  <a:noFill/>
                </a:ln>
                <a:solidFill>
                  <a:srgbClr val="262626">
                    <a:alpha val="100000"/>
                  </a:srgbClr>
                </a:solidFill>
                <a:highlight>
                  <a:srgbClr val="FFFF00"/>
                </a:highlight>
                <a:latin typeface="Johnson Text"/>
                <a:ea typeface="Calibri"/>
                <a:cs typeface="Calibri"/>
              </a:rPr>
              <a:t>::snapshot(type = "all", repos = "https://packagemanager.posit.co/</a:t>
            </a:r>
            <a:r>
              <a:rPr kumimoji="1" lang="en-US" altLang="zh-CN" sz="1100" err="1">
                <a:ln w="12700">
                  <a:noFill/>
                </a:ln>
                <a:solidFill>
                  <a:srgbClr val="262626">
                    <a:alpha val="100000"/>
                  </a:srgbClr>
                </a:solidFill>
                <a:highlight>
                  <a:srgbClr val="FFFF00"/>
                </a:highlight>
                <a:latin typeface="Johnson Text"/>
                <a:ea typeface="Calibri"/>
                <a:cs typeface="Calibri"/>
              </a:rPr>
              <a:t>cran</a:t>
            </a:r>
            <a:r>
              <a:rPr kumimoji="1" lang="en-US" altLang="zh-CN" sz="1100">
                <a:ln w="12700">
                  <a:noFill/>
                </a:ln>
                <a:solidFill>
                  <a:srgbClr val="262626">
                    <a:alpha val="100000"/>
                  </a:srgbClr>
                </a:solidFill>
                <a:highlight>
                  <a:srgbClr val="FFFF00"/>
                </a:highlight>
                <a:latin typeface="Johnson Text"/>
                <a:ea typeface="Calibri"/>
                <a:cs typeface="Calibri"/>
              </a:rPr>
              <a:t>/2022-09-15")</a:t>
            </a:r>
            <a:endParaRPr kumimoji="1" lang="zh-CN" altLang="en-US" sz="1100">
              <a:highlight>
                <a:srgbClr val="FFFF00"/>
              </a:highlight>
              <a:latin typeface="Johnson Text"/>
              <a:cs typeface="Calibri"/>
            </a:endParaRPr>
          </a:p>
        </p:txBody>
      </p:sp>
      <p:pic>
        <p:nvPicPr>
          <p:cNvPr id="8" name="Picture 7" descr="A screenshot of a computer&#10;&#10;AI-generated content may be incorrect.">
            <a:extLst>
              <a:ext uri="{FF2B5EF4-FFF2-40B4-BE49-F238E27FC236}">
                <a16:creationId xmlns:a16="http://schemas.microsoft.com/office/drawing/2014/main" id="{5FF44097-A2EC-71EE-3FA7-9628EB627B4F}"/>
              </a:ext>
            </a:extLst>
          </p:cNvPr>
          <p:cNvPicPr>
            <a:picLocks noChangeAspect="1"/>
          </p:cNvPicPr>
          <p:nvPr/>
        </p:nvPicPr>
        <p:blipFill>
          <a:blip r:embed="rId4"/>
          <a:stretch>
            <a:fillRect/>
          </a:stretch>
        </p:blipFill>
        <p:spPr>
          <a:xfrm>
            <a:off x="4811231" y="2221682"/>
            <a:ext cx="2030750" cy="1213909"/>
          </a:xfrm>
          <a:prstGeom prst="rect">
            <a:avLst/>
          </a:prstGeom>
        </p:spPr>
      </p:pic>
      <p:sp>
        <p:nvSpPr>
          <p:cNvPr id="10" name="标题 1">
            <a:extLst>
              <a:ext uri="{FF2B5EF4-FFF2-40B4-BE49-F238E27FC236}">
                <a16:creationId xmlns:a16="http://schemas.microsoft.com/office/drawing/2014/main" id="{195CFB53-6548-2A04-388E-9B06EE1C0AB8}"/>
              </a:ext>
            </a:extLst>
          </p:cNvPr>
          <p:cNvSpPr txBox="1"/>
          <p:nvPr/>
        </p:nvSpPr>
        <p:spPr>
          <a:xfrm>
            <a:off x="1663622" y="1289342"/>
            <a:ext cx="2240394" cy="616879"/>
          </a:xfrm>
          <a:prstGeom prst="rightArrow">
            <a:avLst/>
          </a:prstGeom>
          <a:gradFill>
            <a:gsLst>
              <a:gs pos="23000">
                <a:schemeClr val="accent1">
                  <a:lumMod val="60000"/>
                  <a:lumOff val="40000"/>
                </a:schemeClr>
              </a:gs>
              <a:gs pos="65000">
                <a:schemeClr val="accent1"/>
              </a:gs>
              <a:gs pos="100000">
                <a:schemeClr val="accent1">
                  <a:lumMod val="75000"/>
                </a:schemeClr>
              </a:gs>
            </a:gsLst>
            <a:lin ang="1200000" scaled="0"/>
          </a:gradFill>
          <a:ln w="12700" cap="sq">
            <a:noFill/>
            <a:miter/>
          </a:ln>
        </p:spPr>
        <p:txBody>
          <a:bodyPr vert="horz" wrap="square" lIns="91440" tIns="45720" rIns="91440" bIns="45720" rtlCol="0" anchor="ctr"/>
          <a:lstStyle/>
          <a:p>
            <a:pPr algn="ctr">
              <a:lnSpc>
                <a:spcPct val="110000"/>
              </a:lnSpc>
            </a:pPr>
            <a:r>
              <a:rPr kumimoji="1" lang="en-US" altLang="zh-CN" sz="1800">
                <a:ln w="12700">
                  <a:noFill/>
                </a:ln>
                <a:solidFill>
                  <a:srgbClr val="FFFFFF">
                    <a:alpha val="100000"/>
                  </a:srgbClr>
                </a:solidFill>
                <a:latin typeface="OPPOSans R"/>
                <a:ea typeface="OPPOSans R"/>
                <a:cs typeface="OPPOSans R"/>
              </a:rPr>
              <a:t> </a:t>
            </a:r>
            <a:endParaRPr kumimoji="1" lang="zh-CN" altLang="en-US"/>
          </a:p>
        </p:txBody>
      </p:sp>
    </p:spTree>
    <p:extLst>
      <p:ext uri="{BB962C8B-B14F-4D97-AF65-F5344CB8AC3E}">
        <p14:creationId xmlns:p14="http://schemas.microsoft.com/office/powerpoint/2010/main" val="35174669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F2A84E-1B8B-1CE1-FF1E-0AE69463170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E72CCCB-8EB8-AF3D-7A40-70649B57A205}"/>
              </a:ext>
            </a:extLst>
          </p:cNvPr>
          <p:cNvSpPr>
            <a:spLocks noGrp="1"/>
          </p:cNvSpPr>
          <p:nvPr>
            <p:ph type="title"/>
          </p:nvPr>
        </p:nvSpPr>
        <p:spPr>
          <a:xfrm>
            <a:off x="288303" y="262267"/>
            <a:ext cx="6713538" cy="468590"/>
          </a:xfrm>
        </p:spPr>
        <p:txBody>
          <a:bodyPr/>
          <a:lstStyle/>
          <a:p>
            <a:r>
              <a:rPr lang="en-US" b="1"/>
              <a:t>Challenges &amp; Recommendations</a:t>
            </a:r>
            <a:endParaRPr lang="en-BE"/>
          </a:p>
        </p:txBody>
      </p:sp>
      <p:sp>
        <p:nvSpPr>
          <p:cNvPr id="5" name="Slide Number Placeholder 4">
            <a:extLst>
              <a:ext uri="{FF2B5EF4-FFF2-40B4-BE49-F238E27FC236}">
                <a16:creationId xmlns:a16="http://schemas.microsoft.com/office/drawing/2014/main" id="{454F6951-7EB1-F5B8-D8FE-AA113503202E}"/>
              </a:ext>
            </a:extLst>
          </p:cNvPr>
          <p:cNvSpPr>
            <a:spLocks noGrp="1"/>
          </p:cNvSpPr>
          <p:nvPr>
            <p:ph type="sldNum" sz="quarter" idx="12"/>
          </p:nvPr>
        </p:nvSpPr>
        <p:spPr/>
        <p:txBody>
          <a:bodyPr/>
          <a:lstStyle/>
          <a:p>
            <a:pPr marL="0" marR="0" lvl="0" indent="0" algn="r" defTabSz="914400" rtl="0" eaLnBrk="1" fontAlgn="auto" latinLnBrk="0" hangingPunct="1">
              <a:lnSpc>
                <a:spcPct val="110000"/>
              </a:lnSpc>
              <a:spcBef>
                <a:spcPts val="600"/>
              </a:spcBef>
              <a:spcAft>
                <a:spcPts val="600"/>
              </a:spcAft>
              <a:buClrTx/>
              <a:buSzTx/>
              <a:buFontTx/>
              <a:buNone/>
              <a:tabLst/>
              <a:defRPr/>
            </a:pPr>
            <a:fld id="{AEC8D767-5246-2244-A4A3-B8AFB218393C}" type="slidenum">
              <a:rPr kumimoji="0" lang="en-GB" sz="900" b="0" i="0" u="none" strike="noStrike" kern="1200" cap="none" spc="0" normalizeH="0" baseline="0" noProof="0" smtClean="0">
                <a:ln>
                  <a:noFill/>
                </a:ln>
                <a:solidFill>
                  <a:srgbClr val="000000"/>
                </a:solidFill>
                <a:effectLst/>
                <a:uLnTx/>
                <a:uFillTx/>
                <a:latin typeface="Johnson Text"/>
                <a:ea typeface="+mn-ea"/>
                <a:cs typeface="+mn-cs"/>
              </a:rPr>
              <a:pPr marL="0" marR="0" lvl="0" indent="0" algn="r" defTabSz="914400" rtl="0" eaLnBrk="1" fontAlgn="auto" latinLnBrk="0" hangingPunct="1">
                <a:lnSpc>
                  <a:spcPct val="110000"/>
                </a:lnSpc>
                <a:spcBef>
                  <a:spcPts val="600"/>
                </a:spcBef>
                <a:spcAft>
                  <a:spcPts val="600"/>
                </a:spcAft>
                <a:buClrTx/>
                <a:buSzTx/>
                <a:buFontTx/>
                <a:buNone/>
                <a:tabLst/>
                <a:defRPr/>
              </a:pPr>
              <a:t>15</a:t>
            </a:fld>
            <a:endParaRPr kumimoji="0" lang="en-GB" sz="900" b="0" i="0" u="none" strike="noStrike" kern="1200" cap="none" spc="0" normalizeH="0" baseline="0" noProof="0">
              <a:ln>
                <a:noFill/>
              </a:ln>
              <a:solidFill>
                <a:srgbClr val="000000"/>
              </a:solidFill>
              <a:effectLst/>
              <a:uLnTx/>
              <a:uFillTx/>
              <a:latin typeface="Johnson Text"/>
              <a:ea typeface="+mn-ea"/>
              <a:cs typeface="+mn-cs"/>
            </a:endParaRPr>
          </a:p>
        </p:txBody>
      </p:sp>
      <p:sp>
        <p:nvSpPr>
          <p:cNvPr id="6" name="Subtitle 5">
            <a:extLst>
              <a:ext uri="{FF2B5EF4-FFF2-40B4-BE49-F238E27FC236}">
                <a16:creationId xmlns:a16="http://schemas.microsoft.com/office/drawing/2014/main" id="{AD0C48B8-650D-E284-910A-BF9B8F4D67FB}"/>
              </a:ext>
            </a:extLst>
          </p:cNvPr>
          <p:cNvSpPr>
            <a:spLocks noGrp="1"/>
          </p:cNvSpPr>
          <p:nvPr>
            <p:ph type="subTitle" idx="15"/>
          </p:nvPr>
        </p:nvSpPr>
        <p:spPr>
          <a:xfrm>
            <a:off x="288302" y="748851"/>
            <a:ext cx="9922498" cy="6099042"/>
          </a:xfrm>
        </p:spPr>
        <p:txBody>
          <a:bodyPr/>
          <a:lstStyle/>
          <a:p>
            <a:pPr marL="342900" indent="-342900">
              <a:lnSpc>
                <a:spcPct val="105000"/>
              </a:lnSpc>
              <a:buFont typeface="Wingdings" panose="05000000000000000000" pitchFamily="2" charset="2"/>
              <a:buChar char="q"/>
            </a:pPr>
            <a:endParaRPr lang="en-AU">
              <a:latin typeface="Johnson Text"/>
              <a:ea typeface="Times New Roman" panose="02020603050405020304" pitchFamily="18" charset="0"/>
            </a:endParaRPr>
          </a:p>
          <a:p>
            <a:pPr marL="342900" lvl="0" indent="-342900">
              <a:lnSpc>
                <a:spcPct val="105000"/>
              </a:lnSpc>
              <a:buFont typeface="Wingdings" panose="05000000000000000000" pitchFamily="2" charset="2"/>
              <a:buChar char="q"/>
            </a:pPr>
            <a:r>
              <a:rPr lang="en-AU" sz="1800">
                <a:effectLst/>
                <a:latin typeface="Johnson Text"/>
                <a:ea typeface="Times New Roman" panose="02020603050405020304" pitchFamily="18" charset="0"/>
              </a:rPr>
              <a:t>Challenges/Findings, from R consortium &amp; internal testing/submissions</a:t>
            </a:r>
            <a:endParaRPr lang="en-AU"/>
          </a:p>
          <a:p>
            <a:pPr marL="342900" indent="-342900">
              <a:lnSpc>
                <a:spcPct val="105000"/>
              </a:lnSpc>
              <a:buFont typeface="Wingdings" panose="05000000000000000000" pitchFamily="2" charset="2"/>
              <a:buChar char="q"/>
            </a:pPr>
            <a:endParaRPr lang="en-AU">
              <a:latin typeface="Johnson Text"/>
              <a:ea typeface="Times New Roman" panose="02020603050405020304" pitchFamily="18" charset="0"/>
            </a:endParaRPr>
          </a:p>
          <a:p>
            <a:pPr marL="628650" lvl="1" indent="-342900">
              <a:lnSpc>
                <a:spcPct val="105000"/>
              </a:lnSpc>
              <a:buFont typeface="Wingdings" panose="05000000000000000000" pitchFamily="2" charset="2"/>
              <a:buChar char="§"/>
            </a:pPr>
            <a:r>
              <a:rPr lang="en-AU">
                <a:latin typeface="Johnson Text"/>
                <a:ea typeface="Times New Roman" panose="02020603050405020304" pitchFamily="18" charset="0"/>
              </a:rPr>
              <a:t>Replicating the sponsor’s R environment</a:t>
            </a:r>
            <a:endParaRPr lang="en-AU">
              <a:effectLst/>
              <a:latin typeface="Johnson Text"/>
              <a:ea typeface="Times New Roman" panose="02020603050405020304" pitchFamily="18" charset="0"/>
            </a:endParaRPr>
          </a:p>
          <a:p>
            <a:pPr marL="628650" lvl="1" indent="-342900">
              <a:lnSpc>
                <a:spcPct val="105000"/>
              </a:lnSpc>
              <a:buFont typeface="Wingdings" panose="05000000000000000000" pitchFamily="2" charset="2"/>
              <a:buChar char="§"/>
            </a:pPr>
            <a:r>
              <a:rPr lang="en-AU">
                <a:latin typeface="Johnson Text"/>
                <a:ea typeface="Times New Roman" panose="02020603050405020304" pitchFamily="18" charset="0"/>
              </a:rPr>
              <a:t>Different operating systems require different settings and generate different warnings</a:t>
            </a:r>
          </a:p>
          <a:p>
            <a:pPr marL="285750" lvl="1">
              <a:lnSpc>
                <a:spcPct val="105000"/>
              </a:lnSpc>
            </a:pPr>
            <a:r>
              <a:rPr lang="en-AU">
                <a:latin typeface="Johnson Text"/>
                <a:ea typeface="Times New Roman" panose="02020603050405020304" pitchFamily="18" charset="0"/>
              </a:rPr>
              <a:t>	→in the ‘</a:t>
            </a:r>
            <a:r>
              <a:rPr lang="en-AU" i="1" err="1">
                <a:latin typeface="Johnson Text"/>
                <a:ea typeface="Times New Roman" panose="02020603050405020304" pitchFamily="18" charset="0"/>
              </a:rPr>
              <a:t>renv</a:t>
            </a:r>
            <a:r>
              <a:rPr lang="en-AU">
                <a:latin typeface="Johnson Text"/>
                <a:ea typeface="Times New Roman" panose="02020603050405020304" pitchFamily="18" charset="0"/>
              </a:rPr>
              <a:t>’ set up, different options might need to be selected to make it work</a:t>
            </a:r>
          </a:p>
          <a:p>
            <a:pPr marL="628650" lvl="1" indent="-342900">
              <a:lnSpc>
                <a:spcPct val="105000"/>
              </a:lnSpc>
              <a:buFont typeface="Wingdings" panose="05000000000000000000" pitchFamily="2" charset="2"/>
              <a:buChar char="§"/>
            </a:pPr>
            <a:r>
              <a:rPr lang="en-AU">
                <a:latin typeface="Johnson Text"/>
                <a:ea typeface="Times New Roman" panose="02020603050405020304" pitchFamily="18" charset="0"/>
              </a:rPr>
              <a:t>Different R versions don’t perform similarly</a:t>
            </a:r>
          </a:p>
          <a:p>
            <a:pPr marL="628650" lvl="1" indent="-342900">
              <a:lnSpc>
                <a:spcPct val="105000"/>
              </a:lnSpc>
              <a:buFont typeface="Wingdings" panose="05000000000000000000" pitchFamily="2" charset="2"/>
              <a:buChar char="§"/>
            </a:pPr>
            <a:r>
              <a:rPr lang="en-AU">
                <a:latin typeface="Johnson Text"/>
                <a:ea typeface="Times New Roman" panose="02020603050405020304" pitchFamily="18" charset="0"/>
              </a:rPr>
              <a:t>Not ideal to switch R versions in </a:t>
            </a:r>
            <a:r>
              <a:rPr lang="en-AU" err="1">
                <a:latin typeface="Johnson Text"/>
                <a:ea typeface="Times New Roman" panose="02020603050405020304" pitchFamily="18" charset="0"/>
              </a:rPr>
              <a:t>Rstudio</a:t>
            </a:r>
            <a:r>
              <a:rPr lang="en-AU">
                <a:latin typeface="Johnson Text"/>
                <a:ea typeface="Times New Roman" panose="02020603050405020304" pitchFamily="18" charset="0"/>
              </a:rPr>
              <a:t> for every submission</a:t>
            </a:r>
          </a:p>
          <a:p>
            <a:pPr marL="285750" lvl="1">
              <a:lnSpc>
                <a:spcPct val="105000"/>
              </a:lnSpc>
            </a:pPr>
            <a:r>
              <a:rPr lang="en-AU">
                <a:latin typeface="Johnson Text"/>
                <a:ea typeface="Times New Roman" panose="02020603050405020304" pitchFamily="18" charset="0"/>
              </a:rPr>
              <a:t>	→‘</a:t>
            </a:r>
            <a:r>
              <a:rPr lang="en-AU" i="1" err="1">
                <a:latin typeface="Johnson Text"/>
                <a:ea typeface="Times New Roman" panose="02020603050405020304" pitchFamily="18" charset="0"/>
              </a:rPr>
              <a:t>renv</a:t>
            </a:r>
            <a:r>
              <a:rPr lang="en-AU">
                <a:latin typeface="Johnson Text"/>
                <a:ea typeface="Times New Roman" panose="02020603050405020304" pitchFamily="18" charset="0"/>
              </a:rPr>
              <a:t>’ package is part of the solution to reproduce the R environment but creates 	challenges when transferred between different operating systems</a:t>
            </a:r>
          </a:p>
          <a:p>
            <a:pPr marL="285750" lvl="1">
              <a:lnSpc>
                <a:spcPct val="105000"/>
              </a:lnSpc>
            </a:pPr>
            <a:endParaRPr lang="en-AU">
              <a:latin typeface="Aptos" panose="020B0004020202020204" pitchFamily="34" charset="0"/>
              <a:ea typeface="Times New Roman" panose="02020603050405020304" pitchFamily="18" charset="0"/>
            </a:endParaRPr>
          </a:p>
          <a:p>
            <a:pPr marL="342900" lvl="0" indent="-342900">
              <a:lnSpc>
                <a:spcPct val="105000"/>
              </a:lnSpc>
              <a:buFont typeface="Wingdings" panose="05000000000000000000" pitchFamily="2" charset="2"/>
              <a:buChar char="q"/>
            </a:pPr>
            <a:r>
              <a:rPr lang="en-AU">
                <a:latin typeface="Johnson Text"/>
                <a:ea typeface="Times New Roman" panose="02020603050405020304" pitchFamily="18" charset="0"/>
              </a:rPr>
              <a:t>Recommendations/Exploration</a:t>
            </a:r>
            <a:endParaRPr lang="en-AU" sz="1800">
              <a:effectLst/>
              <a:latin typeface="Johnson Text"/>
              <a:ea typeface="Times New Roman" panose="02020603050405020304" pitchFamily="18" charset="0"/>
            </a:endParaRPr>
          </a:p>
          <a:p>
            <a:pPr marL="342900" indent="-342900">
              <a:lnSpc>
                <a:spcPct val="105000"/>
              </a:lnSpc>
              <a:buFont typeface="Wingdings" panose="05000000000000000000" pitchFamily="2" charset="2"/>
              <a:buChar char="q"/>
            </a:pPr>
            <a:endParaRPr lang="en-AU">
              <a:latin typeface="Johnson Text"/>
              <a:ea typeface="Times New Roman" panose="02020603050405020304" pitchFamily="18" charset="0"/>
            </a:endParaRPr>
          </a:p>
          <a:p>
            <a:pPr marL="628650" lvl="1" indent="-342900">
              <a:lnSpc>
                <a:spcPct val="105000"/>
              </a:lnSpc>
              <a:buFont typeface="Wingdings" panose="05000000000000000000" pitchFamily="2" charset="2"/>
              <a:buChar char="§"/>
            </a:pPr>
            <a:r>
              <a:rPr lang="en-AU">
                <a:latin typeface="Johnson Text"/>
                <a:ea typeface="Times New Roman" panose="02020603050405020304" pitchFamily="18" charset="0"/>
              </a:rPr>
              <a:t>Add the question in the pre submission briefing book</a:t>
            </a:r>
            <a:endParaRPr lang="en-AU">
              <a:effectLst/>
              <a:latin typeface="Johnson Text"/>
              <a:ea typeface="Times New Roman" panose="02020603050405020304" pitchFamily="18" charset="0"/>
            </a:endParaRPr>
          </a:p>
          <a:p>
            <a:pPr marL="628650" lvl="1" indent="-342900">
              <a:lnSpc>
                <a:spcPct val="105000"/>
              </a:lnSpc>
              <a:buFont typeface="Wingdings" panose="05000000000000000000" pitchFamily="2" charset="2"/>
              <a:buChar char="§"/>
            </a:pPr>
            <a:r>
              <a:rPr lang="en-AU">
                <a:latin typeface="Johnson Text"/>
                <a:ea typeface="Times New Roman" panose="02020603050405020304" pitchFamily="18" charset="0"/>
              </a:rPr>
              <a:t>Use CRAN or a curated repo for sourcing packages (</a:t>
            </a:r>
            <a:r>
              <a:rPr lang="en-AU" i="1" err="1">
                <a:latin typeface="Johnson Text"/>
                <a:ea typeface="Times New Roman" panose="02020603050405020304" pitchFamily="18" charset="0"/>
              </a:rPr>
              <a:t>github</a:t>
            </a:r>
            <a:r>
              <a:rPr lang="en-AU">
                <a:latin typeface="Johnson Text"/>
                <a:ea typeface="Times New Roman" panose="02020603050405020304" pitchFamily="18" charset="0"/>
              </a:rPr>
              <a:t> is allowed)</a:t>
            </a:r>
          </a:p>
          <a:p>
            <a:pPr marL="628650" lvl="1" indent="-342900">
              <a:lnSpc>
                <a:spcPct val="105000"/>
              </a:lnSpc>
              <a:buFont typeface="Wingdings" panose="05000000000000000000" pitchFamily="2" charset="2"/>
              <a:buChar char="§"/>
            </a:pPr>
            <a:r>
              <a:rPr lang="en-AU">
                <a:latin typeface="Johnson Text"/>
                <a:ea typeface="Times New Roman" panose="02020603050405020304" pitchFamily="18" charset="0"/>
              </a:rPr>
              <a:t>Use standard packages and minimize dependencies on sponsor developed packages</a:t>
            </a:r>
          </a:p>
          <a:p>
            <a:pPr marL="628650" lvl="1" indent="-342900">
              <a:lnSpc>
                <a:spcPct val="105000"/>
              </a:lnSpc>
              <a:buFont typeface="Wingdings" panose="05000000000000000000" pitchFamily="2" charset="2"/>
              <a:buChar char="§"/>
            </a:pPr>
            <a:r>
              <a:rPr lang="en-AU">
                <a:latin typeface="Johnson Text"/>
                <a:ea typeface="Times New Roman" panose="02020603050405020304" pitchFamily="18" charset="0"/>
              </a:rPr>
              <a:t>Recommended to use zip files of sponsor’s packages rather than </a:t>
            </a:r>
            <a:r>
              <a:rPr lang="en-AU" i="1" err="1">
                <a:latin typeface="Johnson Text"/>
                <a:ea typeface="Times New Roman" panose="02020603050405020304" pitchFamily="18" charset="0"/>
              </a:rPr>
              <a:t>pkglite</a:t>
            </a:r>
            <a:endParaRPr lang="en-AU" i="1">
              <a:latin typeface="Johnson Text"/>
              <a:ea typeface="Times New Roman" panose="02020603050405020304" pitchFamily="18" charset="0"/>
            </a:endParaRPr>
          </a:p>
          <a:p>
            <a:pPr marL="628650" lvl="1" indent="-342900">
              <a:lnSpc>
                <a:spcPct val="105000"/>
              </a:lnSpc>
              <a:buFont typeface="Wingdings" panose="05000000000000000000" pitchFamily="2" charset="2"/>
              <a:buChar char="§"/>
            </a:pPr>
            <a:r>
              <a:rPr lang="en-AU">
                <a:solidFill>
                  <a:srgbClr val="FF0000"/>
                </a:solidFill>
                <a:latin typeface="Johnson Text"/>
                <a:ea typeface="Times New Roman" panose="02020603050405020304" pitchFamily="18" charset="0"/>
              </a:rPr>
              <a:t>!!!</a:t>
            </a:r>
            <a:r>
              <a:rPr lang="en-AU">
                <a:latin typeface="Johnson Text"/>
                <a:ea typeface="Times New Roman" panose="02020603050405020304" pitchFamily="18" charset="0"/>
              </a:rPr>
              <a:t>Provide thorough documentation and detailed comments in ADRG</a:t>
            </a:r>
          </a:p>
          <a:p>
            <a:pPr marL="285750" lvl="1">
              <a:lnSpc>
                <a:spcPct val="105000"/>
              </a:lnSpc>
            </a:pPr>
            <a:endParaRPr lang="en-AU">
              <a:solidFill>
                <a:srgbClr val="FF0000"/>
              </a:solidFill>
              <a:latin typeface="Aptos" panose="020B0004020202020204" pitchFamily="34" charset="0"/>
              <a:ea typeface="Times New Roman" panose="02020603050405020304" pitchFamily="18" charset="0"/>
            </a:endParaRPr>
          </a:p>
          <a:p>
            <a:pPr marL="285750" lvl="1">
              <a:lnSpc>
                <a:spcPct val="105000"/>
              </a:lnSpc>
            </a:pPr>
            <a:endParaRPr lang="en-AU">
              <a:latin typeface="Aptos" panose="020B0004020202020204" pitchFamily="34" charset="0"/>
              <a:ea typeface="Times New Roman" panose="02020603050405020304" pitchFamily="18" charset="0"/>
            </a:endParaRPr>
          </a:p>
          <a:p>
            <a:pPr marL="628650" lvl="1" indent="-342900">
              <a:lnSpc>
                <a:spcPct val="105000"/>
              </a:lnSpc>
              <a:buFont typeface="Wingdings" panose="05000000000000000000" pitchFamily="2" charset="2"/>
              <a:buChar char="§"/>
            </a:pPr>
            <a:endParaRPr lang="en-AU">
              <a:latin typeface="Aptos" panose="020B0004020202020204" pitchFamily="34" charset="0"/>
              <a:ea typeface="Times New Roman" panose="02020603050405020304" pitchFamily="18" charset="0"/>
            </a:endParaRPr>
          </a:p>
        </p:txBody>
      </p:sp>
    </p:spTree>
    <p:extLst>
      <p:ext uri="{BB962C8B-B14F-4D97-AF65-F5344CB8AC3E}">
        <p14:creationId xmlns:p14="http://schemas.microsoft.com/office/powerpoint/2010/main" val="18740680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F6E83D-2EC8-DE77-D9B6-7A2106800A7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98474AC-0089-C6AF-F477-38233A0F2A62}"/>
              </a:ext>
            </a:extLst>
          </p:cNvPr>
          <p:cNvSpPr>
            <a:spLocks noGrp="1"/>
          </p:cNvSpPr>
          <p:nvPr>
            <p:ph type="title"/>
          </p:nvPr>
        </p:nvSpPr>
        <p:spPr>
          <a:xfrm>
            <a:off x="288303" y="262267"/>
            <a:ext cx="6713538" cy="468590"/>
          </a:xfrm>
        </p:spPr>
        <p:txBody>
          <a:bodyPr/>
          <a:lstStyle/>
          <a:p>
            <a:r>
              <a:rPr lang="en-US" b="1"/>
              <a:t>References</a:t>
            </a:r>
            <a:endParaRPr lang="en-BE" b="1"/>
          </a:p>
        </p:txBody>
      </p:sp>
      <p:sp>
        <p:nvSpPr>
          <p:cNvPr id="5" name="Slide Number Placeholder 4">
            <a:extLst>
              <a:ext uri="{FF2B5EF4-FFF2-40B4-BE49-F238E27FC236}">
                <a16:creationId xmlns:a16="http://schemas.microsoft.com/office/drawing/2014/main" id="{7B16E5C8-E0B3-1766-0541-691F8694081C}"/>
              </a:ext>
            </a:extLst>
          </p:cNvPr>
          <p:cNvSpPr>
            <a:spLocks noGrp="1"/>
          </p:cNvSpPr>
          <p:nvPr>
            <p:ph type="sldNum" sz="quarter" idx="12"/>
          </p:nvPr>
        </p:nvSpPr>
        <p:spPr/>
        <p:txBody>
          <a:bodyPr/>
          <a:lstStyle/>
          <a:p>
            <a:pPr marL="0" marR="0" lvl="0" indent="0" algn="r" defTabSz="914400" rtl="0" eaLnBrk="1" fontAlgn="auto" latinLnBrk="0" hangingPunct="1">
              <a:lnSpc>
                <a:spcPct val="110000"/>
              </a:lnSpc>
              <a:spcBef>
                <a:spcPts val="600"/>
              </a:spcBef>
              <a:spcAft>
                <a:spcPts val="600"/>
              </a:spcAft>
              <a:buClrTx/>
              <a:buSzTx/>
              <a:buFontTx/>
              <a:buNone/>
              <a:tabLst/>
              <a:defRPr/>
            </a:pPr>
            <a:fld id="{AEC8D767-5246-2244-A4A3-B8AFB218393C}" type="slidenum">
              <a:rPr kumimoji="0" lang="en-GB" sz="900" b="0" i="0" u="none" strike="noStrike" kern="1200" cap="none" spc="0" normalizeH="0" baseline="0" noProof="0" smtClean="0">
                <a:ln>
                  <a:noFill/>
                </a:ln>
                <a:solidFill>
                  <a:srgbClr val="000000"/>
                </a:solidFill>
                <a:effectLst/>
                <a:uLnTx/>
                <a:uFillTx/>
                <a:latin typeface="Johnson Text"/>
                <a:ea typeface="+mn-ea"/>
                <a:cs typeface="+mn-cs"/>
              </a:rPr>
              <a:pPr marL="0" marR="0" lvl="0" indent="0" algn="r" defTabSz="914400" rtl="0" eaLnBrk="1" fontAlgn="auto" latinLnBrk="0" hangingPunct="1">
                <a:lnSpc>
                  <a:spcPct val="110000"/>
                </a:lnSpc>
                <a:spcBef>
                  <a:spcPts val="600"/>
                </a:spcBef>
                <a:spcAft>
                  <a:spcPts val="600"/>
                </a:spcAft>
                <a:buClrTx/>
                <a:buSzTx/>
                <a:buFontTx/>
                <a:buNone/>
                <a:tabLst/>
                <a:defRPr/>
              </a:pPr>
              <a:t>16</a:t>
            </a:fld>
            <a:endParaRPr kumimoji="0" lang="en-GB" sz="900" b="0" i="0" u="none" strike="noStrike" kern="1200" cap="none" spc="0" normalizeH="0" baseline="0" noProof="0">
              <a:ln>
                <a:noFill/>
              </a:ln>
              <a:solidFill>
                <a:srgbClr val="000000"/>
              </a:solidFill>
              <a:effectLst/>
              <a:uLnTx/>
              <a:uFillTx/>
              <a:latin typeface="Johnson Text"/>
              <a:ea typeface="+mn-ea"/>
              <a:cs typeface="+mn-cs"/>
            </a:endParaRPr>
          </a:p>
        </p:txBody>
      </p:sp>
      <p:sp>
        <p:nvSpPr>
          <p:cNvPr id="6" name="Subtitle 5">
            <a:extLst>
              <a:ext uri="{FF2B5EF4-FFF2-40B4-BE49-F238E27FC236}">
                <a16:creationId xmlns:a16="http://schemas.microsoft.com/office/drawing/2014/main" id="{83C86545-EB61-9F53-E8A0-5BF14024BD19}"/>
              </a:ext>
            </a:extLst>
          </p:cNvPr>
          <p:cNvSpPr>
            <a:spLocks noGrp="1"/>
          </p:cNvSpPr>
          <p:nvPr>
            <p:ph type="subTitle" idx="15"/>
          </p:nvPr>
        </p:nvSpPr>
        <p:spPr>
          <a:xfrm>
            <a:off x="288302" y="789822"/>
            <a:ext cx="11816612" cy="2730556"/>
          </a:xfrm>
        </p:spPr>
        <p:txBody>
          <a:bodyPr/>
          <a:lstStyle/>
          <a:p>
            <a:r>
              <a:rPr lang="en-US">
                <a:latin typeface="Johnson Text"/>
              </a:rPr>
              <a:t>Useful links </a:t>
            </a:r>
            <a:endParaRPr lang="en-US" sz="1800">
              <a:solidFill>
                <a:srgbClr val="0070C0"/>
              </a:solidFill>
              <a:effectLst/>
              <a:latin typeface="Johnson Text"/>
              <a:ea typeface="Times New Roman" panose="02020603050405020304" pitchFamily="18" charset="0"/>
            </a:endParaRPr>
          </a:p>
          <a:p>
            <a:endParaRPr lang="en-AU" b="0">
              <a:latin typeface="Aptos"/>
            </a:endParaRPr>
          </a:p>
          <a:p>
            <a:pPr marL="285750" indent="-285750">
              <a:buFont typeface="Wingdings" panose="05000000000000000000" pitchFamily="2" charset="2"/>
              <a:buChar char="q"/>
            </a:pPr>
            <a:r>
              <a:rPr lang="en-US" b="0">
                <a:latin typeface="Johnson Text"/>
              </a:rPr>
              <a:t>R Consortium Pilot 1, </a:t>
            </a:r>
            <a:r>
              <a:rPr lang="en-US" b="0">
                <a:latin typeface="Johnson Text"/>
                <a:hlinkClick r:id="rId2"/>
              </a:rPr>
              <a:t>https://github.com/RConsortium/submissions-pilot1-to-fda</a:t>
            </a:r>
            <a:endParaRPr lang="en-US" b="0">
              <a:latin typeface="Johnson Text"/>
            </a:endParaRPr>
          </a:p>
          <a:p>
            <a:pPr marL="285750" indent="-285750">
              <a:buFont typeface="Wingdings" panose="05000000000000000000" pitchFamily="2" charset="2"/>
              <a:buChar char="q"/>
            </a:pPr>
            <a:r>
              <a:rPr lang="en-US" b="0">
                <a:latin typeface="Johnson Text"/>
              </a:rPr>
              <a:t>R Consortium Pilot 2, </a:t>
            </a:r>
            <a:r>
              <a:rPr lang="en-US" b="0">
                <a:latin typeface="Johnson Text"/>
                <a:hlinkClick r:id="rId3"/>
              </a:rPr>
              <a:t>https://github.com/RConsortium/submissions-pilot2-to-fda</a:t>
            </a:r>
            <a:endParaRPr lang="en-US" b="0">
              <a:latin typeface="Johnson Text"/>
            </a:endParaRPr>
          </a:p>
          <a:p>
            <a:pPr marL="285750" indent="-285750">
              <a:buFont typeface="Wingdings" panose="05000000000000000000" pitchFamily="2" charset="2"/>
              <a:buChar char="q"/>
            </a:pPr>
            <a:r>
              <a:rPr lang="en-US" b="0">
                <a:latin typeface="Johnson Text"/>
              </a:rPr>
              <a:t>R Consortium Pilot 3, </a:t>
            </a:r>
            <a:r>
              <a:rPr lang="en-AU" sz="1800" b="0">
                <a:effectLst/>
                <a:latin typeface="Johnson Text"/>
                <a:ea typeface="Times New Roman" panose="02020603050405020304" pitchFamily="18" charset="0"/>
                <a:hlinkClick r:id="rId4"/>
              </a:rPr>
              <a:t>https://github.com/RConsortium/submissions-pilot3-adam-to-fda</a:t>
            </a:r>
            <a:endParaRPr lang="en-AU" b="0">
              <a:latin typeface="Johnson Text"/>
              <a:ea typeface="Times New Roman" panose="02020603050405020304" pitchFamily="18" charset="0"/>
            </a:endParaRPr>
          </a:p>
          <a:p>
            <a:pPr marL="285750" indent="-285750">
              <a:buFont typeface="Wingdings" panose="05000000000000000000" pitchFamily="2" charset="2"/>
              <a:buChar char="q"/>
            </a:pPr>
            <a:r>
              <a:rPr lang="en-US" sz="1800" b="0">
                <a:effectLst/>
                <a:latin typeface="Johnson Text"/>
                <a:ea typeface="Aptos" panose="020B0004020202020204" pitchFamily="34" charset="0"/>
              </a:rPr>
              <a:t>Novo Nordisk’s R submission,</a:t>
            </a:r>
            <a:r>
              <a:rPr lang="en-US" b="0">
                <a:latin typeface="Johnson Text"/>
                <a:ea typeface="Aptos" panose="020B0004020202020204" pitchFamily="34" charset="0"/>
                <a:cs typeface="Calibri"/>
              </a:rPr>
              <a:t> </a:t>
            </a:r>
            <a:r>
              <a:rPr lang="en-US" sz="1800" b="0" u="sng">
                <a:solidFill>
                  <a:srgbClr val="0563C1"/>
                </a:solidFill>
                <a:effectLst/>
                <a:latin typeface="Johnson Text"/>
                <a:ea typeface="Aptos" panose="020B0004020202020204" pitchFamily="34" charset="0"/>
                <a:hlinkClick r:id="rId5"/>
              </a:rPr>
              <a:t>https://www.youtube.com/watch?v=t33dS17QHuA</a:t>
            </a:r>
            <a:endParaRPr lang="en-US" b="0" u="sng">
              <a:solidFill>
                <a:srgbClr val="0563C1"/>
              </a:solidFill>
              <a:latin typeface="Johnson Text"/>
              <a:ea typeface="Aptos" panose="020B0004020202020204" pitchFamily="34" charset="0"/>
            </a:endParaRPr>
          </a:p>
          <a:p>
            <a:pPr marL="285750" indent="-285750">
              <a:buFont typeface="Wingdings" panose="05000000000000000000" pitchFamily="2" charset="2"/>
              <a:buChar char="q"/>
            </a:pPr>
            <a:r>
              <a:rPr lang="en-US" sz="1800" b="0">
                <a:effectLst/>
                <a:latin typeface="Johnson Text"/>
                <a:ea typeface="Aptos" panose="020B0004020202020204" pitchFamily="34" charset="0"/>
              </a:rPr>
              <a:t>Roche, </a:t>
            </a:r>
            <a:r>
              <a:rPr lang="en-US" sz="1800" b="0" u="sng">
                <a:solidFill>
                  <a:srgbClr val="0563C1"/>
                </a:solidFill>
                <a:effectLst/>
                <a:latin typeface="Johnson Text"/>
                <a:ea typeface="Aptos" panose="020B0004020202020204" pitchFamily="34" charset="0"/>
                <a:hlinkClick r:id="rId6"/>
              </a:rPr>
              <a:t>https://www.youtube.com/watch?v=BlJNILSoZlM</a:t>
            </a:r>
            <a:endParaRPr lang="en-AU" sz="1800" b="0">
              <a:effectLst/>
              <a:latin typeface="Johnson Text"/>
              <a:ea typeface="Times New Roman" panose="02020603050405020304" pitchFamily="18" charset="0"/>
            </a:endParaRPr>
          </a:p>
          <a:p>
            <a:pPr marL="285750" indent="-285750">
              <a:buFont typeface="Wingdings" panose="05000000000000000000" pitchFamily="2" charset="2"/>
              <a:buChar char="q"/>
            </a:pPr>
            <a:endParaRPr lang="en-AU" sz="1800" b="0">
              <a:effectLst/>
              <a:latin typeface="Aptos" panose="020B0004020202020204" pitchFamily="34" charset="0"/>
              <a:ea typeface="Times New Roman" panose="02020603050405020304" pitchFamily="18" charset="0"/>
            </a:endParaRPr>
          </a:p>
          <a:p>
            <a:pPr marL="285750" indent="-285750">
              <a:buFont typeface="Wingdings" panose="05000000000000000000" pitchFamily="2" charset="2"/>
              <a:buChar char="q"/>
            </a:pPr>
            <a:endParaRPr lang="en-BE" b="0"/>
          </a:p>
        </p:txBody>
      </p:sp>
    </p:spTree>
    <p:extLst>
      <p:ext uri="{BB962C8B-B14F-4D97-AF65-F5344CB8AC3E}">
        <p14:creationId xmlns:p14="http://schemas.microsoft.com/office/powerpoint/2010/main" val="40433523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4974D9-40A9-A627-B8B6-71A36EB44F2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CB120CC-AE17-7D94-0874-6BBB4D4E9958}"/>
              </a:ext>
            </a:extLst>
          </p:cNvPr>
          <p:cNvSpPr>
            <a:spLocks noGrp="1"/>
          </p:cNvSpPr>
          <p:nvPr>
            <p:ph type="title"/>
          </p:nvPr>
        </p:nvSpPr>
        <p:spPr>
          <a:xfrm>
            <a:off x="288303" y="262267"/>
            <a:ext cx="6713538" cy="468590"/>
          </a:xfrm>
        </p:spPr>
        <p:txBody>
          <a:bodyPr/>
          <a:lstStyle/>
          <a:p>
            <a:r>
              <a:rPr lang="en-US" b="1"/>
              <a:t>Acknowledgement</a:t>
            </a:r>
            <a:r>
              <a:rPr lang="en-US" altLang="zh-CN" b="1"/>
              <a:t>s</a:t>
            </a:r>
            <a:endParaRPr lang="en-BE" b="1"/>
          </a:p>
        </p:txBody>
      </p:sp>
      <p:sp>
        <p:nvSpPr>
          <p:cNvPr id="3" name="Content Placeholder 2">
            <a:extLst>
              <a:ext uri="{FF2B5EF4-FFF2-40B4-BE49-F238E27FC236}">
                <a16:creationId xmlns:a16="http://schemas.microsoft.com/office/drawing/2014/main" id="{6C7E43C2-E37A-7A3D-02D7-F4DC9BD6E870}"/>
              </a:ext>
            </a:extLst>
          </p:cNvPr>
          <p:cNvSpPr>
            <a:spLocks noGrp="1"/>
          </p:cNvSpPr>
          <p:nvPr>
            <p:ph idx="1"/>
          </p:nvPr>
        </p:nvSpPr>
        <p:spPr>
          <a:xfrm>
            <a:off x="289384" y="766900"/>
            <a:ext cx="11610516" cy="3943349"/>
          </a:xfrm>
        </p:spPr>
        <p:txBody>
          <a:bodyPr vert="horz" lIns="0" tIns="0" rIns="0" bIns="0" rtlCol="0" anchor="t">
            <a:noAutofit/>
          </a:bodyPr>
          <a:lstStyle/>
          <a:p>
            <a:pPr>
              <a:lnSpc>
                <a:spcPct val="105000"/>
              </a:lnSpc>
            </a:pPr>
            <a:endParaRPr lang="en-US">
              <a:latin typeface="Aptos"/>
            </a:endParaRPr>
          </a:p>
          <a:p>
            <a:pPr marL="285750" indent="-285750">
              <a:lnSpc>
                <a:spcPct val="105000"/>
              </a:lnSpc>
              <a:buFont typeface="Wingdings" panose="05000000000000000000" pitchFamily="2" charset="2"/>
              <a:buChar char="q"/>
            </a:pPr>
            <a:r>
              <a:rPr lang="en-US" altLang="zh-CN">
                <a:latin typeface="Johnson Text"/>
              </a:rPr>
              <a:t>R submission SME team: Heidi, </a:t>
            </a:r>
            <a:r>
              <a:rPr lang="en-US" altLang="zh-CN" err="1">
                <a:latin typeface="Johnson Text"/>
              </a:rPr>
              <a:t>Renping</a:t>
            </a:r>
            <a:r>
              <a:rPr lang="en-US" altLang="zh-CN">
                <a:latin typeface="Johnson Text"/>
              </a:rPr>
              <a:t>, Xin, Haining, Steven, Riki, Alex, </a:t>
            </a:r>
            <a:r>
              <a:rPr lang="en-US" altLang="zh-CN" err="1">
                <a:latin typeface="Johnson Text"/>
              </a:rPr>
              <a:t>Linshan</a:t>
            </a:r>
            <a:r>
              <a:rPr lang="en-US" altLang="zh-CN">
                <a:latin typeface="Johnson Text"/>
              </a:rPr>
              <a:t>, </a:t>
            </a:r>
            <a:r>
              <a:rPr lang="en-US" altLang="zh-CN" err="1">
                <a:latin typeface="Johnson Text"/>
              </a:rPr>
              <a:t>Renfa</a:t>
            </a:r>
            <a:endParaRPr lang="en-US" altLang="zh-CN">
              <a:latin typeface="Johnson Text"/>
            </a:endParaRPr>
          </a:p>
          <a:p>
            <a:pPr marL="285750" indent="-285750">
              <a:lnSpc>
                <a:spcPct val="105000"/>
              </a:lnSpc>
              <a:buFont typeface="Wingdings" panose="05000000000000000000" pitchFamily="2" charset="2"/>
              <a:buChar char="q"/>
            </a:pPr>
            <a:r>
              <a:rPr lang="en-US" altLang="zh-CN">
                <a:latin typeface="Johnson Text"/>
              </a:rPr>
              <a:t>R testing team: </a:t>
            </a:r>
            <a:r>
              <a:rPr lang="en-US">
                <a:latin typeface="Johnson Text"/>
              </a:rPr>
              <a:t>Coral,  Diye, </a:t>
            </a:r>
            <a:r>
              <a:rPr lang="en-US" err="1">
                <a:latin typeface="Johnson Text"/>
              </a:rPr>
              <a:t>Yufan</a:t>
            </a:r>
            <a:r>
              <a:rPr lang="en-US">
                <a:latin typeface="Johnson Text"/>
              </a:rPr>
              <a:t>, </a:t>
            </a:r>
            <a:r>
              <a:rPr lang="en-US" err="1">
                <a:latin typeface="Johnson Text"/>
              </a:rPr>
              <a:t>Weilong</a:t>
            </a:r>
            <a:r>
              <a:rPr lang="en-US">
                <a:latin typeface="Johnson Text"/>
              </a:rPr>
              <a:t>, </a:t>
            </a:r>
            <a:r>
              <a:rPr lang="en-US" err="1">
                <a:latin typeface="Johnson Text"/>
              </a:rPr>
              <a:t>Yaxing</a:t>
            </a:r>
            <a:r>
              <a:rPr lang="en-US">
                <a:latin typeface="Johnson Text"/>
              </a:rPr>
              <a:t>, </a:t>
            </a:r>
            <a:r>
              <a:rPr lang="en-US" err="1">
                <a:latin typeface="Johnson Text"/>
              </a:rPr>
              <a:t>Wenlan</a:t>
            </a:r>
            <a:r>
              <a:rPr lang="en-US">
                <a:latin typeface="Johnson Text"/>
              </a:rPr>
              <a:t>, Yinghua, </a:t>
            </a:r>
            <a:r>
              <a:rPr lang="en-US" err="1">
                <a:latin typeface="Johnson Text"/>
              </a:rPr>
              <a:t>Lingsong</a:t>
            </a:r>
            <a:r>
              <a:rPr lang="en-US">
                <a:latin typeface="Johnson Text"/>
              </a:rPr>
              <a:t>, Xin</a:t>
            </a:r>
          </a:p>
          <a:p>
            <a:pPr marL="285750" indent="-285750">
              <a:lnSpc>
                <a:spcPct val="105000"/>
              </a:lnSpc>
              <a:buFont typeface="Wingdings" panose="05000000000000000000" pitchFamily="2" charset="2"/>
              <a:buChar char="q"/>
            </a:pPr>
            <a:r>
              <a:rPr lang="en-US" err="1">
                <a:latin typeface="Johnson Text"/>
              </a:rPr>
              <a:t>Shechang</a:t>
            </a:r>
            <a:r>
              <a:rPr lang="en-US">
                <a:latin typeface="Johnson Text"/>
              </a:rPr>
              <a:t> Li’s suggestion</a:t>
            </a:r>
          </a:p>
          <a:p>
            <a:pPr marL="285750" indent="-285750">
              <a:lnSpc>
                <a:spcPct val="105000"/>
              </a:lnSpc>
              <a:buFont typeface="Wingdings" panose="05000000000000000000" pitchFamily="2" charset="2"/>
              <a:buChar char="q"/>
            </a:pPr>
            <a:endParaRPr lang="en-BE">
              <a:latin typeface="Aptos" panose="020B0004020202020204" pitchFamily="34" charset="0"/>
              <a:ea typeface="Times New Roman" panose="02020603050405020304" pitchFamily="18" charset="0"/>
            </a:endParaRPr>
          </a:p>
          <a:p>
            <a:pPr marL="628650" lvl="1" indent="-342900">
              <a:lnSpc>
                <a:spcPct val="105000"/>
              </a:lnSpc>
              <a:buFont typeface="Wingdings" panose="05000000000000000000" pitchFamily="2" charset="2"/>
              <a:buChar char="§"/>
            </a:pPr>
            <a:endParaRPr lang="en-AU">
              <a:latin typeface="Aptos" panose="020B0004020202020204" pitchFamily="34" charset="0"/>
              <a:ea typeface="Times New Roman" panose="02020603050405020304" pitchFamily="18" charset="0"/>
            </a:endParaRPr>
          </a:p>
          <a:p>
            <a:pPr marL="628650" lvl="1" indent="-342900">
              <a:lnSpc>
                <a:spcPct val="105000"/>
              </a:lnSpc>
              <a:buFont typeface="Wingdings" panose="05000000000000000000" pitchFamily="2" charset="2"/>
              <a:buChar char="§"/>
            </a:pPr>
            <a:endParaRPr lang="en-AU">
              <a:latin typeface="Aptos" panose="020B0004020202020204" pitchFamily="34" charset="0"/>
              <a:ea typeface="Times New Roman" panose="02020603050405020304" pitchFamily="18" charset="0"/>
            </a:endParaRPr>
          </a:p>
        </p:txBody>
      </p:sp>
      <p:sp>
        <p:nvSpPr>
          <p:cNvPr id="5" name="Slide Number Placeholder 4">
            <a:extLst>
              <a:ext uri="{FF2B5EF4-FFF2-40B4-BE49-F238E27FC236}">
                <a16:creationId xmlns:a16="http://schemas.microsoft.com/office/drawing/2014/main" id="{F9100EF5-EAC2-CCEB-A965-13809856A117}"/>
              </a:ext>
            </a:extLst>
          </p:cNvPr>
          <p:cNvSpPr>
            <a:spLocks noGrp="1"/>
          </p:cNvSpPr>
          <p:nvPr>
            <p:ph type="sldNum" sz="quarter" idx="12"/>
          </p:nvPr>
        </p:nvSpPr>
        <p:spPr/>
        <p:txBody>
          <a:bodyPr/>
          <a:lstStyle/>
          <a:p>
            <a:pPr marL="0" marR="0" lvl="0" indent="0" algn="r" defTabSz="914400" rtl="0" eaLnBrk="1" fontAlgn="auto" latinLnBrk="0" hangingPunct="1">
              <a:lnSpc>
                <a:spcPct val="110000"/>
              </a:lnSpc>
              <a:spcBef>
                <a:spcPts val="600"/>
              </a:spcBef>
              <a:spcAft>
                <a:spcPts val="600"/>
              </a:spcAft>
              <a:buClrTx/>
              <a:buSzTx/>
              <a:buFontTx/>
              <a:buNone/>
              <a:tabLst/>
              <a:defRPr/>
            </a:pPr>
            <a:fld id="{AEC8D767-5246-2244-A4A3-B8AFB218393C}" type="slidenum">
              <a:rPr kumimoji="0" lang="en-GB" sz="900" b="0" i="0" u="none" strike="noStrike" kern="1200" cap="none" spc="0" normalizeH="0" baseline="0" noProof="0" smtClean="0">
                <a:ln>
                  <a:noFill/>
                </a:ln>
                <a:solidFill>
                  <a:srgbClr val="000000"/>
                </a:solidFill>
                <a:effectLst/>
                <a:uLnTx/>
                <a:uFillTx/>
                <a:latin typeface="Johnson Text"/>
                <a:ea typeface="+mn-ea"/>
                <a:cs typeface="+mn-cs"/>
              </a:rPr>
              <a:pPr marL="0" marR="0" lvl="0" indent="0" algn="r" defTabSz="914400" rtl="0" eaLnBrk="1" fontAlgn="auto" latinLnBrk="0" hangingPunct="1">
                <a:lnSpc>
                  <a:spcPct val="110000"/>
                </a:lnSpc>
                <a:spcBef>
                  <a:spcPts val="600"/>
                </a:spcBef>
                <a:spcAft>
                  <a:spcPts val="600"/>
                </a:spcAft>
                <a:buClrTx/>
                <a:buSzTx/>
                <a:buFontTx/>
                <a:buNone/>
                <a:tabLst/>
                <a:defRPr/>
              </a:pPr>
              <a:t>17</a:t>
            </a:fld>
            <a:endParaRPr kumimoji="0" lang="en-GB" sz="900" b="0" i="0" u="none" strike="noStrike" kern="1200" cap="none" spc="0" normalizeH="0" baseline="0" noProof="0">
              <a:ln>
                <a:noFill/>
              </a:ln>
              <a:solidFill>
                <a:srgbClr val="000000"/>
              </a:solidFill>
              <a:effectLst/>
              <a:uLnTx/>
              <a:uFillTx/>
              <a:latin typeface="Johnson Text"/>
              <a:ea typeface="+mn-ea"/>
              <a:cs typeface="+mn-cs"/>
            </a:endParaRPr>
          </a:p>
        </p:txBody>
      </p:sp>
    </p:spTree>
    <p:extLst>
      <p:ext uri="{BB962C8B-B14F-4D97-AF65-F5344CB8AC3E}">
        <p14:creationId xmlns:p14="http://schemas.microsoft.com/office/powerpoint/2010/main" val="17625630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a:extLst>
              <a:ext uri="{FF2B5EF4-FFF2-40B4-BE49-F238E27FC236}">
                <a16:creationId xmlns:a16="http://schemas.microsoft.com/office/drawing/2014/main" id="{D2602D26-978D-27E5-C7D8-1F2773BD662C}"/>
              </a:ext>
            </a:extLst>
          </p:cNvPr>
          <p:cNvSpPr>
            <a:spLocks noGrp="1"/>
          </p:cNvSpPr>
          <p:nvPr>
            <p:ph idx="1"/>
          </p:nvPr>
        </p:nvSpPr>
        <p:spPr/>
        <p:txBody>
          <a:bodyPr vert="horz" lIns="0" tIns="0" rIns="0" bIns="0" rtlCol="0" anchor="t">
            <a:noAutofit/>
          </a:bodyPr>
          <a:lstStyle/>
          <a:p>
            <a:pPr algn="ctr"/>
            <a:r>
              <a:rPr lang="en-US" altLang="zh-CN" sz="4000" b="1">
                <a:solidFill>
                  <a:srgbClr val="FF0000"/>
                </a:solidFill>
              </a:rPr>
              <a:t>Q&amp;A</a:t>
            </a:r>
          </a:p>
          <a:p>
            <a:pPr algn="ctr"/>
            <a:endParaRPr lang="en-US" altLang="zh-CN" sz="4000" b="1">
              <a:solidFill>
                <a:srgbClr val="FF0000"/>
              </a:solidFill>
            </a:endParaRPr>
          </a:p>
          <a:p>
            <a:pPr algn="ctr"/>
            <a:r>
              <a:rPr lang="en-US" altLang="zh-CN" sz="4000" b="1">
                <a:solidFill>
                  <a:srgbClr val="FF0000"/>
                </a:solidFill>
              </a:rPr>
              <a:t>THANK YOU</a:t>
            </a:r>
            <a:endParaRPr lang="zh-CN" altLang="en-US" sz="4000" b="1">
              <a:solidFill>
                <a:srgbClr val="FF0000"/>
              </a:solidFill>
            </a:endParaRPr>
          </a:p>
        </p:txBody>
      </p:sp>
      <p:sp>
        <p:nvSpPr>
          <p:cNvPr id="5" name="灯片编号占位符 4">
            <a:extLst>
              <a:ext uri="{FF2B5EF4-FFF2-40B4-BE49-F238E27FC236}">
                <a16:creationId xmlns:a16="http://schemas.microsoft.com/office/drawing/2014/main" id="{23D97744-D868-D333-B1A8-955BDFC22939}"/>
              </a:ext>
            </a:extLst>
          </p:cNvPr>
          <p:cNvSpPr>
            <a:spLocks noGrp="1"/>
          </p:cNvSpPr>
          <p:nvPr>
            <p:ph type="sldNum" sz="quarter" idx="12"/>
          </p:nvPr>
        </p:nvSpPr>
        <p:spPr/>
        <p:txBody>
          <a:bodyPr/>
          <a:lstStyle/>
          <a:p>
            <a:fld id="{AEC8D767-5246-2244-A4A3-B8AFB218393C}" type="slidenum">
              <a:rPr lang="en-GB" smtClean="0"/>
              <a:t>18</a:t>
            </a:fld>
            <a:endParaRPr lang="en-GB"/>
          </a:p>
        </p:txBody>
      </p:sp>
    </p:spTree>
    <p:extLst>
      <p:ext uri="{BB962C8B-B14F-4D97-AF65-F5344CB8AC3E}">
        <p14:creationId xmlns:p14="http://schemas.microsoft.com/office/powerpoint/2010/main" val="18094469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b="1"/>
              <a:t>Agenda</a:t>
            </a:r>
          </a:p>
        </p:txBody>
      </p:sp>
      <p:graphicFrame>
        <p:nvGraphicFramePr>
          <p:cNvPr id="9" name="Content Placeholder 15"/>
          <p:cNvGraphicFramePr>
            <a:graphicFrameLocks/>
          </p:cNvGraphicFramePr>
          <p:nvPr>
            <p:extLst>
              <p:ext uri="{D42A27DB-BD31-4B8C-83A1-F6EECF244321}">
                <p14:modId xmlns:p14="http://schemas.microsoft.com/office/powerpoint/2010/main" val="3728032829"/>
              </p:ext>
            </p:extLst>
          </p:nvPr>
        </p:nvGraphicFramePr>
        <p:xfrm>
          <a:off x="1384300" y="1450917"/>
          <a:ext cx="10484612" cy="3956165"/>
        </p:xfrm>
        <a:graphic>
          <a:graphicData uri="http://schemas.openxmlformats.org/drawingml/2006/table">
            <a:tbl>
              <a:tblPr firstRow="1" bandRow="1">
                <a:tableStyleId>{21E4AEA4-8DFA-4A89-87EB-49C32662AFE0}</a:tableStyleId>
              </a:tblPr>
              <a:tblGrid>
                <a:gridCol w="6296317">
                  <a:extLst>
                    <a:ext uri="{9D8B030D-6E8A-4147-A177-3AD203B41FA5}">
                      <a16:colId xmlns:a16="http://schemas.microsoft.com/office/drawing/2014/main" val="20000"/>
                    </a:ext>
                  </a:extLst>
                </a:gridCol>
                <a:gridCol w="4188295">
                  <a:extLst>
                    <a:ext uri="{9D8B030D-6E8A-4147-A177-3AD203B41FA5}">
                      <a16:colId xmlns:a16="http://schemas.microsoft.com/office/drawing/2014/main" val="20001"/>
                    </a:ext>
                  </a:extLst>
                </a:gridCol>
              </a:tblGrid>
              <a:tr h="791233">
                <a:tc>
                  <a:txBody>
                    <a:bodyPr/>
                    <a:lstStyle/>
                    <a:p>
                      <a:pPr marL="0" marR="0" lvl="0" indent="0" algn="l" rtl="0" eaLnBrk="1" fontAlgn="base" latinLnBrk="0" hangingPunct="1">
                        <a:lnSpc>
                          <a:spcPct val="100000"/>
                        </a:lnSpc>
                        <a:spcBef>
                          <a:spcPct val="0"/>
                        </a:spcBef>
                        <a:spcAft>
                          <a:spcPct val="0"/>
                        </a:spcAft>
                        <a:buClrTx/>
                        <a:buSzTx/>
                        <a:buFontTx/>
                        <a:buNone/>
                        <a:tabLst>
                          <a:tab pos="5916613" algn="r"/>
                        </a:tabLst>
                      </a:pPr>
                      <a:r>
                        <a:rPr kumimoji="0" lang="en-US" sz="1700" b="0" i="0" u="none" strike="noStrike" kern="1200" cap="none" normalizeH="0" baseline="0">
                          <a:ln>
                            <a:noFill/>
                          </a:ln>
                          <a:solidFill>
                            <a:schemeClr val="accent1"/>
                          </a:solidFill>
                          <a:effectLst/>
                          <a:latin typeface="Johnson Text"/>
                          <a:ea typeface="Verdana"/>
                          <a:cs typeface="Verdana" charset="0"/>
                        </a:rPr>
                        <a:t>Introduction </a:t>
                      </a:r>
                      <a:r>
                        <a:rPr lang="en-US" sz="1700" b="1" i="0" u="none" strike="noStrike" cap="none" normalizeH="0" baseline="0">
                          <a:ln>
                            <a:noFill/>
                          </a:ln>
                          <a:solidFill>
                            <a:schemeClr val="tx1"/>
                          </a:solidFill>
                          <a:effectLst/>
                          <a:latin typeface="Johnson Text"/>
                          <a:ea typeface="Verdana"/>
                          <a:cs typeface="Verdana" charset="0"/>
                        </a:rPr>
                        <a:t>                         </a:t>
                      </a:r>
                      <a:r>
                        <a:rPr kumimoji="0" lang="en-US" sz="1700" b="0" i="0" u="none" strike="noStrike" kern="1200" cap="none" normalizeH="0" baseline="0">
                          <a:ln>
                            <a:noFill/>
                          </a:ln>
                          <a:solidFill>
                            <a:schemeClr val="accent1"/>
                          </a:solidFill>
                          <a:effectLst/>
                          <a:latin typeface="Johnson Text"/>
                          <a:ea typeface="Verdana"/>
                          <a:cs typeface="Verdana" charset="0"/>
                        </a:rPr>
                        <a:t>  (</a:t>
                      </a:r>
                      <a:r>
                        <a:rPr kumimoji="0" lang="en-US" sz="1700" b="0" i="0" u="none" strike="noStrike" kern="1200" cap="none" normalizeH="0" baseline="0" err="1">
                          <a:ln>
                            <a:noFill/>
                          </a:ln>
                          <a:solidFill>
                            <a:schemeClr val="accent1"/>
                          </a:solidFill>
                          <a:effectLst/>
                          <a:latin typeface="Johnson Text"/>
                          <a:ea typeface="Verdana"/>
                          <a:cs typeface="Verdana" charset="0"/>
                        </a:rPr>
                        <a:t>Renfa</a:t>
                      </a:r>
                      <a:r>
                        <a:rPr kumimoji="0" lang="en-US" sz="1700" b="0" i="0" u="none" strike="noStrike" kern="1200" cap="none" normalizeH="0" baseline="0">
                          <a:ln>
                            <a:noFill/>
                          </a:ln>
                          <a:solidFill>
                            <a:schemeClr val="accent1"/>
                          </a:solidFill>
                          <a:effectLst/>
                          <a:latin typeface="Johnson Text"/>
                          <a:ea typeface="Verdana"/>
                          <a:cs typeface="Verdana" charset="0"/>
                        </a:rPr>
                        <a:t>)</a:t>
                      </a:r>
                    </a:p>
                  </a:txBody>
                  <a:tcPr marL="113603" marR="52789" marT="34962" marB="34962" anchor="ctr" horzOverflow="overflow">
                    <a:lnL w="12700" cmpd="sng">
                      <a:noFill/>
                    </a:lnL>
                    <a:lnR w="12700" cmpd="sng">
                      <a:noFill/>
                    </a:lnR>
                    <a:lnT w="12700" cap="flat" cmpd="sng" algn="ctr">
                      <a:noFill/>
                      <a:prstDash val="solid"/>
                      <a:round/>
                      <a:headEnd type="none" w="med" len="med"/>
                      <a:tailEnd type="none" w="med" len="med"/>
                    </a:lnT>
                    <a:lnB w="12700" cap="flat" cmpd="sng" algn="ctr">
                      <a:solidFill>
                        <a:srgbClr val="B7B7B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682625" algn="dec"/>
                        </a:tabLst>
                        <a:defRPr/>
                      </a:pPr>
                      <a:r>
                        <a:rPr kumimoji="0" lang="en-US" altLang="zh-CN" sz="1700" b="0" i="0" u="none" strike="noStrike" kern="1200" cap="none" normalizeH="0" baseline="0">
                          <a:ln>
                            <a:noFill/>
                          </a:ln>
                          <a:solidFill>
                            <a:schemeClr val="accent1"/>
                          </a:solidFill>
                          <a:effectLst/>
                          <a:latin typeface="Johnson Text"/>
                          <a:ea typeface="Verdana"/>
                          <a:cs typeface="Verdana" charset="0"/>
                        </a:rPr>
                        <a:t>Setup Environment </a:t>
                      </a:r>
                      <a:r>
                        <a:rPr kumimoji="0" lang="en-US" sz="1700" b="0" i="0" u="none" strike="noStrike" kern="1200" cap="none" normalizeH="0" baseline="0">
                          <a:ln>
                            <a:noFill/>
                          </a:ln>
                          <a:solidFill>
                            <a:schemeClr val="accent1"/>
                          </a:solidFill>
                          <a:effectLst/>
                          <a:latin typeface="Johnson Text"/>
                          <a:ea typeface="Verdana"/>
                          <a:cs typeface="Verdana" charset="0"/>
                        </a:rPr>
                        <a:t>(He Liu)</a:t>
                      </a:r>
                    </a:p>
                  </a:txBody>
                  <a:tcPr marL="52789" marR="52789" marT="34962" marB="34962" anchor="ctr" horzOverflow="overflow">
                    <a:lnL w="12700" cmpd="sng">
                      <a:noFill/>
                    </a:lnL>
                    <a:lnR w="12700" cmpd="sng">
                      <a:noFill/>
                    </a:lnR>
                    <a:lnT w="12700" cap="flat" cmpd="sng" algn="ctr">
                      <a:noFill/>
                      <a:prstDash val="solid"/>
                      <a:round/>
                      <a:headEnd type="none" w="med" len="med"/>
                      <a:tailEnd type="none" w="med" len="med"/>
                    </a:lnT>
                    <a:lnB w="12700" cap="flat" cmpd="sng" algn="ctr">
                      <a:solidFill>
                        <a:srgbClr val="B7B7B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9123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0" i="0" u="none" strike="noStrike" kern="1200" cap="none" normalizeH="0" baseline="0">
                          <a:ln>
                            <a:noFill/>
                          </a:ln>
                          <a:solidFill>
                            <a:schemeClr val="accent1"/>
                          </a:solidFill>
                          <a:effectLst/>
                          <a:latin typeface="Johnson Text"/>
                          <a:ea typeface="Verdana"/>
                          <a:cs typeface="Verdana" charset="0"/>
                        </a:rPr>
                        <a:t>Preliminary Steps                   (</a:t>
                      </a:r>
                      <a:r>
                        <a:rPr kumimoji="0" lang="en-US" sz="1700" b="0" i="0" u="none" strike="noStrike" kern="1200" cap="none" normalizeH="0" baseline="0" err="1">
                          <a:ln>
                            <a:noFill/>
                          </a:ln>
                          <a:solidFill>
                            <a:schemeClr val="accent1"/>
                          </a:solidFill>
                          <a:effectLst/>
                          <a:latin typeface="Johnson Text"/>
                          <a:ea typeface="Verdana"/>
                          <a:cs typeface="Verdana" charset="0"/>
                        </a:rPr>
                        <a:t>Renfa</a:t>
                      </a:r>
                      <a:r>
                        <a:rPr kumimoji="0" lang="en-US" sz="1700" b="0" i="0" u="none" strike="noStrike" kern="1200" cap="none" normalizeH="0" baseline="0">
                          <a:ln>
                            <a:noFill/>
                          </a:ln>
                          <a:solidFill>
                            <a:schemeClr val="accent1"/>
                          </a:solidFill>
                          <a:effectLst/>
                          <a:latin typeface="Johnson Text"/>
                          <a:ea typeface="Verdana"/>
                          <a:cs typeface="Verdana" charset="0"/>
                        </a:rPr>
                        <a:t>)</a:t>
                      </a:r>
                    </a:p>
                  </a:txBody>
                  <a:tcPr marL="113603" marR="52789" marT="34962" marB="34962" anchor="ctr" horzOverflow="overflow">
                    <a:lnL w="12700" cmpd="sng">
                      <a:noFill/>
                    </a:lnL>
                    <a:lnR w="12700" cmpd="sng">
                      <a:noFill/>
                    </a:lnR>
                    <a:lnT w="12700" cap="flat" cmpd="sng" algn="ctr">
                      <a:solidFill>
                        <a:srgbClr val="B7B7B7"/>
                      </a:solidFill>
                      <a:prstDash val="solid"/>
                      <a:round/>
                      <a:headEnd type="none" w="med" len="med"/>
                      <a:tailEnd type="none" w="med" len="med"/>
                    </a:lnT>
                    <a:lnB w="12700" cap="flat" cmpd="sng" algn="ctr">
                      <a:solidFill>
                        <a:srgbClr val="F4F4F4">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682625" algn="dec"/>
                        </a:tabLst>
                        <a:defRPr/>
                      </a:pPr>
                      <a:r>
                        <a:rPr kumimoji="0" lang="en-US" altLang="zh-CN" sz="1700" b="0" i="0" u="none" strike="noStrike" kern="1200" cap="none" normalizeH="0" baseline="0">
                          <a:ln>
                            <a:noFill/>
                          </a:ln>
                          <a:solidFill>
                            <a:schemeClr val="accent1"/>
                          </a:solidFill>
                          <a:effectLst/>
                          <a:latin typeface="Johnson Text"/>
                          <a:ea typeface="Verdana"/>
                          <a:cs typeface="Verdana" charset="0"/>
                        </a:rPr>
                        <a:t>Challenge &amp; </a:t>
                      </a:r>
                    </a:p>
                    <a:p>
                      <a:pPr marL="0" marR="0" lvl="0" indent="0" algn="l" defTabSz="914400" rtl="0" eaLnBrk="1" fontAlgn="base" latinLnBrk="0" hangingPunct="1">
                        <a:lnSpc>
                          <a:spcPct val="100000"/>
                        </a:lnSpc>
                        <a:spcBef>
                          <a:spcPct val="0"/>
                        </a:spcBef>
                        <a:spcAft>
                          <a:spcPct val="0"/>
                        </a:spcAft>
                        <a:buClrTx/>
                        <a:buSzTx/>
                        <a:buFontTx/>
                        <a:buNone/>
                        <a:tabLst>
                          <a:tab pos="682625" algn="dec"/>
                        </a:tabLst>
                        <a:defRPr/>
                      </a:pPr>
                      <a:r>
                        <a:rPr kumimoji="0" lang="en-US" altLang="zh-CN" sz="1700" b="0" i="0" u="none" strike="noStrike" kern="1200" cap="none" normalizeH="0" baseline="0">
                          <a:ln>
                            <a:noFill/>
                          </a:ln>
                          <a:solidFill>
                            <a:schemeClr val="accent1"/>
                          </a:solidFill>
                          <a:effectLst/>
                          <a:latin typeface="Johnson Text"/>
                          <a:ea typeface="Verdana"/>
                          <a:cs typeface="Verdana" charset="0"/>
                        </a:rPr>
                        <a:t>Recommendation    </a:t>
                      </a:r>
                      <a:r>
                        <a:rPr kumimoji="0" lang="en-US" sz="1700" b="0" i="0" u="none" strike="noStrike" kern="1200" cap="none" normalizeH="0" baseline="0">
                          <a:ln>
                            <a:noFill/>
                          </a:ln>
                          <a:solidFill>
                            <a:schemeClr val="accent1"/>
                          </a:solidFill>
                          <a:effectLst/>
                          <a:latin typeface="Johnson Text"/>
                          <a:ea typeface="Verdana"/>
                          <a:cs typeface="Verdana" charset="0"/>
                        </a:rPr>
                        <a:t>(</a:t>
                      </a:r>
                      <a:r>
                        <a:rPr kumimoji="0" lang="en-US" altLang="zh-CN" sz="1700" b="0" i="0" u="none" strike="noStrike" kern="1200" cap="none" normalizeH="0" baseline="0">
                          <a:ln>
                            <a:noFill/>
                          </a:ln>
                          <a:solidFill>
                            <a:schemeClr val="accent1"/>
                          </a:solidFill>
                          <a:effectLst/>
                          <a:latin typeface="Johnson Text"/>
                          <a:ea typeface="Verdana"/>
                          <a:cs typeface="Verdana" charset="0"/>
                        </a:rPr>
                        <a:t>He Liu</a:t>
                      </a:r>
                      <a:r>
                        <a:rPr kumimoji="0" lang="en-US" sz="1700" b="0" i="0" u="none" strike="noStrike" kern="1200" cap="none" normalizeH="0" baseline="0">
                          <a:ln>
                            <a:noFill/>
                          </a:ln>
                          <a:solidFill>
                            <a:schemeClr val="accent1"/>
                          </a:solidFill>
                          <a:effectLst/>
                          <a:latin typeface="Johnson Text"/>
                          <a:ea typeface="Verdana"/>
                          <a:cs typeface="Verdana" charset="0"/>
                        </a:rPr>
                        <a:t>)</a:t>
                      </a:r>
                    </a:p>
                  </a:txBody>
                  <a:tcPr marL="52789" marR="52789" marT="34962" marB="34962" anchor="ctr" horzOverflow="overflow">
                    <a:lnL w="12700" cmpd="sng">
                      <a:noFill/>
                    </a:lnL>
                    <a:lnR w="12700" cmpd="sng">
                      <a:noFill/>
                    </a:lnR>
                    <a:lnT w="12700" cap="flat" cmpd="sng" algn="ctr">
                      <a:solidFill>
                        <a:srgbClr val="B7B7B7"/>
                      </a:solidFill>
                      <a:prstDash val="solid"/>
                      <a:round/>
                      <a:headEnd type="none" w="med" len="med"/>
                      <a:tailEnd type="none" w="med" len="med"/>
                    </a:lnT>
                    <a:lnB w="12700" cap="flat" cmpd="sng" algn="ctr">
                      <a:solidFill>
                        <a:srgbClr val="F4F4F4">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9123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0" i="0" u="none" strike="noStrike" kern="1200" cap="none" normalizeH="0" baseline="0">
                          <a:ln>
                            <a:noFill/>
                          </a:ln>
                          <a:solidFill>
                            <a:schemeClr val="accent1"/>
                          </a:solidFill>
                          <a:effectLst/>
                          <a:latin typeface="Johnson Text"/>
                          <a:ea typeface="Verdana"/>
                          <a:cs typeface="Verdana" charset="0"/>
                        </a:rPr>
                        <a:t>ADRG                                        (</a:t>
                      </a:r>
                      <a:r>
                        <a:rPr kumimoji="0" lang="en-US" altLang="zh-CN" sz="1700" b="0" i="0" u="none" strike="noStrike" kern="1200" cap="none" normalizeH="0" baseline="0">
                          <a:ln>
                            <a:noFill/>
                          </a:ln>
                          <a:solidFill>
                            <a:schemeClr val="accent1"/>
                          </a:solidFill>
                          <a:effectLst/>
                          <a:latin typeface="Johnson Text"/>
                          <a:ea typeface="Verdana"/>
                          <a:cs typeface="Verdana" charset="0"/>
                        </a:rPr>
                        <a:t>Renfa</a:t>
                      </a:r>
                      <a:r>
                        <a:rPr kumimoji="0" lang="en-US" sz="1700" b="0" i="0" u="none" strike="noStrike" kern="1200" cap="none" normalizeH="0" baseline="0">
                          <a:ln>
                            <a:noFill/>
                          </a:ln>
                          <a:solidFill>
                            <a:schemeClr val="accent1"/>
                          </a:solidFill>
                          <a:effectLst/>
                          <a:latin typeface="Johnson Text"/>
                          <a:ea typeface="Verdana"/>
                          <a:cs typeface="Verdana" charset="0"/>
                        </a:rPr>
                        <a:t>)</a:t>
                      </a:r>
                    </a:p>
                  </a:txBody>
                  <a:tcPr marL="113603" marR="52789" marT="34962" marB="34962" anchor="ctr" horzOverflow="overflow">
                    <a:lnL w="12700" cmpd="sng">
                      <a:noFill/>
                    </a:lnL>
                    <a:lnR w="12700" cmpd="sng">
                      <a:noFill/>
                    </a:lnR>
                    <a:lnT w="12700" cap="flat" cmpd="sng" algn="ctr">
                      <a:solidFill>
                        <a:srgbClr val="F4F4F4">
                          <a:lumMod val="75000"/>
                        </a:srgbClr>
                      </a:solidFill>
                      <a:prstDash val="solid"/>
                      <a:round/>
                      <a:headEnd type="none" w="med" len="med"/>
                      <a:tailEnd type="none" w="med" len="med"/>
                    </a:lnT>
                    <a:lnB w="12700" cap="flat" cmpd="sng" algn="ctr">
                      <a:solidFill>
                        <a:srgbClr val="F4F4F4">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700" b="0" i="0" u="none" strike="noStrike" kern="1200" cap="none" normalizeH="0" baseline="0">
                          <a:ln>
                            <a:noFill/>
                          </a:ln>
                          <a:solidFill>
                            <a:schemeClr val="accent1"/>
                          </a:solidFill>
                          <a:effectLst/>
                          <a:latin typeface="Johnson Text"/>
                          <a:ea typeface="Verdana"/>
                          <a:cs typeface="Verdana" charset="0"/>
                        </a:rPr>
                        <a:t>Q&amp;A</a:t>
                      </a:r>
                    </a:p>
                  </a:txBody>
                  <a:tcPr marL="52789" marR="52789" marT="34962" marB="34962" anchor="ctr" horzOverflow="overflow">
                    <a:lnL w="12700" cmpd="sng">
                      <a:noFill/>
                    </a:lnL>
                    <a:lnR w="12700" cmpd="sng">
                      <a:noFill/>
                    </a:lnR>
                    <a:lnT w="12700" cap="flat" cmpd="sng" algn="ctr">
                      <a:solidFill>
                        <a:srgbClr val="F4F4F4">
                          <a:lumMod val="75000"/>
                        </a:srgbClr>
                      </a:solidFill>
                      <a:prstDash val="solid"/>
                      <a:round/>
                      <a:headEnd type="none" w="med" len="med"/>
                      <a:tailEnd type="none" w="med" len="med"/>
                    </a:lnT>
                    <a:lnB w="12700" cap="flat" cmpd="sng" algn="ctr">
                      <a:solidFill>
                        <a:srgbClr val="F4F4F4">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9123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0" i="0" u="none" strike="noStrike" kern="1200" cap="none" normalizeH="0" baseline="0">
                          <a:ln>
                            <a:noFill/>
                          </a:ln>
                          <a:solidFill>
                            <a:schemeClr val="accent1"/>
                          </a:solidFill>
                          <a:effectLst/>
                          <a:latin typeface="Johnson Text"/>
                          <a:ea typeface="Verdana"/>
                          <a:cs typeface="Verdana" charset="0"/>
                        </a:rPr>
                        <a:t>Key Takeaways                       (</a:t>
                      </a:r>
                      <a:r>
                        <a:rPr kumimoji="0" lang="en-US" altLang="zh-CN" sz="1700" b="0" i="0" u="none" strike="noStrike" kern="1200" cap="none" normalizeH="0" baseline="0" err="1">
                          <a:ln>
                            <a:noFill/>
                          </a:ln>
                          <a:solidFill>
                            <a:schemeClr val="accent1"/>
                          </a:solidFill>
                          <a:effectLst/>
                          <a:latin typeface="Johnson Text"/>
                          <a:ea typeface="Verdana"/>
                          <a:cs typeface="Verdana" charset="0"/>
                        </a:rPr>
                        <a:t>Renfa</a:t>
                      </a:r>
                      <a:r>
                        <a:rPr kumimoji="0" lang="en-US" sz="1700" b="0" i="0" u="none" strike="noStrike" kern="1200" cap="none" normalizeH="0" baseline="0">
                          <a:ln>
                            <a:noFill/>
                          </a:ln>
                          <a:solidFill>
                            <a:schemeClr val="accent1"/>
                          </a:solidFill>
                          <a:effectLst/>
                          <a:latin typeface="Johnson Text"/>
                          <a:ea typeface="Verdana"/>
                          <a:cs typeface="Verdana" charset="0"/>
                        </a:rPr>
                        <a:t>)</a:t>
                      </a:r>
                    </a:p>
                  </a:txBody>
                  <a:tcPr marL="113603" marR="52789" marT="34962" marB="34962" anchor="ctr" horzOverflow="overflow">
                    <a:lnL w="12700" cmpd="sng">
                      <a:noFill/>
                    </a:lnL>
                    <a:lnR w="12700" cmpd="sng">
                      <a:noFill/>
                    </a:lnR>
                    <a:lnT w="12700" cap="flat" cmpd="sng" algn="ctr">
                      <a:solidFill>
                        <a:srgbClr val="F4F4F4">
                          <a:lumMod val="75000"/>
                        </a:srgbClr>
                      </a:solidFill>
                      <a:prstDash val="solid"/>
                      <a:round/>
                      <a:headEnd type="none" w="med" len="med"/>
                      <a:tailEnd type="none" w="med" len="med"/>
                    </a:lnT>
                    <a:lnB w="12700" cap="flat" cmpd="sng" algn="ctr">
                      <a:solidFill>
                        <a:srgbClr val="F4F4F4">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682625" algn="dec"/>
                        </a:tabLst>
                        <a:defRPr/>
                      </a:pPr>
                      <a:endParaRPr kumimoji="0" lang="en-US" sz="1700" b="0" i="0" u="none" strike="noStrike" kern="1200" cap="none" normalizeH="0" baseline="0">
                        <a:ln>
                          <a:noFill/>
                        </a:ln>
                        <a:solidFill>
                          <a:schemeClr val="accent1"/>
                        </a:solidFill>
                        <a:effectLst/>
                        <a:latin typeface="Verdana" charset="0"/>
                        <a:ea typeface="Verdana" charset="0"/>
                        <a:cs typeface="Verdana" charset="0"/>
                      </a:endParaRPr>
                    </a:p>
                  </a:txBody>
                  <a:tcPr marL="52789" marR="52789" marT="34962" marB="34962" anchor="ctr" horzOverflow="overflow">
                    <a:lnL w="12700" cmpd="sng">
                      <a:noFill/>
                    </a:lnL>
                    <a:lnR w="12700" cmpd="sng">
                      <a:noFill/>
                    </a:lnR>
                    <a:lnT w="12700" cap="flat" cmpd="sng" algn="ctr">
                      <a:solidFill>
                        <a:srgbClr val="F4F4F4">
                          <a:lumMod val="75000"/>
                        </a:srgbClr>
                      </a:solidFill>
                      <a:prstDash val="solid"/>
                      <a:round/>
                      <a:headEnd type="none" w="med" len="med"/>
                      <a:tailEnd type="none" w="med" len="med"/>
                    </a:lnT>
                    <a:lnB w="12700" cap="flat" cmpd="sng" algn="ctr">
                      <a:solidFill>
                        <a:srgbClr val="F4F4F4">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91233">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700" b="0" i="0" u="none" strike="noStrike" cap="none" normalizeH="0" baseline="0">
                        <a:ln>
                          <a:noFill/>
                        </a:ln>
                        <a:solidFill>
                          <a:schemeClr val="accent1"/>
                        </a:solidFill>
                        <a:effectLst/>
                        <a:latin typeface="Verdana" charset="0"/>
                        <a:ea typeface="Verdana" charset="0"/>
                        <a:cs typeface="Verdana" charset="0"/>
                      </a:endParaRPr>
                    </a:p>
                  </a:txBody>
                  <a:tcPr marL="113603" marR="52789" marT="34962" marB="34962" anchor="ctr" horzOverflow="overflow">
                    <a:lnL w="12700" cmpd="sng">
                      <a:noFill/>
                    </a:lnL>
                    <a:lnR w="12700" cmpd="sng">
                      <a:noFill/>
                    </a:lnR>
                    <a:lnT w="12700" cap="flat" cmpd="sng" algn="ctr">
                      <a:solidFill>
                        <a:srgbClr val="F4F4F4">
                          <a:lumMod val="75000"/>
                        </a:srgb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238125" algn="l" defTabSz="914400" rtl="0" eaLnBrk="1" fontAlgn="base" latinLnBrk="0" hangingPunct="1">
                        <a:lnSpc>
                          <a:spcPct val="100000"/>
                        </a:lnSpc>
                        <a:spcBef>
                          <a:spcPct val="0"/>
                        </a:spcBef>
                        <a:spcAft>
                          <a:spcPct val="0"/>
                        </a:spcAft>
                        <a:buClrTx/>
                        <a:buSzTx/>
                        <a:buFontTx/>
                        <a:buNone/>
                        <a:tabLst>
                          <a:tab pos="682625" algn="dec"/>
                        </a:tabLst>
                      </a:pPr>
                      <a:endParaRPr kumimoji="0" lang="en-US" sz="1700" b="0" i="0" u="none" strike="noStrike" cap="none" normalizeH="0" baseline="0">
                        <a:ln>
                          <a:noFill/>
                        </a:ln>
                        <a:solidFill>
                          <a:schemeClr val="accent3"/>
                        </a:solidFill>
                        <a:effectLst/>
                        <a:latin typeface="Verdana" charset="0"/>
                        <a:ea typeface="Verdana" charset="0"/>
                        <a:cs typeface="Verdana" charset="0"/>
                      </a:endParaRPr>
                    </a:p>
                  </a:txBody>
                  <a:tcPr marL="52789" marR="52789" marT="34962" marB="34962" anchor="ctr" horzOverflow="overflow">
                    <a:lnL w="12700" cmpd="sng">
                      <a:noFill/>
                    </a:lnL>
                    <a:lnR w="12700" cmpd="sng">
                      <a:noFill/>
                    </a:lnR>
                    <a:lnT w="12700" cap="flat" cmpd="sng" algn="ctr">
                      <a:solidFill>
                        <a:srgbClr val="F4F4F4">
                          <a:lumMod val="75000"/>
                        </a:srgb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2" name="Group 1"/>
          <p:cNvGrpSpPr/>
          <p:nvPr/>
        </p:nvGrpSpPr>
        <p:grpSpPr>
          <a:xfrm>
            <a:off x="605367" y="1698959"/>
            <a:ext cx="778933" cy="324295"/>
            <a:chOff x="440437" y="2493976"/>
            <a:chExt cx="934720" cy="389154"/>
          </a:xfrm>
        </p:grpSpPr>
        <p:sp>
          <p:nvSpPr>
            <p:cNvPr id="12" name="Oval 11">
              <a:extLst>
                <a:ext uri="{FF2B5EF4-FFF2-40B4-BE49-F238E27FC236}">
                  <a16:creationId xmlns:a16="http://schemas.microsoft.com/office/drawing/2014/main" id="{4830AF25-5BC3-4149-AC00-D051B359FF13}"/>
                </a:ext>
              </a:extLst>
            </p:cNvPr>
            <p:cNvSpPr/>
            <p:nvPr/>
          </p:nvSpPr>
          <p:spPr bwMode="auto">
            <a:xfrm>
              <a:off x="719838" y="2493976"/>
              <a:ext cx="369332" cy="369332"/>
            </a:xfrm>
            <a:prstGeom prst="ellipse">
              <a:avLst/>
            </a:prstGeom>
            <a:solidFill>
              <a:schemeClr val="accent1"/>
            </a:solidFill>
            <a:ln w="31750" cap="flat" cmpd="sng" algn="ctr">
              <a:solidFill>
                <a:schemeClr val="accent1"/>
              </a:solid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algn="ctr" defTabSz="761970" fontAlgn="base">
                <a:spcBef>
                  <a:spcPct val="0"/>
                </a:spcBef>
                <a:spcAft>
                  <a:spcPct val="0"/>
                </a:spcAft>
              </a:pPr>
              <a:endParaRPr lang="en-US" sz="2667" err="1">
                <a:solidFill>
                  <a:schemeClr val="accent1"/>
                </a:solidFill>
                <a:latin typeface="Verdana" charset="0"/>
                <a:ea typeface="Verdana" charset="0"/>
                <a:cs typeface="Verdana" charset="0"/>
                <a:sym typeface="Arial" pitchFamily="-110" charset="0"/>
              </a:endParaRPr>
            </a:p>
          </p:txBody>
        </p:sp>
        <p:sp>
          <p:nvSpPr>
            <p:cNvPr id="28" name="TextBox 27">
              <a:extLst>
                <a:ext uri="{FF2B5EF4-FFF2-40B4-BE49-F238E27FC236}">
                  <a16:creationId xmlns:a16="http://schemas.microsoft.com/office/drawing/2014/main" id="{D393286C-E078-4B47-A061-19DCE4A84124}"/>
                </a:ext>
              </a:extLst>
            </p:cNvPr>
            <p:cNvSpPr txBox="1"/>
            <p:nvPr/>
          </p:nvSpPr>
          <p:spPr>
            <a:xfrm>
              <a:off x="440437" y="2495332"/>
              <a:ext cx="934720" cy="387798"/>
            </a:xfrm>
            <a:prstGeom prst="rect">
              <a:avLst/>
            </a:prstGeom>
            <a:noFill/>
          </p:spPr>
          <p:txBody>
            <a:bodyPr wrap="square" rtlCol="0">
              <a:spAutoFit/>
            </a:bodyPr>
            <a:lstStyle/>
            <a:p>
              <a:pPr algn="ctr"/>
              <a:r>
                <a:rPr lang="en-US" sz="1500" b="1">
                  <a:solidFill>
                    <a:schemeClr val="bg1"/>
                  </a:solidFill>
                  <a:latin typeface="Verdana" charset="0"/>
                  <a:ea typeface="Verdana" charset="0"/>
                  <a:cs typeface="Verdana" charset="0"/>
                </a:rPr>
                <a:t>1</a:t>
              </a:r>
            </a:p>
          </p:txBody>
        </p:sp>
      </p:grpSp>
      <p:grpSp>
        <p:nvGrpSpPr>
          <p:cNvPr id="4" name="Group 3"/>
          <p:cNvGrpSpPr/>
          <p:nvPr/>
        </p:nvGrpSpPr>
        <p:grpSpPr>
          <a:xfrm>
            <a:off x="605367" y="2486466"/>
            <a:ext cx="778933" cy="307777"/>
            <a:chOff x="430389" y="3446599"/>
            <a:chExt cx="934720" cy="369332"/>
          </a:xfrm>
        </p:grpSpPr>
        <p:sp>
          <p:nvSpPr>
            <p:cNvPr id="18" name="Oval 17">
              <a:extLst>
                <a:ext uri="{FF2B5EF4-FFF2-40B4-BE49-F238E27FC236}">
                  <a16:creationId xmlns:a16="http://schemas.microsoft.com/office/drawing/2014/main" id="{4830AF25-5BC3-4149-AC00-D051B359FF13}"/>
                </a:ext>
              </a:extLst>
            </p:cNvPr>
            <p:cNvSpPr/>
            <p:nvPr/>
          </p:nvSpPr>
          <p:spPr bwMode="auto">
            <a:xfrm>
              <a:off x="709790" y="3446599"/>
              <a:ext cx="369332" cy="369332"/>
            </a:xfrm>
            <a:prstGeom prst="ellipse">
              <a:avLst/>
            </a:prstGeom>
            <a:solidFill>
              <a:schemeClr val="accent1"/>
            </a:solidFill>
            <a:ln w="31750" cap="flat" cmpd="sng" algn="ctr">
              <a:solidFill>
                <a:schemeClr val="accent1"/>
              </a:solid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algn="ctr" defTabSz="761970" fontAlgn="base">
                <a:spcBef>
                  <a:spcPct val="0"/>
                </a:spcBef>
                <a:spcAft>
                  <a:spcPct val="0"/>
                </a:spcAft>
              </a:pPr>
              <a:endParaRPr lang="en-US" sz="2667" err="1">
                <a:solidFill>
                  <a:schemeClr val="accent1"/>
                </a:solidFill>
                <a:latin typeface="Verdana" charset="0"/>
                <a:ea typeface="Verdana" charset="0"/>
                <a:cs typeface="Verdana" charset="0"/>
                <a:sym typeface="Arial" pitchFamily="-110" charset="0"/>
              </a:endParaRPr>
            </a:p>
          </p:txBody>
        </p:sp>
        <p:sp>
          <p:nvSpPr>
            <p:cNvPr id="31" name="TextBox 30">
              <a:extLst>
                <a:ext uri="{FF2B5EF4-FFF2-40B4-BE49-F238E27FC236}">
                  <a16:creationId xmlns:a16="http://schemas.microsoft.com/office/drawing/2014/main" id="{D393286C-E078-4B47-A061-19DCE4A84124}"/>
                </a:ext>
              </a:extLst>
            </p:cNvPr>
            <p:cNvSpPr txBox="1"/>
            <p:nvPr/>
          </p:nvSpPr>
          <p:spPr>
            <a:xfrm>
              <a:off x="430389" y="3447955"/>
              <a:ext cx="934720" cy="356944"/>
            </a:xfrm>
            <a:prstGeom prst="rect">
              <a:avLst/>
            </a:prstGeom>
            <a:noFill/>
          </p:spPr>
          <p:txBody>
            <a:bodyPr wrap="square" rtlCol="0">
              <a:spAutoFit/>
            </a:bodyPr>
            <a:lstStyle/>
            <a:p>
              <a:pPr algn="ctr"/>
              <a:r>
                <a:rPr lang="en-US" sz="1333" b="1">
                  <a:solidFill>
                    <a:schemeClr val="bg1"/>
                  </a:solidFill>
                  <a:latin typeface="Verdana" charset="0"/>
                  <a:ea typeface="Verdana" charset="0"/>
                  <a:cs typeface="Verdana" charset="0"/>
                </a:rPr>
                <a:t>2</a:t>
              </a:r>
            </a:p>
          </p:txBody>
        </p:sp>
      </p:grpSp>
      <p:grpSp>
        <p:nvGrpSpPr>
          <p:cNvPr id="7" name="Group 6"/>
          <p:cNvGrpSpPr/>
          <p:nvPr/>
        </p:nvGrpSpPr>
        <p:grpSpPr>
          <a:xfrm>
            <a:off x="605367" y="3272837"/>
            <a:ext cx="778933" cy="324295"/>
            <a:chOff x="430389" y="4293375"/>
            <a:chExt cx="934720" cy="389154"/>
          </a:xfrm>
        </p:grpSpPr>
        <p:sp>
          <p:nvSpPr>
            <p:cNvPr id="21" name="Oval 20">
              <a:extLst>
                <a:ext uri="{FF2B5EF4-FFF2-40B4-BE49-F238E27FC236}">
                  <a16:creationId xmlns:a16="http://schemas.microsoft.com/office/drawing/2014/main" id="{4830AF25-5BC3-4149-AC00-D051B359FF13}"/>
                </a:ext>
              </a:extLst>
            </p:cNvPr>
            <p:cNvSpPr/>
            <p:nvPr/>
          </p:nvSpPr>
          <p:spPr bwMode="auto">
            <a:xfrm>
              <a:off x="709790" y="4293375"/>
              <a:ext cx="369332" cy="369332"/>
            </a:xfrm>
            <a:prstGeom prst="ellipse">
              <a:avLst/>
            </a:prstGeom>
            <a:solidFill>
              <a:schemeClr val="accent1"/>
            </a:solidFill>
            <a:ln w="31750" cap="flat" cmpd="sng" algn="ctr">
              <a:solidFill>
                <a:schemeClr val="accent1"/>
              </a:solid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algn="ctr" defTabSz="761970" fontAlgn="base">
                <a:spcBef>
                  <a:spcPct val="0"/>
                </a:spcBef>
                <a:spcAft>
                  <a:spcPct val="0"/>
                </a:spcAft>
              </a:pPr>
              <a:endParaRPr lang="en-US" sz="2667" err="1">
                <a:solidFill>
                  <a:schemeClr val="accent1"/>
                </a:solidFill>
                <a:latin typeface="Verdana" charset="0"/>
                <a:ea typeface="Verdana" charset="0"/>
                <a:cs typeface="Verdana" charset="0"/>
                <a:sym typeface="Arial" pitchFamily="-110" charset="0"/>
              </a:endParaRPr>
            </a:p>
          </p:txBody>
        </p:sp>
        <p:sp>
          <p:nvSpPr>
            <p:cNvPr id="32" name="TextBox 31">
              <a:extLst>
                <a:ext uri="{FF2B5EF4-FFF2-40B4-BE49-F238E27FC236}">
                  <a16:creationId xmlns:a16="http://schemas.microsoft.com/office/drawing/2014/main" id="{D393286C-E078-4B47-A061-19DCE4A84124}"/>
                </a:ext>
              </a:extLst>
            </p:cNvPr>
            <p:cNvSpPr txBox="1"/>
            <p:nvPr/>
          </p:nvSpPr>
          <p:spPr>
            <a:xfrm>
              <a:off x="430389" y="4294731"/>
              <a:ext cx="934720" cy="387798"/>
            </a:xfrm>
            <a:prstGeom prst="rect">
              <a:avLst/>
            </a:prstGeom>
            <a:noFill/>
          </p:spPr>
          <p:txBody>
            <a:bodyPr wrap="square" rtlCol="0">
              <a:spAutoFit/>
            </a:bodyPr>
            <a:lstStyle/>
            <a:p>
              <a:pPr algn="ctr"/>
              <a:r>
                <a:rPr lang="en-US" sz="1500" b="1">
                  <a:solidFill>
                    <a:schemeClr val="bg1"/>
                  </a:solidFill>
                  <a:latin typeface="Verdana" charset="0"/>
                  <a:ea typeface="Verdana" charset="0"/>
                  <a:cs typeface="Verdana" charset="0"/>
                </a:rPr>
                <a:t>3</a:t>
              </a:r>
            </a:p>
          </p:txBody>
        </p:sp>
      </p:grpSp>
      <p:grpSp>
        <p:nvGrpSpPr>
          <p:cNvPr id="13" name="Group 12"/>
          <p:cNvGrpSpPr/>
          <p:nvPr/>
        </p:nvGrpSpPr>
        <p:grpSpPr>
          <a:xfrm>
            <a:off x="605367" y="4060341"/>
            <a:ext cx="778933" cy="324295"/>
            <a:chOff x="430389" y="5140150"/>
            <a:chExt cx="934720" cy="389154"/>
          </a:xfrm>
        </p:grpSpPr>
        <p:sp>
          <p:nvSpPr>
            <p:cNvPr id="24" name="Oval 23">
              <a:extLst>
                <a:ext uri="{FF2B5EF4-FFF2-40B4-BE49-F238E27FC236}">
                  <a16:creationId xmlns:a16="http://schemas.microsoft.com/office/drawing/2014/main" id="{4830AF25-5BC3-4149-AC00-D051B359FF13}"/>
                </a:ext>
              </a:extLst>
            </p:cNvPr>
            <p:cNvSpPr/>
            <p:nvPr/>
          </p:nvSpPr>
          <p:spPr bwMode="auto">
            <a:xfrm>
              <a:off x="709790" y="5140150"/>
              <a:ext cx="369332" cy="369332"/>
            </a:xfrm>
            <a:prstGeom prst="ellipse">
              <a:avLst/>
            </a:prstGeom>
            <a:solidFill>
              <a:schemeClr val="accent1"/>
            </a:solidFill>
            <a:ln w="31750" cap="flat" cmpd="sng" algn="ctr">
              <a:solidFill>
                <a:schemeClr val="accent1"/>
              </a:solid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algn="ctr" defTabSz="761970" fontAlgn="base">
                <a:spcBef>
                  <a:spcPct val="0"/>
                </a:spcBef>
                <a:spcAft>
                  <a:spcPct val="0"/>
                </a:spcAft>
              </a:pPr>
              <a:endParaRPr lang="en-US" sz="2667" err="1">
                <a:solidFill>
                  <a:schemeClr val="accent1"/>
                </a:solidFill>
                <a:latin typeface="Verdana" charset="0"/>
                <a:ea typeface="Verdana" charset="0"/>
                <a:cs typeface="Verdana" charset="0"/>
                <a:sym typeface="Arial" pitchFamily="-110" charset="0"/>
              </a:endParaRPr>
            </a:p>
          </p:txBody>
        </p:sp>
        <p:sp>
          <p:nvSpPr>
            <p:cNvPr id="33" name="TextBox 32">
              <a:extLst>
                <a:ext uri="{FF2B5EF4-FFF2-40B4-BE49-F238E27FC236}">
                  <a16:creationId xmlns:a16="http://schemas.microsoft.com/office/drawing/2014/main" id="{D393286C-E078-4B47-A061-19DCE4A84124}"/>
                </a:ext>
              </a:extLst>
            </p:cNvPr>
            <p:cNvSpPr txBox="1"/>
            <p:nvPr/>
          </p:nvSpPr>
          <p:spPr>
            <a:xfrm>
              <a:off x="430389" y="5141506"/>
              <a:ext cx="934720" cy="387798"/>
            </a:xfrm>
            <a:prstGeom prst="rect">
              <a:avLst/>
            </a:prstGeom>
            <a:noFill/>
          </p:spPr>
          <p:txBody>
            <a:bodyPr wrap="square" rtlCol="0">
              <a:spAutoFit/>
            </a:bodyPr>
            <a:lstStyle/>
            <a:p>
              <a:pPr algn="ctr"/>
              <a:r>
                <a:rPr lang="en-US" sz="1500" b="1">
                  <a:solidFill>
                    <a:schemeClr val="bg1"/>
                  </a:solidFill>
                  <a:latin typeface="Verdana" charset="0"/>
                  <a:ea typeface="Verdana" charset="0"/>
                  <a:cs typeface="Verdana" charset="0"/>
                </a:rPr>
                <a:t>4</a:t>
              </a:r>
            </a:p>
          </p:txBody>
        </p:sp>
      </p:grpSp>
      <p:sp>
        <p:nvSpPr>
          <p:cNvPr id="3" name="Slide Number Placeholder 2">
            <a:extLst>
              <a:ext uri="{FF2B5EF4-FFF2-40B4-BE49-F238E27FC236}">
                <a16:creationId xmlns:a16="http://schemas.microsoft.com/office/drawing/2014/main" id="{6B8F6D81-7F18-EA49-8475-05EF655699AA}"/>
              </a:ext>
            </a:extLst>
          </p:cNvPr>
          <p:cNvSpPr>
            <a:spLocks noGrp="1"/>
          </p:cNvSpPr>
          <p:nvPr>
            <p:ph type="sldNum" sz="quarter" idx="4"/>
          </p:nvPr>
        </p:nvSpPr>
        <p:spPr/>
        <p:txBody>
          <a:bodyPr/>
          <a:lstStyle/>
          <a:p>
            <a:fld id="{AD816501-AAE5-214E-B100-00C3DC5F5E3F}" type="slidenum">
              <a:rPr lang="en-US" smtClean="0"/>
              <a:pPr/>
              <a:t>2</a:t>
            </a:fld>
            <a:endParaRPr lang="en-US"/>
          </a:p>
        </p:txBody>
      </p:sp>
      <p:grpSp>
        <p:nvGrpSpPr>
          <p:cNvPr id="35" name="Group 34">
            <a:extLst>
              <a:ext uri="{FF2B5EF4-FFF2-40B4-BE49-F238E27FC236}">
                <a16:creationId xmlns:a16="http://schemas.microsoft.com/office/drawing/2014/main" id="{52E295D3-0469-8621-EF23-14254748E19F}"/>
              </a:ext>
            </a:extLst>
          </p:cNvPr>
          <p:cNvGrpSpPr/>
          <p:nvPr/>
        </p:nvGrpSpPr>
        <p:grpSpPr>
          <a:xfrm>
            <a:off x="6654559" y="1698959"/>
            <a:ext cx="778933" cy="324295"/>
            <a:chOff x="440437" y="2493976"/>
            <a:chExt cx="934720" cy="389154"/>
          </a:xfrm>
        </p:grpSpPr>
        <p:sp>
          <p:nvSpPr>
            <p:cNvPr id="36" name="Oval 35">
              <a:extLst>
                <a:ext uri="{FF2B5EF4-FFF2-40B4-BE49-F238E27FC236}">
                  <a16:creationId xmlns:a16="http://schemas.microsoft.com/office/drawing/2014/main" id="{8D6D5957-9AA5-F233-2322-6EB9BFCFEC93}"/>
                </a:ext>
              </a:extLst>
            </p:cNvPr>
            <p:cNvSpPr/>
            <p:nvPr/>
          </p:nvSpPr>
          <p:spPr bwMode="auto">
            <a:xfrm>
              <a:off x="719838" y="2493976"/>
              <a:ext cx="369332" cy="369332"/>
            </a:xfrm>
            <a:prstGeom prst="ellipse">
              <a:avLst/>
            </a:prstGeom>
            <a:solidFill>
              <a:schemeClr val="accent1"/>
            </a:solidFill>
            <a:ln w="31750" cap="flat" cmpd="sng" algn="ctr">
              <a:solidFill>
                <a:schemeClr val="accent1"/>
              </a:solid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algn="ctr" defTabSz="761970" fontAlgn="base">
                <a:spcBef>
                  <a:spcPct val="0"/>
                </a:spcBef>
                <a:spcAft>
                  <a:spcPct val="0"/>
                </a:spcAft>
              </a:pPr>
              <a:endParaRPr lang="en-US" sz="2667" err="1">
                <a:solidFill>
                  <a:schemeClr val="accent1"/>
                </a:solidFill>
                <a:latin typeface="Verdana" charset="0"/>
                <a:ea typeface="Verdana" charset="0"/>
                <a:cs typeface="Verdana" charset="0"/>
                <a:sym typeface="Arial" pitchFamily="-110" charset="0"/>
              </a:endParaRPr>
            </a:p>
          </p:txBody>
        </p:sp>
        <p:sp>
          <p:nvSpPr>
            <p:cNvPr id="37" name="TextBox 36">
              <a:extLst>
                <a:ext uri="{FF2B5EF4-FFF2-40B4-BE49-F238E27FC236}">
                  <a16:creationId xmlns:a16="http://schemas.microsoft.com/office/drawing/2014/main" id="{632FEDC3-16D3-E0C8-B91C-85B761B2CEC1}"/>
                </a:ext>
              </a:extLst>
            </p:cNvPr>
            <p:cNvSpPr txBox="1"/>
            <p:nvPr/>
          </p:nvSpPr>
          <p:spPr>
            <a:xfrm>
              <a:off x="440437" y="2495332"/>
              <a:ext cx="934720" cy="387798"/>
            </a:xfrm>
            <a:prstGeom prst="rect">
              <a:avLst/>
            </a:prstGeom>
            <a:noFill/>
          </p:spPr>
          <p:txBody>
            <a:bodyPr wrap="square" rtlCol="0">
              <a:spAutoFit/>
            </a:bodyPr>
            <a:lstStyle/>
            <a:p>
              <a:pPr algn="ctr"/>
              <a:r>
                <a:rPr lang="en-US" sz="1500" b="1">
                  <a:solidFill>
                    <a:schemeClr val="bg1"/>
                  </a:solidFill>
                  <a:latin typeface="Verdana" charset="0"/>
                  <a:ea typeface="Verdana" charset="0"/>
                  <a:cs typeface="Verdana" charset="0"/>
                </a:rPr>
                <a:t>5</a:t>
              </a:r>
            </a:p>
          </p:txBody>
        </p:sp>
      </p:grpSp>
      <p:grpSp>
        <p:nvGrpSpPr>
          <p:cNvPr id="38" name="Group 37">
            <a:extLst>
              <a:ext uri="{FF2B5EF4-FFF2-40B4-BE49-F238E27FC236}">
                <a16:creationId xmlns:a16="http://schemas.microsoft.com/office/drawing/2014/main" id="{F9639DA9-7500-430D-907A-30EC27E9E82D}"/>
              </a:ext>
            </a:extLst>
          </p:cNvPr>
          <p:cNvGrpSpPr/>
          <p:nvPr/>
        </p:nvGrpSpPr>
        <p:grpSpPr>
          <a:xfrm>
            <a:off x="6654559" y="2486466"/>
            <a:ext cx="778933" cy="307777"/>
            <a:chOff x="430389" y="3446599"/>
            <a:chExt cx="934720" cy="369332"/>
          </a:xfrm>
        </p:grpSpPr>
        <p:sp>
          <p:nvSpPr>
            <p:cNvPr id="39" name="Oval 38">
              <a:extLst>
                <a:ext uri="{FF2B5EF4-FFF2-40B4-BE49-F238E27FC236}">
                  <a16:creationId xmlns:a16="http://schemas.microsoft.com/office/drawing/2014/main" id="{9C9F5482-B87B-C456-E6B3-BCDC9FB433EB}"/>
                </a:ext>
              </a:extLst>
            </p:cNvPr>
            <p:cNvSpPr/>
            <p:nvPr/>
          </p:nvSpPr>
          <p:spPr bwMode="auto">
            <a:xfrm>
              <a:off x="709790" y="3446599"/>
              <a:ext cx="369332" cy="369332"/>
            </a:xfrm>
            <a:prstGeom prst="ellipse">
              <a:avLst/>
            </a:prstGeom>
            <a:solidFill>
              <a:schemeClr val="accent1"/>
            </a:solidFill>
            <a:ln w="31750" cap="flat" cmpd="sng" algn="ctr">
              <a:solidFill>
                <a:schemeClr val="accent1"/>
              </a:solid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algn="ctr" defTabSz="761970" fontAlgn="base">
                <a:spcBef>
                  <a:spcPct val="0"/>
                </a:spcBef>
                <a:spcAft>
                  <a:spcPct val="0"/>
                </a:spcAft>
              </a:pPr>
              <a:endParaRPr lang="en-US" sz="2667" err="1">
                <a:solidFill>
                  <a:schemeClr val="accent1"/>
                </a:solidFill>
                <a:latin typeface="Verdana" charset="0"/>
                <a:ea typeface="Verdana" charset="0"/>
                <a:cs typeface="Verdana" charset="0"/>
                <a:sym typeface="Arial" pitchFamily="-110" charset="0"/>
              </a:endParaRPr>
            </a:p>
          </p:txBody>
        </p:sp>
        <p:sp>
          <p:nvSpPr>
            <p:cNvPr id="40" name="TextBox 39">
              <a:extLst>
                <a:ext uri="{FF2B5EF4-FFF2-40B4-BE49-F238E27FC236}">
                  <a16:creationId xmlns:a16="http://schemas.microsoft.com/office/drawing/2014/main" id="{3C019E35-E937-90D6-7568-50027223B7E7}"/>
                </a:ext>
              </a:extLst>
            </p:cNvPr>
            <p:cNvSpPr txBox="1"/>
            <p:nvPr/>
          </p:nvSpPr>
          <p:spPr>
            <a:xfrm>
              <a:off x="430389" y="3447955"/>
              <a:ext cx="934720" cy="356944"/>
            </a:xfrm>
            <a:prstGeom prst="rect">
              <a:avLst/>
            </a:prstGeom>
            <a:noFill/>
          </p:spPr>
          <p:txBody>
            <a:bodyPr wrap="square" rtlCol="0">
              <a:spAutoFit/>
            </a:bodyPr>
            <a:lstStyle/>
            <a:p>
              <a:pPr algn="ctr"/>
              <a:r>
                <a:rPr lang="en-US" sz="1333" b="1">
                  <a:solidFill>
                    <a:schemeClr val="bg1"/>
                  </a:solidFill>
                  <a:latin typeface="Verdana" charset="0"/>
                  <a:ea typeface="Verdana" charset="0"/>
                  <a:cs typeface="Verdana" charset="0"/>
                </a:rPr>
                <a:t>6</a:t>
              </a:r>
            </a:p>
          </p:txBody>
        </p:sp>
      </p:grpSp>
      <p:grpSp>
        <p:nvGrpSpPr>
          <p:cNvPr id="41" name="Group 40">
            <a:extLst>
              <a:ext uri="{FF2B5EF4-FFF2-40B4-BE49-F238E27FC236}">
                <a16:creationId xmlns:a16="http://schemas.microsoft.com/office/drawing/2014/main" id="{D54FB626-9EDC-C13E-9951-B4907440DBEA}"/>
              </a:ext>
            </a:extLst>
          </p:cNvPr>
          <p:cNvGrpSpPr/>
          <p:nvPr/>
        </p:nvGrpSpPr>
        <p:grpSpPr>
          <a:xfrm>
            <a:off x="6654559" y="3272837"/>
            <a:ext cx="778933" cy="324295"/>
            <a:chOff x="430389" y="4293375"/>
            <a:chExt cx="934720" cy="389154"/>
          </a:xfrm>
        </p:grpSpPr>
        <p:sp>
          <p:nvSpPr>
            <p:cNvPr id="42" name="Oval 41">
              <a:extLst>
                <a:ext uri="{FF2B5EF4-FFF2-40B4-BE49-F238E27FC236}">
                  <a16:creationId xmlns:a16="http://schemas.microsoft.com/office/drawing/2014/main" id="{261C3B55-1896-933D-8F3B-85F8EFBE2F07}"/>
                </a:ext>
              </a:extLst>
            </p:cNvPr>
            <p:cNvSpPr/>
            <p:nvPr/>
          </p:nvSpPr>
          <p:spPr bwMode="auto">
            <a:xfrm>
              <a:off x="709790" y="4293375"/>
              <a:ext cx="369332" cy="369332"/>
            </a:xfrm>
            <a:prstGeom prst="ellipse">
              <a:avLst/>
            </a:prstGeom>
            <a:solidFill>
              <a:schemeClr val="accent1"/>
            </a:solidFill>
            <a:ln w="31750" cap="flat" cmpd="sng" algn="ctr">
              <a:solidFill>
                <a:schemeClr val="accent1"/>
              </a:solidFill>
              <a:prstDash val="solid"/>
              <a:round/>
              <a:headEnd type="none" w="med" len="med"/>
              <a:tailEnd type="none" w="med" len="med"/>
            </a:ln>
            <a:effectLst/>
          </p:spPr>
          <p:txBody>
            <a:bodyPr vert="horz" wrap="square" lIns="76200" tIns="38100" rIns="76200" bIns="38100" numCol="1" rtlCol="0" anchor="ctr" anchorCtr="0" compatLnSpc="1">
              <a:prstTxWarp prst="textNoShape">
                <a:avLst/>
              </a:prstTxWarp>
            </a:bodyPr>
            <a:lstStyle/>
            <a:p>
              <a:pPr algn="ctr" defTabSz="761970" fontAlgn="base">
                <a:spcBef>
                  <a:spcPct val="0"/>
                </a:spcBef>
                <a:spcAft>
                  <a:spcPct val="0"/>
                </a:spcAft>
              </a:pPr>
              <a:endParaRPr lang="en-US" sz="2667" err="1">
                <a:solidFill>
                  <a:schemeClr val="accent1"/>
                </a:solidFill>
                <a:latin typeface="Verdana" charset="0"/>
                <a:ea typeface="Verdana" charset="0"/>
                <a:cs typeface="Verdana" charset="0"/>
                <a:sym typeface="Arial" pitchFamily="-110" charset="0"/>
              </a:endParaRPr>
            </a:p>
          </p:txBody>
        </p:sp>
        <p:sp>
          <p:nvSpPr>
            <p:cNvPr id="43" name="TextBox 42">
              <a:extLst>
                <a:ext uri="{FF2B5EF4-FFF2-40B4-BE49-F238E27FC236}">
                  <a16:creationId xmlns:a16="http://schemas.microsoft.com/office/drawing/2014/main" id="{E8B24097-3D34-7B11-0BAA-707591783D4B}"/>
                </a:ext>
              </a:extLst>
            </p:cNvPr>
            <p:cNvSpPr txBox="1"/>
            <p:nvPr/>
          </p:nvSpPr>
          <p:spPr>
            <a:xfrm>
              <a:off x="430389" y="4294731"/>
              <a:ext cx="934720" cy="387798"/>
            </a:xfrm>
            <a:prstGeom prst="rect">
              <a:avLst/>
            </a:prstGeom>
            <a:noFill/>
          </p:spPr>
          <p:txBody>
            <a:bodyPr wrap="square" rtlCol="0">
              <a:spAutoFit/>
            </a:bodyPr>
            <a:lstStyle/>
            <a:p>
              <a:pPr algn="ctr"/>
              <a:r>
                <a:rPr lang="en-US" sz="1500" b="1">
                  <a:solidFill>
                    <a:schemeClr val="bg1"/>
                  </a:solidFill>
                  <a:latin typeface="Verdana" charset="0"/>
                  <a:ea typeface="Verdana" charset="0"/>
                  <a:cs typeface="Verdana" charset="0"/>
                </a:rPr>
                <a:t>7</a:t>
              </a:r>
            </a:p>
          </p:txBody>
        </p:sp>
      </p:grpSp>
    </p:spTree>
    <p:extLst>
      <p:ext uri="{BB962C8B-B14F-4D97-AF65-F5344CB8AC3E}">
        <p14:creationId xmlns:p14="http://schemas.microsoft.com/office/powerpoint/2010/main" val="33722760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81986C-938E-4D68-A098-FC5A6D1E0D7D}"/>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A2C28546-75FA-2288-66B9-4B38EAB2ED54}"/>
              </a:ext>
            </a:extLst>
          </p:cNvPr>
          <p:cNvSpPr txBox="1"/>
          <p:nvPr/>
        </p:nvSpPr>
        <p:spPr>
          <a:xfrm>
            <a:off x="-9341" y="-1147"/>
            <a:ext cx="12192000" cy="6858000"/>
          </a:xfrm>
          <a:prstGeom prst="rect">
            <a:avLst/>
          </a:prstGeom>
          <a:gradFill>
            <a:gsLst>
              <a:gs pos="0">
                <a:schemeClr val="accent1">
                  <a:lumMod val="20000"/>
                  <a:lumOff val="80000"/>
                  <a:alpha val="41000"/>
                </a:schemeClr>
              </a:gs>
              <a:gs pos="100000">
                <a:schemeClr val="accent2">
                  <a:lumMod val="10000"/>
                  <a:lumOff val="90000"/>
                  <a:alpha val="35000"/>
                </a:schemeClr>
              </a:gs>
            </a:gsLst>
            <a:lin ang="16200000" scaled="0"/>
          </a:gradFill>
          <a:ln w="12700" cap="sq">
            <a:noFill/>
            <a:miter/>
          </a:ln>
        </p:spPr>
        <p:txBody>
          <a:bodyPr vert="horz" wrap="square" lIns="91440" tIns="45720" rIns="91440" bIns="45720" rtlCol="0" anchor="ctr"/>
          <a:lstStyle/>
          <a:p>
            <a:pPr algn="ctr">
              <a:lnSpc>
                <a:spcPct val="110000"/>
              </a:lnSpc>
            </a:pPr>
            <a:endParaRPr kumimoji="1" lang="zh-CN" altLang="en-US">
              <a:latin typeface="Calibri" panose="020F0502020204030204" pitchFamily="34" charset="0"/>
              <a:cs typeface="Calibri" panose="020F0502020204030204" pitchFamily="34" charset="0"/>
            </a:endParaRPr>
          </a:p>
        </p:txBody>
      </p:sp>
      <p:pic>
        <p:nvPicPr>
          <p:cNvPr id="3" name="图片 2">
            <a:extLst>
              <a:ext uri="{FF2B5EF4-FFF2-40B4-BE49-F238E27FC236}">
                <a16:creationId xmlns:a16="http://schemas.microsoft.com/office/drawing/2014/main" id="{63948A48-2390-D514-ECED-06652FC4C43A}"/>
              </a:ext>
            </a:extLst>
          </p:cNvPr>
          <p:cNvPicPr>
            <a:picLocks noChangeAspect="1"/>
          </p:cNvPicPr>
          <p:nvPr/>
        </p:nvPicPr>
        <p:blipFill>
          <a:blip r:embed="rId3">
            <a:alphaModFix/>
          </a:blip>
          <a:srcRect/>
          <a:stretch>
            <a:fillRect/>
          </a:stretch>
        </p:blipFill>
        <p:spPr>
          <a:xfrm>
            <a:off x="469900" y="1264865"/>
            <a:ext cx="11152409" cy="2044811"/>
          </a:xfrm>
          <a:prstGeom prst="rect">
            <a:avLst/>
          </a:prstGeom>
        </p:spPr>
      </p:pic>
      <p:sp>
        <p:nvSpPr>
          <p:cNvPr id="4" name="标题 1">
            <a:extLst>
              <a:ext uri="{FF2B5EF4-FFF2-40B4-BE49-F238E27FC236}">
                <a16:creationId xmlns:a16="http://schemas.microsoft.com/office/drawing/2014/main" id="{B6D18C57-DAE8-67D4-A8C9-60BFB71B45AF}"/>
              </a:ext>
            </a:extLst>
          </p:cNvPr>
          <p:cNvSpPr txBox="1"/>
          <p:nvPr/>
        </p:nvSpPr>
        <p:spPr>
          <a:xfrm>
            <a:off x="441960" y="1266822"/>
            <a:ext cx="11201400" cy="2055500"/>
          </a:xfrm>
          <a:prstGeom prst="roundRect">
            <a:avLst>
              <a:gd name="adj" fmla="val 6800"/>
            </a:avLst>
          </a:prstGeom>
          <a:solidFill>
            <a:schemeClr val="accent1">
              <a:alpha val="80000"/>
            </a:schemeClr>
          </a:solidFill>
          <a:ln w="12700" cap="flat">
            <a:noFill/>
            <a:miter/>
          </a:ln>
          <a:effectLst/>
        </p:spPr>
        <p:txBody>
          <a:bodyPr vert="horz" wrap="square" lIns="91440" tIns="45720" rIns="91440" bIns="45720" rtlCol="0" anchor="ctr"/>
          <a:lstStyle/>
          <a:p>
            <a:pPr algn="ctr">
              <a:lnSpc>
                <a:spcPct val="110000"/>
              </a:lnSpc>
            </a:pPr>
            <a:endParaRPr kumimoji="1" lang="zh-CN" altLang="en-US"/>
          </a:p>
        </p:txBody>
      </p:sp>
      <p:sp>
        <p:nvSpPr>
          <p:cNvPr id="5" name="标题 1">
            <a:extLst>
              <a:ext uri="{FF2B5EF4-FFF2-40B4-BE49-F238E27FC236}">
                <a16:creationId xmlns:a16="http://schemas.microsoft.com/office/drawing/2014/main" id="{A0BF93A9-0B43-B8DB-E9EE-69C111C7C91E}"/>
              </a:ext>
            </a:extLst>
          </p:cNvPr>
          <p:cNvSpPr txBox="1"/>
          <p:nvPr/>
        </p:nvSpPr>
        <p:spPr>
          <a:xfrm>
            <a:off x="438355" y="3492290"/>
            <a:ext cx="11100773" cy="585867"/>
          </a:xfrm>
          <a:prstGeom prst="rect">
            <a:avLst/>
          </a:prstGeom>
          <a:noFill/>
          <a:ln cap="sq">
            <a:noFill/>
          </a:ln>
          <a:effectLst/>
        </p:spPr>
        <p:txBody>
          <a:bodyPr vert="horz" wrap="square" lIns="64008" tIns="32004" rIns="64008" bIns="32004" rtlCol="0" anchor="ctr"/>
          <a:lstStyle/>
          <a:p>
            <a:pPr>
              <a:lnSpc>
                <a:spcPct val="110000"/>
              </a:lnSpc>
            </a:pPr>
            <a:r>
              <a:rPr kumimoji="1" lang="en-US" altLang="zh-CN" sz="1600">
                <a:ln w="12700">
                  <a:noFill/>
                </a:ln>
                <a:solidFill>
                  <a:srgbClr val="404040">
                    <a:alpha val="100000"/>
                  </a:srgbClr>
                </a:solidFill>
                <a:latin typeface="Johnson Text"/>
                <a:ea typeface="Calibri"/>
                <a:cs typeface="Calibri"/>
              </a:rPr>
              <a:t>Reproducibility is a critical aspect of any submission to health authorities (HAs), below are key considerations for ensuring reproducibility in submission with R deliverables:</a:t>
            </a:r>
            <a:endParaRPr kumimoji="1" lang="zh-CN" altLang="en-US" sz="1600">
              <a:latin typeface="Johnson Text"/>
              <a:cs typeface="Calibri"/>
            </a:endParaRPr>
          </a:p>
        </p:txBody>
      </p:sp>
      <p:sp>
        <p:nvSpPr>
          <p:cNvPr id="6" name="标题 1">
            <a:extLst>
              <a:ext uri="{FF2B5EF4-FFF2-40B4-BE49-F238E27FC236}">
                <a16:creationId xmlns:a16="http://schemas.microsoft.com/office/drawing/2014/main" id="{CC4559FA-EA09-21FC-6777-836425258FFB}"/>
              </a:ext>
            </a:extLst>
          </p:cNvPr>
          <p:cNvSpPr txBox="1"/>
          <p:nvPr/>
        </p:nvSpPr>
        <p:spPr>
          <a:xfrm>
            <a:off x="438912" y="4344994"/>
            <a:ext cx="11152408" cy="1807472"/>
          </a:xfrm>
          <a:prstGeom prst="rect">
            <a:avLst/>
          </a:prstGeom>
          <a:noFill/>
          <a:ln cap="sq">
            <a:noFill/>
          </a:ln>
        </p:spPr>
        <p:txBody>
          <a:bodyPr vert="horz" wrap="square" lIns="38102" tIns="38102" rIns="38102" bIns="38102" rtlCol="0" anchor="t"/>
          <a:lstStyle/>
          <a:p>
            <a:pPr marL="285750" indent="-285750">
              <a:lnSpc>
                <a:spcPct val="150000"/>
              </a:lnSpc>
              <a:buFont typeface="Arial" panose="020B0604020202020204" pitchFamily="34" charset="0"/>
              <a:buChar char="•"/>
            </a:pPr>
            <a:r>
              <a:rPr kumimoji="1" lang="en-US" altLang="zh-CN" sz="1600">
                <a:ln w="12700">
                  <a:noFill/>
                </a:ln>
                <a:solidFill>
                  <a:srgbClr val="404040">
                    <a:alpha val="100000"/>
                  </a:srgbClr>
                </a:solidFill>
                <a:latin typeface="Johnson Text"/>
                <a:ea typeface="Calibri"/>
                <a:cs typeface="Calibri"/>
              </a:rPr>
              <a:t>Good preparation of deliverables</a:t>
            </a:r>
          </a:p>
          <a:p>
            <a:pPr marL="285750" indent="-285750">
              <a:lnSpc>
                <a:spcPct val="150000"/>
              </a:lnSpc>
              <a:buFont typeface="Arial" panose="020B0604020202020204" pitchFamily="34" charset="0"/>
              <a:buChar char="•"/>
            </a:pPr>
            <a:r>
              <a:rPr kumimoji="1" lang="en-US" altLang="zh-CN" sz="1600">
                <a:ln w="12700">
                  <a:noFill/>
                </a:ln>
                <a:solidFill>
                  <a:srgbClr val="404040">
                    <a:alpha val="100000"/>
                  </a:srgbClr>
                </a:solidFill>
                <a:latin typeface="Johnson Text"/>
                <a:ea typeface="Calibri"/>
                <a:cs typeface="Calibri"/>
              </a:rPr>
              <a:t>Good documentation (ADRG)</a:t>
            </a:r>
          </a:p>
          <a:p>
            <a:pPr marL="285750" indent="-285750">
              <a:lnSpc>
                <a:spcPct val="150000"/>
              </a:lnSpc>
              <a:buFont typeface="Arial" panose="020B0604020202020204" pitchFamily="34" charset="0"/>
              <a:buChar char="•"/>
            </a:pPr>
            <a:r>
              <a:rPr kumimoji="1" lang="en-US" altLang="zh-CN" sz="1600">
                <a:ln w="12700">
                  <a:noFill/>
                </a:ln>
                <a:solidFill>
                  <a:srgbClr val="404040">
                    <a:alpha val="100000"/>
                  </a:srgbClr>
                </a:solidFill>
                <a:latin typeface="Johnson Text"/>
                <a:ea typeface="Calibri"/>
                <a:cs typeface="Calibri"/>
              </a:rPr>
              <a:t>Multi-peer review and testing before the submission</a:t>
            </a:r>
          </a:p>
          <a:p>
            <a:pPr marL="285750" indent="-285750">
              <a:lnSpc>
                <a:spcPct val="150000"/>
              </a:lnSpc>
              <a:buFont typeface="Arial" panose="020B0604020202020204" pitchFamily="34" charset="0"/>
              <a:buChar char="•"/>
            </a:pPr>
            <a:r>
              <a:rPr kumimoji="1" lang="en-US" altLang="zh-CN" sz="1600">
                <a:ln w="12700">
                  <a:noFill/>
                </a:ln>
                <a:solidFill>
                  <a:srgbClr val="404040">
                    <a:alpha val="100000"/>
                  </a:srgbClr>
                </a:solidFill>
                <a:latin typeface="Johnson Text"/>
                <a:ea typeface="Calibri"/>
                <a:cs typeface="Calibri"/>
              </a:rPr>
              <a:t>Collaboration with HAs to address reproducibility challenges</a:t>
            </a:r>
          </a:p>
        </p:txBody>
      </p:sp>
      <p:pic>
        <p:nvPicPr>
          <p:cNvPr id="9" name="图片 8">
            <a:extLst>
              <a:ext uri="{FF2B5EF4-FFF2-40B4-BE49-F238E27FC236}">
                <a16:creationId xmlns:a16="http://schemas.microsoft.com/office/drawing/2014/main" id="{8C6146FC-9CAF-41FD-C9E9-4C6BDCA8ADE3}"/>
              </a:ext>
            </a:extLst>
          </p:cNvPr>
          <p:cNvPicPr>
            <a:picLocks noChangeAspect="1"/>
          </p:cNvPicPr>
          <p:nvPr/>
        </p:nvPicPr>
        <p:blipFill>
          <a:blip r:embed="rId4">
            <a:alphaModFix/>
          </a:blip>
          <a:srcRect/>
          <a:stretch>
            <a:fillRect/>
          </a:stretch>
        </p:blipFill>
        <p:spPr>
          <a:xfrm>
            <a:off x="908934" y="1093965"/>
            <a:ext cx="2398532" cy="2408695"/>
          </a:xfrm>
          <a:prstGeom prst="rect">
            <a:avLst/>
          </a:prstGeom>
        </p:spPr>
      </p:pic>
      <p:sp>
        <p:nvSpPr>
          <p:cNvPr id="14" name="标题 1">
            <a:extLst>
              <a:ext uri="{FF2B5EF4-FFF2-40B4-BE49-F238E27FC236}">
                <a16:creationId xmlns:a16="http://schemas.microsoft.com/office/drawing/2014/main" id="{7C703609-78CB-B788-6A8B-26DC6C4407B0}"/>
              </a:ext>
            </a:extLst>
          </p:cNvPr>
          <p:cNvSpPr txBox="1"/>
          <p:nvPr/>
        </p:nvSpPr>
        <p:spPr>
          <a:xfrm>
            <a:off x="446049" y="416700"/>
            <a:ext cx="4680000" cy="612000"/>
          </a:xfrm>
          <a:prstGeom prst="rect">
            <a:avLst/>
          </a:prstGeom>
          <a:gradFill>
            <a:gsLst>
              <a:gs pos="0">
                <a:schemeClr val="accent1">
                  <a:lumMod val="20000"/>
                  <a:lumOff val="80000"/>
                </a:schemeClr>
              </a:gs>
              <a:gs pos="100000">
                <a:schemeClr val="bg1"/>
              </a:gs>
            </a:gsLst>
            <a:lin ang="0" scaled="0"/>
          </a:gradFill>
          <a:ln w="12700" cap="sq">
            <a:noFill/>
            <a:miter/>
          </a:ln>
        </p:spPr>
        <p:txBody>
          <a:bodyPr vert="horz" wrap="square" lIns="91440" tIns="45720" rIns="91440" bIns="45720" rtlCol="0" anchor="ctr"/>
          <a:lstStyle/>
          <a:p>
            <a:pPr algn="ctr">
              <a:lnSpc>
                <a:spcPct val="110000"/>
              </a:lnSpc>
            </a:pPr>
            <a:endParaRPr kumimoji="1" lang="zh-CN" altLang="en-US"/>
          </a:p>
        </p:txBody>
      </p:sp>
      <p:sp>
        <p:nvSpPr>
          <p:cNvPr id="15" name="标题 1">
            <a:extLst>
              <a:ext uri="{FF2B5EF4-FFF2-40B4-BE49-F238E27FC236}">
                <a16:creationId xmlns:a16="http://schemas.microsoft.com/office/drawing/2014/main" id="{48B0C43D-ED5A-7663-1343-E344ADF0640B}"/>
              </a:ext>
            </a:extLst>
          </p:cNvPr>
          <p:cNvSpPr txBox="1"/>
          <p:nvPr/>
        </p:nvSpPr>
        <p:spPr>
          <a:xfrm>
            <a:off x="660400" y="488700"/>
            <a:ext cx="10858500" cy="468000"/>
          </a:xfrm>
          <a:prstGeom prst="rect">
            <a:avLst/>
          </a:prstGeom>
          <a:noFill/>
          <a:ln>
            <a:noFill/>
          </a:ln>
        </p:spPr>
        <p:txBody>
          <a:bodyPr vert="horz" wrap="square" lIns="0" tIns="0" rIns="0" bIns="0" rtlCol="0" anchor="ctr"/>
          <a:lstStyle/>
          <a:p>
            <a:pPr>
              <a:lnSpc>
                <a:spcPct val="85000"/>
              </a:lnSpc>
              <a:spcBef>
                <a:spcPts val="600"/>
              </a:spcBef>
              <a:spcAft>
                <a:spcPts val="600"/>
              </a:spcAft>
            </a:pPr>
            <a:r>
              <a:rPr lang="en-US" altLang="zh-CN" sz="3500" b="1">
                <a:solidFill>
                  <a:schemeClr val="tx2"/>
                </a:solidFill>
                <a:latin typeface="+mj-lt"/>
                <a:ea typeface="+mj-ea"/>
                <a:cs typeface="+mj-cs"/>
              </a:rPr>
              <a:t>Introduction</a:t>
            </a:r>
            <a:endParaRPr lang="zh-CN" altLang="en-US" sz="3500" b="1">
              <a:solidFill>
                <a:schemeClr val="tx2"/>
              </a:solidFill>
              <a:latin typeface="+mj-lt"/>
              <a:ea typeface="+mj-ea"/>
              <a:cs typeface="+mj-cs"/>
            </a:endParaRPr>
          </a:p>
        </p:txBody>
      </p:sp>
    </p:spTree>
    <p:extLst>
      <p:ext uri="{BB962C8B-B14F-4D97-AF65-F5344CB8AC3E}">
        <p14:creationId xmlns:p14="http://schemas.microsoft.com/office/powerpoint/2010/main" val="10288174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2F0095-0284-4427-1B54-3CCF307AE22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AA7FE2C-9853-0516-46A2-AF193DCBB1BD}"/>
              </a:ext>
            </a:extLst>
          </p:cNvPr>
          <p:cNvSpPr>
            <a:spLocks noGrp="1"/>
          </p:cNvSpPr>
          <p:nvPr>
            <p:ph type="title"/>
          </p:nvPr>
        </p:nvSpPr>
        <p:spPr>
          <a:xfrm>
            <a:off x="288302" y="262267"/>
            <a:ext cx="7410945" cy="468590"/>
          </a:xfrm>
        </p:spPr>
        <p:txBody>
          <a:bodyPr/>
          <a:lstStyle/>
          <a:p>
            <a:r>
              <a:rPr lang="en-US" altLang="zh-CN" b="1"/>
              <a:t>Preliminary Steps</a:t>
            </a:r>
            <a:endParaRPr lang="en-BE" b="1"/>
          </a:p>
        </p:txBody>
      </p:sp>
      <p:sp>
        <p:nvSpPr>
          <p:cNvPr id="3" name="Content Placeholder 2">
            <a:extLst>
              <a:ext uri="{FF2B5EF4-FFF2-40B4-BE49-F238E27FC236}">
                <a16:creationId xmlns:a16="http://schemas.microsoft.com/office/drawing/2014/main" id="{02FE0827-2E46-0520-30DF-60510319B0D9}"/>
              </a:ext>
            </a:extLst>
          </p:cNvPr>
          <p:cNvSpPr>
            <a:spLocks noGrp="1"/>
          </p:cNvSpPr>
          <p:nvPr>
            <p:ph idx="1"/>
          </p:nvPr>
        </p:nvSpPr>
        <p:spPr>
          <a:xfrm>
            <a:off x="289384" y="1180188"/>
            <a:ext cx="11609391" cy="4786279"/>
          </a:xfrm>
        </p:spPr>
        <p:txBody>
          <a:bodyPr vert="horz" lIns="0" tIns="0" rIns="0" bIns="0" rtlCol="0" anchor="t">
            <a:noAutofit/>
          </a:bodyPr>
          <a:lstStyle/>
          <a:p>
            <a:pPr marL="628650" lvl="1" indent="-342900">
              <a:lnSpc>
                <a:spcPct val="105000"/>
              </a:lnSpc>
              <a:buFont typeface="Wingdings" panose="05000000000000000000" pitchFamily="2" charset="2"/>
              <a:buChar char="§"/>
            </a:pPr>
            <a:r>
              <a:rPr lang="en-AU">
                <a:solidFill>
                  <a:srgbClr val="FF0000"/>
                </a:solidFill>
                <a:latin typeface="Aptos"/>
              </a:rPr>
              <a:t>!!! </a:t>
            </a:r>
            <a:r>
              <a:rPr lang="en-AU">
                <a:latin typeface="Johnson Text"/>
              </a:rPr>
              <a:t>Communicate and inform HAs that (part of) the submission will be generated in R</a:t>
            </a:r>
          </a:p>
          <a:p>
            <a:pPr marL="628650" lvl="1" indent="-342900">
              <a:lnSpc>
                <a:spcPct val="105000"/>
              </a:lnSpc>
              <a:buFont typeface="Wingdings" panose="05000000000000000000" pitchFamily="2" charset="2"/>
              <a:buChar char="§"/>
            </a:pPr>
            <a:r>
              <a:rPr lang="en-AU">
                <a:latin typeface="Johnson Text"/>
              </a:rPr>
              <a:t>Conversion of submitted programs to </a:t>
            </a:r>
            <a:r>
              <a:rPr lang="en-AU">
                <a:solidFill>
                  <a:schemeClr val="accent1"/>
                </a:solidFill>
                <a:latin typeface="Johnson Text"/>
              </a:rPr>
              <a:t>–</a:t>
            </a:r>
            <a:r>
              <a:rPr lang="en-AU">
                <a:solidFill>
                  <a:srgbClr val="FF0000"/>
                </a:solidFill>
                <a:latin typeface="Johnson Text"/>
              </a:rPr>
              <a:t>extension</a:t>
            </a:r>
            <a:r>
              <a:rPr lang="en-AU">
                <a:solidFill>
                  <a:schemeClr val="accent1"/>
                </a:solidFill>
                <a:latin typeface="Johnson Text"/>
              </a:rPr>
              <a:t>.txt</a:t>
            </a:r>
          </a:p>
          <a:p>
            <a:pPr lvl="1" indent="0">
              <a:lnSpc>
                <a:spcPct val="105000"/>
              </a:lnSpc>
              <a:buNone/>
            </a:pPr>
            <a:endParaRPr lang="en-AU">
              <a:latin typeface="Aptos" panose="020B0004020202020204" pitchFamily="34" charset="0"/>
            </a:endParaRPr>
          </a:p>
          <a:p>
            <a:pPr lvl="1" indent="0">
              <a:lnSpc>
                <a:spcPct val="105000"/>
              </a:lnSpc>
              <a:buNone/>
            </a:pPr>
            <a:endParaRPr lang="en-AU">
              <a:latin typeface="Aptos" panose="020B0004020202020204" pitchFamily="34" charset="0"/>
            </a:endParaRPr>
          </a:p>
          <a:p>
            <a:pPr lvl="1" indent="0">
              <a:lnSpc>
                <a:spcPct val="105000"/>
              </a:lnSpc>
              <a:buNone/>
            </a:pPr>
            <a:endParaRPr lang="en-AU">
              <a:latin typeface="Aptos" panose="020B0004020202020204" pitchFamily="34" charset="0"/>
            </a:endParaRPr>
          </a:p>
          <a:p>
            <a:pPr marL="628650" lvl="1" indent="-342900">
              <a:lnSpc>
                <a:spcPct val="105000"/>
              </a:lnSpc>
              <a:buFont typeface="Wingdings" panose="05000000000000000000" pitchFamily="2" charset="2"/>
              <a:buChar char="§"/>
            </a:pPr>
            <a:endParaRPr lang="en-AU">
              <a:latin typeface="Aptos" panose="020B0004020202020204" pitchFamily="34" charset="0"/>
            </a:endParaRPr>
          </a:p>
          <a:p>
            <a:pPr marL="628650" lvl="1" indent="-342900">
              <a:lnSpc>
                <a:spcPct val="105000"/>
              </a:lnSpc>
              <a:buFont typeface="Wingdings" panose="05000000000000000000" pitchFamily="2" charset="2"/>
              <a:buChar char="§"/>
            </a:pPr>
            <a:endParaRPr lang="en-AU">
              <a:latin typeface="Aptos" panose="020B0004020202020204" pitchFamily="34" charset="0"/>
            </a:endParaRPr>
          </a:p>
          <a:p>
            <a:pPr marL="628650" lvl="1" indent="-342900">
              <a:lnSpc>
                <a:spcPct val="105000"/>
              </a:lnSpc>
              <a:buFont typeface="Wingdings" panose="05000000000000000000" pitchFamily="2" charset="2"/>
              <a:buChar char="§"/>
            </a:pPr>
            <a:endParaRPr lang="en-AU">
              <a:latin typeface="Aptos" panose="020B0004020202020204" pitchFamily="34" charset="0"/>
            </a:endParaRPr>
          </a:p>
          <a:p>
            <a:pPr marL="628650" lvl="1" indent="-342900">
              <a:lnSpc>
                <a:spcPct val="105000"/>
              </a:lnSpc>
              <a:buFont typeface="Wingdings" panose="05000000000000000000" pitchFamily="2" charset="2"/>
              <a:buChar char="§"/>
            </a:pPr>
            <a:endParaRPr lang="en-AU">
              <a:latin typeface="Aptos" panose="020B0004020202020204" pitchFamily="34" charset="0"/>
            </a:endParaRPr>
          </a:p>
          <a:p>
            <a:pPr marL="628650" lvl="1" indent="-342900">
              <a:lnSpc>
                <a:spcPct val="105000"/>
              </a:lnSpc>
              <a:buFont typeface="Wingdings" panose="05000000000000000000" pitchFamily="2" charset="2"/>
              <a:buChar char="§"/>
            </a:pPr>
            <a:endParaRPr lang="en-AU">
              <a:latin typeface="Aptos" panose="020B0004020202020204" pitchFamily="34" charset="0"/>
            </a:endParaRPr>
          </a:p>
          <a:p>
            <a:pPr marL="628650" lvl="1" indent="-342900">
              <a:lnSpc>
                <a:spcPct val="105000"/>
              </a:lnSpc>
              <a:buFont typeface="Wingdings" panose="05000000000000000000" pitchFamily="2" charset="2"/>
              <a:buChar char="§"/>
            </a:pPr>
            <a:r>
              <a:rPr lang="en-AU">
                <a:latin typeface="Johnson Text"/>
              </a:rPr>
              <a:t>Creation of separate TOC files that list R programs/functions</a:t>
            </a:r>
          </a:p>
        </p:txBody>
      </p:sp>
      <p:sp>
        <p:nvSpPr>
          <p:cNvPr id="5" name="Slide Number Placeholder 4">
            <a:extLst>
              <a:ext uri="{FF2B5EF4-FFF2-40B4-BE49-F238E27FC236}">
                <a16:creationId xmlns:a16="http://schemas.microsoft.com/office/drawing/2014/main" id="{EFDA99A4-3B9C-92A3-535C-AE7F89FF6DF8}"/>
              </a:ext>
            </a:extLst>
          </p:cNvPr>
          <p:cNvSpPr>
            <a:spLocks noGrp="1"/>
          </p:cNvSpPr>
          <p:nvPr>
            <p:ph type="sldNum" sz="quarter" idx="12"/>
          </p:nvPr>
        </p:nvSpPr>
        <p:spPr/>
        <p:txBody>
          <a:bodyPr/>
          <a:lstStyle/>
          <a:p>
            <a:pPr marL="0" marR="0" lvl="0" indent="0" algn="r" defTabSz="914400" rtl="0" eaLnBrk="1" fontAlgn="auto" latinLnBrk="0" hangingPunct="1">
              <a:lnSpc>
                <a:spcPct val="110000"/>
              </a:lnSpc>
              <a:spcBef>
                <a:spcPts val="600"/>
              </a:spcBef>
              <a:spcAft>
                <a:spcPts val="600"/>
              </a:spcAft>
              <a:buClrTx/>
              <a:buSzTx/>
              <a:buFontTx/>
              <a:buNone/>
              <a:tabLst/>
              <a:defRPr/>
            </a:pPr>
            <a:fld id="{AEC8D767-5246-2244-A4A3-B8AFB218393C}" type="slidenum">
              <a:rPr kumimoji="0" lang="en-GB" sz="900" b="0" i="0" u="none" strike="noStrike" kern="1200" cap="none" spc="0" normalizeH="0" baseline="0" noProof="0" smtClean="0">
                <a:ln>
                  <a:noFill/>
                </a:ln>
                <a:solidFill>
                  <a:srgbClr val="000000"/>
                </a:solidFill>
                <a:effectLst/>
                <a:uLnTx/>
                <a:uFillTx/>
                <a:latin typeface="Johnson Text"/>
                <a:ea typeface="+mn-ea"/>
                <a:cs typeface="+mn-cs"/>
              </a:rPr>
              <a:pPr marL="0" marR="0" lvl="0" indent="0" algn="r" defTabSz="914400" rtl="0" eaLnBrk="1" fontAlgn="auto" latinLnBrk="0" hangingPunct="1">
                <a:lnSpc>
                  <a:spcPct val="110000"/>
                </a:lnSpc>
                <a:spcBef>
                  <a:spcPts val="600"/>
                </a:spcBef>
                <a:spcAft>
                  <a:spcPts val="600"/>
                </a:spcAft>
                <a:buClrTx/>
                <a:buSzTx/>
                <a:buFontTx/>
                <a:buNone/>
                <a:tabLst/>
                <a:defRPr/>
              </a:pPr>
              <a:t>4</a:t>
            </a:fld>
            <a:endParaRPr kumimoji="0" lang="en-GB" sz="900" b="0" i="0" u="none" strike="noStrike" kern="1200" cap="none" spc="0" normalizeH="0" baseline="0" noProof="0">
              <a:ln>
                <a:noFill/>
              </a:ln>
              <a:solidFill>
                <a:srgbClr val="000000"/>
              </a:solidFill>
              <a:effectLst/>
              <a:uLnTx/>
              <a:uFillTx/>
              <a:latin typeface="Johnson Text"/>
              <a:ea typeface="+mn-ea"/>
              <a:cs typeface="+mn-cs"/>
            </a:endParaRPr>
          </a:p>
        </p:txBody>
      </p:sp>
      <p:pic>
        <p:nvPicPr>
          <p:cNvPr id="4" name="Picture 8">
            <a:extLst>
              <a:ext uri="{FF2B5EF4-FFF2-40B4-BE49-F238E27FC236}">
                <a16:creationId xmlns:a16="http://schemas.microsoft.com/office/drawing/2014/main" id="{B1BAF838-DE1C-8B61-4911-757D3911E5A1}"/>
              </a:ext>
            </a:extLst>
          </p:cNvPr>
          <p:cNvPicPr>
            <a:picLocks noChangeAspect="1"/>
          </p:cNvPicPr>
          <p:nvPr/>
        </p:nvPicPr>
        <p:blipFill>
          <a:blip r:embed="rId2"/>
          <a:stretch>
            <a:fillRect/>
          </a:stretch>
        </p:blipFill>
        <p:spPr>
          <a:xfrm>
            <a:off x="2052098" y="2094092"/>
            <a:ext cx="4560567" cy="2509139"/>
          </a:xfrm>
          <a:prstGeom prst="rect">
            <a:avLst/>
          </a:prstGeom>
        </p:spPr>
      </p:pic>
    </p:spTree>
    <p:extLst>
      <p:ext uri="{BB962C8B-B14F-4D97-AF65-F5344CB8AC3E}">
        <p14:creationId xmlns:p14="http://schemas.microsoft.com/office/powerpoint/2010/main" val="20577680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D73EFB-53ED-3AEC-A222-C7D7F708273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2C82D1C-61C4-E913-A6EF-28C66ECE4FAD}"/>
              </a:ext>
            </a:extLst>
          </p:cNvPr>
          <p:cNvSpPr>
            <a:spLocks noGrp="1"/>
          </p:cNvSpPr>
          <p:nvPr>
            <p:ph type="title"/>
          </p:nvPr>
        </p:nvSpPr>
        <p:spPr>
          <a:xfrm>
            <a:off x="288303" y="262267"/>
            <a:ext cx="6713538" cy="468590"/>
          </a:xfrm>
        </p:spPr>
        <p:txBody>
          <a:bodyPr/>
          <a:lstStyle/>
          <a:p>
            <a:r>
              <a:rPr lang="en-US" b="1"/>
              <a:t>ADRG</a:t>
            </a:r>
            <a:endParaRPr lang="en-BE" b="1"/>
          </a:p>
        </p:txBody>
      </p:sp>
      <p:sp>
        <p:nvSpPr>
          <p:cNvPr id="3" name="Content Placeholder 2">
            <a:extLst>
              <a:ext uri="{FF2B5EF4-FFF2-40B4-BE49-F238E27FC236}">
                <a16:creationId xmlns:a16="http://schemas.microsoft.com/office/drawing/2014/main" id="{0D026CD3-36D6-31A5-FEA8-1455A973D074}"/>
              </a:ext>
            </a:extLst>
          </p:cNvPr>
          <p:cNvSpPr>
            <a:spLocks noGrp="1"/>
          </p:cNvSpPr>
          <p:nvPr>
            <p:ph idx="1"/>
          </p:nvPr>
        </p:nvSpPr>
        <p:spPr>
          <a:xfrm>
            <a:off x="289384" y="1180188"/>
            <a:ext cx="5732231" cy="4780712"/>
          </a:xfrm>
        </p:spPr>
        <p:txBody>
          <a:bodyPr vert="horz" lIns="0" tIns="0" rIns="0" bIns="0" rtlCol="0" anchor="t">
            <a:noAutofit/>
          </a:bodyPr>
          <a:lstStyle/>
          <a:p>
            <a:pPr marL="628650" lvl="1" indent="-342900">
              <a:lnSpc>
                <a:spcPct val="105000"/>
              </a:lnSpc>
              <a:buFont typeface="Wingdings" panose="05000000000000000000" pitchFamily="2" charset="2"/>
              <a:buChar char="§"/>
            </a:pPr>
            <a:r>
              <a:rPr lang="en-AU">
                <a:latin typeface="Johnson Text"/>
              </a:rPr>
              <a:t>Adding new sections to describe the components of R deliverables, and the setup of R environment</a:t>
            </a:r>
          </a:p>
          <a:p>
            <a:pPr lvl="1" indent="0">
              <a:lnSpc>
                <a:spcPct val="105000"/>
              </a:lnSpc>
              <a:buNone/>
            </a:pPr>
            <a:endParaRPr lang="en-AU">
              <a:latin typeface="Johnson Text"/>
            </a:endParaRPr>
          </a:p>
          <a:p>
            <a:pPr marL="914400" lvl="2" indent="-342900">
              <a:lnSpc>
                <a:spcPct val="105000"/>
              </a:lnSpc>
              <a:buFont typeface="Wingdings" panose="05000000000000000000" pitchFamily="2" charset="2"/>
              <a:buChar char="ü"/>
            </a:pPr>
            <a:r>
              <a:rPr lang="en-AU">
                <a:latin typeface="Johnson Text"/>
              </a:rPr>
              <a:t>Information on submitted files</a:t>
            </a:r>
          </a:p>
          <a:p>
            <a:pPr lvl="2" indent="0">
              <a:lnSpc>
                <a:spcPct val="105000"/>
              </a:lnSpc>
              <a:buNone/>
            </a:pPr>
            <a:endParaRPr lang="en-AU">
              <a:latin typeface="Johnson Text"/>
            </a:endParaRPr>
          </a:p>
          <a:p>
            <a:pPr marL="914400" lvl="2" indent="-342900">
              <a:lnSpc>
                <a:spcPct val="105000"/>
              </a:lnSpc>
              <a:buFont typeface="Wingdings" panose="05000000000000000000" pitchFamily="2" charset="2"/>
              <a:buChar char="ü"/>
            </a:pPr>
            <a:r>
              <a:rPr lang="en-AU">
                <a:latin typeface="Johnson Text"/>
              </a:rPr>
              <a:t>Information on R packages used, including version and description </a:t>
            </a:r>
          </a:p>
          <a:p>
            <a:pPr marL="914400" lvl="2" indent="-342900">
              <a:lnSpc>
                <a:spcPct val="105000"/>
              </a:lnSpc>
              <a:buFont typeface="Wingdings" panose="05000000000000000000" pitchFamily="2" charset="2"/>
              <a:buChar char="ü"/>
            </a:pPr>
            <a:endParaRPr lang="en-AU">
              <a:latin typeface="Johnson Text"/>
            </a:endParaRPr>
          </a:p>
          <a:p>
            <a:pPr marL="914400" lvl="2" indent="-342900">
              <a:lnSpc>
                <a:spcPct val="105000"/>
              </a:lnSpc>
              <a:buFont typeface="Wingdings" panose="05000000000000000000" pitchFamily="2" charset="2"/>
              <a:buChar char="ü"/>
            </a:pPr>
            <a:r>
              <a:rPr lang="en-AU">
                <a:latin typeface="Johnson Text"/>
              </a:rPr>
              <a:t>Information on R functions used, including a description</a:t>
            </a:r>
          </a:p>
          <a:p>
            <a:pPr marL="914400" lvl="2" indent="-342900">
              <a:lnSpc>
                <a:spcPct val="105000"/>
              </a:lnSpc>
              <a:buFont typeface="Wingdings" panose="05000000000000000000" pitchFamily="2" charset="2"/>
              <a:buChar char="ü"/>
            </a:pPr>
            <a:endParaRPr lang="en-AU">
              <a:latin typeface="Johnson Text"/>
            </a:endParaRPr>
          </a:p>
          <a:p>
            <a:pPr marL="914400" lvl="2" indent="-342900">
              <a:lnSpc>
                <a:spcPct val="105000"/>
              </a:lnSpc>
              <a:buFont typeface="Wingdings" panose="05000000000000000000" pitchFamily="2" charset="2"/>
              <a:buChar char="ü"/>
            </a:pPr>
            <a:r>
              <a:rPr lang="en-AU">
                <a:latin typeface="Johnson Text"/>
              </a:rPr>
              <a:t>Additional 'Appendix' for detailed steps regarding to R environment set up</a:t>
            </a:r>
          </a:p>
          <a:p>
            <a:pPr marL="856615" lvl="3" indent="0">
              <a:lnSpc>
                <a:spcPct val="105000"/>
              </a:lnSpc>
              <a:buNone/>
            </a:pPr>
            <a:endParaRPr lang="en-AU">
              <a:latin typeface="Aptos"/>
            </a:endParaRPr>
          </a:p>
          <a:p>
            <a:pPr marL="914400" lvl="2" indent="-342900">
              <a:lnSpc>
                <a:spcPct val="105000"/>
              </a:lnSpc>
              <a:buFont typeface="Wingdings" panose="05000000000000000000" pitchFamily="2" charset="2"/>
              <a:buChar char="ü"/>
            </a:pPr>
            <a:endParaRPr lang="en-AU">
              <a:latin typeface="Aptos" panose="020B0004020202020204" pitchFamily="34" charset="0"/>
            </a:endParaRPr>
          </a:p>
        </p:txBody>
      </p:sp>
      <p:sp>
        <p:nvSpPr>
          <p:cNvPr id="5" name="Slide Number Placeholder 4">
            <a:extLst>
              <a:ext uri="{FF2B5EF4-FFF2-40B4-BE49-F238E27FC236}">
                <a16:creationId xmlns:a16="http://schemas.microsoft.com/office/drawing/2014/main" id="{B3892C43-2591-0DE1-B4E4-7A7EBDCCA143}"/>
              </a:ext>
            </a:extLst>
          </p:cNvPr>
          <p:cNvSpPr>
            <a:spLocks noGrp="1"/>
          </p:cNvSpPr>
          <p:nvPr>
            <p:ph type="sldNum" sz="quarter" idx="12"/>
          </p:nvPr>
        </p:nvSpPr>
        <p:spPr/>
        <p:txBody>
          <a:bodyPr/>
          <a:lstStyle/>
          <a:p>
            <a:pPr marL="0" marR="0" lvl="0" indent="0" algn="r" defTabSz="914400" rtl="0" eaLnBrk="1" fontAlgn="auto" latinLnBrk="0" hangingPunct="1">
              <a:lnSpc>
                <a:spcPct val="110000"/>
              </a:lnSpc>
              <a:spcBef>
                <a:spcPts val="600"/>
              </a:spcBef>
              <a:spcAft>
                <a:spcPts val="600"/>
              </a:spcAft>
              <a:buClrTx/>
              <a:buSzTx/>
              <a:buFontTx/>
              <a:buNone/>
              <a:tabLst/>
              <a:defRPr/>
            </a:pPr>
            <a:fld id="{AEC8D767-5246-2244-A4A3-B8AFB218393C}" type="slidenum">
              <a:rPr kumimoji="0" lang="en-GB" sz="900" b="0" i="0" u="none" strike="noStrike" kern="1200" cap="none" spc="0" normalizeH="0" baseline="0" noProof="0" smtClean="0">
                <a:ln>
                  <a:noFill/>
                </a:ln>
                <a:solidFill>
                  <a:srgbClr val="000000"/>
                </a:solidFill>
                <a:effectLst/>
                <a:uLnTx/>
                <a:uFillTx/>
                <a:latin typeface="Johnson Text"/>
                <a:ea typeface="+mn-ea"/>
                <a:cs typeface="+mn-cs"/>
              </a:rPr>
              <a:pPr marL="0" marR="0" lvl="0" indent="0" algn="r" defTabSz="914400" rtl="0" eaLnBrk="1" fontAlgn="auto" latinLnBrk="0" hangingPunct="1">
                <a:lnSpc>
                  <a:spcPct val="110000"/>
                </a:lnSpc>
                <a:spcBef>
                  <a:spcPts val="600"/>
                </a:spcBef>
                <a:spcAft>
                  <a:spcPts val="600"/>
                </a:spcAft>
                <a:buClrTx/>
                <a:buSzTx/>
                <a:buFontTx/>
                <a:buNone/>
                <a:tabLst/>
                <a:defRPr/>
              </a:pPr>
              <a:t>5</a:t>
            </a:fld>
            <a:endParaRPr kumimoji="0" lang="en-GB" sz="900" b="0" i="0" u="none" strike="noStrike" kern="1200" cap="none" spc="0" normalizeH="0" baseline="0" noProof="0">
              <a:ln>
                <a:noFill/>
              </a:ln>
              <a:solidFill>
                <a:srgbClr val="000000"/>
              </a:solidFill>
              <a:effectLst/>
              <a:uLnTx/>
              <a:uFillTx/>
              <a:latin typeface="Johnson Text"/>
              <a:ea typeface="+mn-ea"/>
              <a:cs typeface="+mn-cs"/>
            </a:endParaRPr>
          </a:p>
        </p:txBody>
      </p:sp>
      <p:pic>
        <p:nvPicPr>
          <p:cNvPr id="4" name="图片 3">
            <a:extLst>
              <a:ext uri="{FF2B5EF4-FFF2-40B4-BE49-F238E27FC236}">
                <a16:creationId xmlns:a16="http://schemas.microsoft.com/office/drawing/2014/main" id="{A67F3520-85BF-98C4-99EF-AAFFB14E05E0}"/>
              </a:ext>
            </a:extLst>
          </p:cNvPr>
          <p:cNvPicPr>
            <a:picLocks noChangeAspect="1"/>
          </p:cNvPicPr>
          <p:nvPr/>
        </p:nvPicPr>
        <p:blipFill>
          <a:blip r:embed="rId2"/>
          <a:stretch>
            <a:fillRect/>
          </a:stretch>
        </p:blipFill>
        <p:spPr>
          <a:xfrm>
            <a:off x="6923639" y="1790534"/>
            <a:ext cx="4505954" cy="3896269"/>
          </a:xfrm>
          <a:prstGeom prst="rect">
            <a:avLst/>
          </a:prstGeom>
        </p:spPr>
      </p:pic>
    </p:spTree>
    <p:extLst>
      <p:ext uri="{BB962C8B-B14F-4D97-AF65-F5344CB8AC3E}">
        <p14:creationId xmlns:p14="http://schemas.microsoft.com/office/powerpoint/2010/main" val="36367222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837DA-C926-B6F6-F8BF-E196AA558C1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CAF6D22-FE49-2F14-A1B8-FF7C7BEC537E}"/>
              </a:ext>
            </a:extLst>
          </p:cNvPr>
          <p:cNvSpPr>
            <a:spLocks noGrp="1"/>
          </p:cNvSpPr>
          <p:nvPr>
            <p:ph type="title"/>
          </p:nvPr>
        </p:nvSpPr>
        <p:spPr>
          <a:xfrm>
            <a:off x="288303" y="262267"/>
            <a:ext cx="6713538" cy="468590"/>
          </a:xfrm>
        </p:spPr>
        <p:txBody>
          <a:bodyPr/>
          <a:lstStyle/>
          <a:p>
            <a:r>
              <a:rPr lang="en-US" b="1"/>
              <a:t>ADRG</a:t>
            </a:r>
            <a:endParaRPr lang="en-BE" b="1"/>
          </a:p>
        </p:txBody>
      </p:sp>
      <p:sp>
        <p:nvSpPr>
          <p:cNvPr id="3" name="Content Placeholder 2">
            <a:extLst>
              <a:ext uri="{FF2B5EF4-FFF2-40B4-BE49-F238E27FC236}">
                <a16:creationId xmlns:a16="http://schemas.microsoft.com/office/drawing/2014/main" id="{AAFB250F-0A68-2CB4-4E57-C2B510F6232A}"/>
              </a:ext>
            </a:extLst>
          </p:cNvPr>
          <p:cNvSpPr>
            <a:spLocks noGrp="1"/>
          </p:cNvSpPr>
          <p:nvPr>
            <p:ph idx="1"/>
          </p:nvPr>
        </p:nvSpPr>
        <p:spPr>
          <a:xfrm>
            <a:off x="289384" y="1180188"/>
            <a:ext cx="11609391" cy="4786279"/>
          </a:xfrm>
        </p:spPr>
        <p:txBody>
          <a:bodyPr vert="horz" lIns="0" tIns="0" rIns="0" bIns="0" rtlCol="0" anchor="t">
            <a:noAutofit/>
          </a:bodyPr>
          <a:lstStyle/>
          <a:p>
            <a:pPr marL="628650" lvl="1" indent="-342900">
              <a:lnSpc>
                <a:spcPct val="105000"/>
              </a:lnSpc>
              <a:buFont typeface="Wingdings" panose="05000000000000000000" pitchFamily="2" charset="2"/>
              <a:buChar char="§"/>
            </a:pPr>
            <a:r>
              <a:rPr lang="en-AU">
                <a:latin typeface="Johnson Text"/>
              </a:rPr>
              <a:t>Create overview of macros and functions used in submitted scripts</a:t>
            </a:r>
          </a:p>
          <a:p>
            <a:pPr lvl="1" indent="0">
              <a:lnSpc>
                <a:spcPct val="105000"/>
              </a:lnSpc>
              <a:buNone/>
            </a:pPr>
            <a:endParaRPr lang="en-AU">
              <a:solidFill>
                <a:srgbClr val="00B0F0"/>
              </a:solidFill>
              <a:latin typeface="Aptos" panose="020B0004020202020204" pitchFamily="34" charset="0"/>
            </a:endParaRPr>
          </a:p>
        </p:txBody>
      </p:sp>
      <p:sp>
        <p:nvSpPr>
          <p:cNvPr id="5" name="Slide Number Placeholder 4">
            <a:extLst>
              <a:ext uri="{FF2B5EF4-FFF2-40B4-BE49-F238E27FC236}">
                <a16:creationId xmlns:a16="http://schemas.microsoft.com/office/drawing/2014/main" id="{972A100E-DF57-2D1C-49DE-118EE2A06020}"/>
              </a:ext>
            </a:extLst>
          </p:cNvPr>
          <p:cNvSpPr>
            <a:spLocks noGrp="1"/>
          </p:cNvSpPr>
          <p:nvPr>
            <p:ph type="sldNum" sz="quarter" idx="12"/>
          </p:nvPr>
        </p:nvSpPr>
        <p:spPr/>
        <p:txBody>
          <a:bodyPr/>
          <a:lstStyle/>
          <a:p>
            <a:pPr marL="0" marR="0" lvl="0" indent="0" algn="r" defTabSz="914400" rtl="0" eaLnBrk="1" fontAlgn="auto" latinLnBrk="0" hangingPunct="1">
              <a:lnSpc>
                <a:spcPct val="110000"/>
              </a:lnSpc>
              <a:spcBef>
                <a:spcPts val="600"/>
              </a:spcBef>
              <a:spcAft>
                <a:spcPts val="600"/>
              </a:spcAft>
              <a:buClrTx/>
              <a:buSzTx/>
              <a:buFontTx/>
              <a:buNone/>
              <a:tabLst/>
              <a:defRPr/>
            </a:pPr>
            <a:fld id="{AEC8D767-5246-2244-A4A3-B8AFB218393C}" type="slidenum">
              <a:rPr kumimoji="0" lang="en-GB" sz="900" b="0" i="0" u="none" strike="noStrike" kern="1200" cap="none" spc="0" normalizeH="0" baseline="0" noProof="0" smtClean="0">
                <a:ln>
                  <a:noFill/>
                </a:ln>
                <a:solidFill>
                  <a:srgbClr val="000000"/>
                </a:solidFill>
                <a:effectLst/>
                <a:uLnTx/>
                <a:uFillTx/>
                <a:latin typeface="Johnson Text"/>
                <a:ea typeface="+mn-ea"/>
                <a:cs typeface="+mn-cs"/>
              </a:rPr>
              <a:pPr marL="0" marR="0" lvl="0" indent="0" algn="r" defTabSz="914400" rtl="0" eaLnBrk="1" fontAlgn="auto" latinLnBrk="0" hangingPunct="1">
                <a:lnSpc>
                  <a:spcPct val="110000"/>
                </a:lnSpc>
                <a:spcBef>
                  <a:spcPts val="600"/>
                </a:spcBef>
                <a:spcAft>
                  <a:spcPts val="600"/>
                </a:spcAft>
                <a:buClrTx/>
                <a:buSzTx/>
                <a:buFontTx/>
                <a:buNone/>
                <a:tabLst/>
                <a:defRPr/>
              </a:pPr>
              <a:t>6</a:t>
            </a:fld>
            <a:endParaRPr kumimoji="0" lang="en-GB" sz="900" b="0" i="0" u="none" strike="noStrike" kern="1200" cap="none" spc="0" normalizeH="0" baseline="0" noProof="0">
              <a:ln>
                <a:noFill/>
              </a:ln>
              <a:solidFill>
                <a:srgbClr val="000000"/>
              </a:solidFill>
              <a:effectLst/>
              <a:uLnTx/>
              <a:uFillTx/>
              <a:latin typeface="Johnson Text"/>
              <a:ea typeface="+mn-ea"/>
              <a:cs typeface="+mn-cs"/>
            </a:endParaRPr>
          </a:p>
        </p:txBody>
      </p:sp>
      <p:pic>
        <p:nvPicPr>
          <p:cNvPr id="19" name="图片 18">
            <a:extLst>
              <a:ext uri="{FF2B5EF4-FFF2-40B4-BE49-F238E27FC236}">
                <a16:creationId xmlns:a16="http://schemas.microsoft.com/office/drawing/2014/main" id="{043DD9A5-AC7C-BE47-6020-C5ADAFF618DA}"/>
              </a:ext>
            </a:extLst>
          </p:cNvPr>
          <p:cNvPicPr>
            <a:picLocks noChangeAspect="1"/>
          </p:cNvPicPr>
          <p:nvPr/>
        </p:nvPicPr>
        <p:blipFill>
          <a:blip r:embed="rId2"/>
          <a:stretch>
            <a:fillRect/>
          </a:stretch>
        </p:blipFill>
        <p:spPr>
          <a:xfrm>
            <a:off x="1071255" y="1533165"/>
            <a:ext cx="7131360" cy="4786278"/>
          </a:xfrm>
          <a:prstGeom prst="rect">
            <a:avLst/>
          </a:prstGeom>
        </p:spPr>
      </p:pic>
    </p:spTree>
    <p:extLst>
      <p:ext uri="{BB962C8B-B14F-4D97-AF65-F5344CB8AC3E}">
        <p14:creationId xmlns:p14="http://schemas.microsoft.com/office/powerpoint/2010/main" val="32823185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8417CB-2EAC-665A-F8C1-D5ACE661959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5758099-8C5C-2C22-0125-60BA3F47EC06}"/>
              </a:ext>
            </a:extLst>
          </p:cNvPr>
          <p:cNvSpPr>
            <a:spLocks noGrp="1"/>
          </p:cNvSpPr>
          <p:nvPr>
            <p:ph type="title"/>
          </p:nvPr>
        </p:nvSpPr>
        <p:spPr>
          <a:xfrm>
            <a:off x="288303" y="262267"/>
            <a:ext cx="6713538" cy="468590"/>
          </a:xfrm>
        </p:spPr>
        <p:txBody>
          <a:bodyPr/>
          <a:lstStyle/>
          <a:p>
            <a:r>
              <a:rPr lang="en-US" b="1"/>
              <a:t>ADRG</a:t>
            </a:r>
            <a:endParaRPr lang="en-BE"/>
          </a:p>
        </p:txBody>
      </p:sp>
      <p:sp>
        <p:nvSpPr>
          <p:cNvPr id="3" name="Content Placeholder 2">
            <a:extLst>
              <a:ext uri="{FF2B5EF4-FFF2-40B4-BE49-F238E27FC236}">
                <a16:creationId xmlns:a16="http://schemas.microsoft.com/office/drawing/2014/main" id="{7A8AF212-FEB1-20B7-FD17-FEF0B4974F69}"/>
              </a:ext>
            </a:extLst>
          </p:cNvPr>
          <p:cNvSpPr>
            <a:spLocks noGrp="1"/>
          </p:cNvSpPr>
          <p:nvPr>
            <p:ph idx="1"/>
          </p:nvPr>
        </p:nvSpPr>
        <p:spPr>
          <a:xfrm>
            <a:off x="289384" y="1180188"/>
            <a:ext cx="11609391" cy="4786279"/>
          </a:xfrm>
        </p:spPr>
        <p:txBody>
          <a:bodyPr vert="horz" lIns="0" tIns="0" rIns="0" bIns="0" rtlCol="0" anchor="t">
            <a:noAutofit/>
          </a:bodyPr>
          <a:lstStyle/>
          <a:p>
            <a:pPr marL="628650" lvl="1" indent="-342900">
              <a:lnSpc>
                <a:spcPct val="105000"/>
              </a:lnSpc>
              <a:buFont typeface="Wingdings" panose="05000000000000000000" pitchFamily="2" charset="2"/>
              <a:buChar char="§"/>
            </a:pPr>
            <a:r>
              <a:rPr lang="en-AU">
                <a:latin typeface="Johnson Text"/>
              </a:rPr>
              <a:t>Environment metadata required (packages, versions, file paths, …) </a:t>
            </a:r>
          </a:p>
        </p:txBody>
      </p:sp>
      <p:sp>
        <p:nvSpPr>
          <p:cNvPr id="5" name="Slide Number Placeholder 4">
            <a:extLst>
              <a:ext uri="{FF2B5EF4-FFF2-40B4-BE49-F238E27FC236}">
                <a16:creationId xmlns:a16="http://schemas.microsoft.com/office/drawing/2014/main" id="{55E62B37-8C26-C808-5D1E-DE0A915B762F}"/>
              </a:ext>
            </a:extLst>
          </p:cNvPr>
          <p:cNvSpPr>
            <a:spLocks noGrp="1"/>
          </p:cNvSpPr>
          <p:nvPr>
            <p:ph type="sldNum" sz="quarter" idx="12"/>
          </p:nvPr>
        </p:nvSpPr>
        <p:spPr/>
        <p:txBody>
          <a:bodyPr/>
          <a:lstStyle/>
          <a:p>
            <a:pPr marL="0" marR="0" lvl="0" indent="0" algn="r" defTabSz="914400" rtl="0" eaLnBrk="1" fontAlgn="auto" latinLnBrk="0" hangingPunct="1">
              <a:lnSpc>
                <a:spcPct val="110000"/>
              </a:lnSpc>
              <a:spcBef>
                <a:spcPts val="600"/>
              </a:spcBef>
              <a:spcAft>
                <a:spcPts val="600"/>
              </a:spcAft>
              <a:buClrTx/>
              <a:buSzTx/>
              <a:buFontTx/>
              <a:buNone/>
              <a:tabLst/>
              <a:defRPr/>
            </a:pPr>
            <a:fld id="{AEC8D767-5246-2244-A4A3-B8AFB218393C}" type="slidenum">
              <a:rPr kumimoji="0" lang="en-GB" sz="900" b="0" i="0" u="none" strike="noStrike" kern="1200" cap="none" spc="0" normalizeH="0" baseline="0" noProof="0" smtClean="0">
                <a:ln>
                  <a:noFill/>
                </a:ln>
                <a:solidFill>
                  <a:srgbClr val="000000"/>
                </a:solidFill>
                <a:effectLst/>
                <a:uLnTx/>
                <a:uFillTx/>
                <a:latin typeface="Johnson Text"/>
                <a:ea typeface="+mn-ea"/>
                <a:cs typeface="+mn-cs"/>
              </a:rPr>
              <a:pPr marL="0" marR="0" lvl="0" indent="0" algn="r" defTabSz="914400" rtl="0" eaLnBrk="1" fontAlgn="auto" latinLnBrk="0" hangingPunct="1">
                <a:lnSpc>
                  <a:spcPct val="110000"/>
                </a:lnSpc>
                <a:spcBef>
                  <a:spcPts val="600"/>
                </a:spcBef>
                <a:spcAft>
                  <a:spcPts val="600"/>
                </a:spcAft>
                <a:buClrTx/>
                <a:buSzTx/>
                <a:buFontTx/>
                <a:buNone/>
                <a:tabLst/>
                <a:defRPr/>
              </a:pPr>
              <a:t>7</a:t>
            </a:fld>
            <a:endParaRPr kumimoji="0" lang="en-GB" sz="900" b="0" i="0" u="none" strike="noStrike" kern="1200" cap="none" spc="0" normalizeH="0" baseline="0" noProof="0">
              <a:ln>
                <a:noFill/>
              </a:ln>
              <a:solidFill>
                <a:srgbClr val="000000"/>
              </a:solidFill>
              <a:effectLst/>
              <a:uLnTx/>
              <a:uFillTx/>
              <a:latin typeface="Johnson Text"/>
              <a:ea typeface="+mn-ea"/>
              <a:cs typeface="+mn-cs"/>
            </a:endParaRPr>
          </a:p>
        </p:txBody>
      </p:sp>
      <p:pic>
        <p:nvPicPr>
          <p:cNvPr id="8194" name="Picture 2">
            <a:extLst>
              <a:ext uri="{FF2B5EF4-FFF2-40B4-BE49-F238E27FC236}">
                <a16:creationId xmlns:a16="http://schemas.microsoft.com/office/drawing/2014/main" id="{0469CEAC-5CFE-1517-C319-42E9A430F4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8952" y="1474588"/>
            <a:ext cx="7333897" cy="44918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85862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4454D-17A4-0BDA-B86B-E3132F737BA8}"/>
              </a:ext>
            </a:extLst>
          </p:cNvPr>
          <p:cNvSpPr>
            <a:spLocks noGrp="1"/>
          </p:cNvSpPr>
          <p:nvPr>
            <p:ph type="title"/>
          </p:nvPr>
        </p:nvSpPr>
        <p:spPr>
          <a:xfrm>
            <a:off x="288303" y="262267"/>
            <a:ext cx="6713538" cy="468590"/>
          </a:xfrm>
        </p:spPr>
        <p:txBody>
          <a:bodyPr/>
          <a:lstStyle/>
          <a:p>
            <a:r>
              <a:rPr lang="en-US" b="1"/>
              <a:t>Key Takeaways</a:t>
            </a:r>
            <a:endParaRPr lang="nl-BE" b="1"/>
          </a:p>
        </p:txBody>
      </p:sp>
      <p:sp>
        <p:nvSpPr>
          <p:cNvPr id="3" name="Content Placeholder 2">
            <a:extLst>
              <a:ext uri="{FF2B5EF4-FFF2-40B4-BE49-F238E27FC236}">
                <a16:creationId xmlns:a16="http://schemas.microsoft.com/office/drawing/2014/main" id="{71E08D17-8833-6BF9-91EA-072CDD8F1E33}"/>
              </a:ext>
            </a:extLst>
          </p:cNvPr>
          <p:cNvSpPr>
            <a:spLocks noGrp="1"/>
          </p:cNvSpPr>
          <p:nvPr>
            <p:ph idx="1"/>
          </p:nvPr>
        </p:nvSpPr>
        <p:spPr>
          <a:xfrm>
            <a:off x="289384" y="1106333"/>
            <a:ext cx="11798967" cy="4959348"/>
          </a:xfrm>
        </p:spPr>
        <p:txBody>
          <a:bodyPr vert="horz" lIns="0" tIns="0" rIns="0" bIns="0" rtlCol="0" anchor="t">
            <a:noAutofit/>
          </a:bodyPr>
          <a:lstStyle/>
          <a:p>
            <a:pPr marL="342900" indent="-342900">
              <a:lnSpc>
                <a:spcPct val="105000"/>
              </a:lnSpc>
              <a:spcBef>
                <a:spcPts val="0"/>
              </a:spcBef>
              <a:spcAft>
                <a:spcPts val="0"/>
              </a:spcAft>
              <a:buFont typeface="Wingdings" panose="05000000000000000000" pitchFamily="2" charset="2"/>
              <a:buChar char="q"/>
            </a:pPr>
            <a:r>
              <a:rPr lang="en-US">
                <a:latin typeface="Johnson Text"/>
              </a:rPr>
              <a:t>Most important: Reproducibility – Stable R version and environment</a:t>
            </a:r>
          </a:p>
          <a:p>
            <a:pPr marL="342900" indent="-342900">
              <a:lnSpc>
                <a:spcPct val="105000"/>
              </a:lnSpc>
              <a:spcBef>
                <a:spcPts val="0"/>
              </a:spcBef>
              <a:spcAft>
                <a:spcPts val="0"/>
              </a:spcAft>
              <a:buFont typeface="Wingdings" panose="05000000000000000000" pitchFamily="2" charset="2"/>
              <a:buChar char="q"/>
            </a:pPr>
            <a:endParaRPr lang="nl-BE">
              <a:latin typeface="Johnson Text"/>
            </a:endParaRPr>
          </a:p>
          <a:p>
            <a:pPr marL="342900" indent="-342900">
              <a:lnSpc>
                <a:spcPct val="105000"/>
              </a:lnSpc>
              <a:spcBef>
                <a:spcPts val="0"/>
              </a:spcBef>
              <a:spcAft>
                <a:spcPts val="0"/>
              </a:spcAft>
              <a:buFont typeface="Wingdings" panose="05000000000000000000" pitchFamily="2" charset="2"/>
              <a:buChar char="q"/>
            </a:pPr>
            <a:r>
              <a:rPr lang="nl-BE" altLang="zh-CN">
                <a:latin typeface="Johnson Text"/>
              </a:rPr>
              <a:t>Sponsors should engage the FDA review team early to agree upon version of R and compatible R package versions</a:t>
            </a:r>
          </a:p>
          <a:p>
            <a:pPr marL="342900" indent="-342900">
              <a:lnSpc>
                <a:spcPct val="105000"/>
              </a:lnSpc>
              <a:spcBef>
                <a:spcPts val="0"/>
              </a:spcBef>
              <a:spcAft>
                <a:spcPts val="0"/>
              </a:spcAft>
              <a:buFont typeface="Wingdings" panose="05000000000000000000" pitchFamily="2" charset="2"/>
              <a:buChar char="q"/>
            </a:pPr>
            <a:endParaRPr lang="nl-BE" altLang="zh-CN">
              <a:latin typeface="Johnson Text"/>
            </a:endParaRPr>
          </a:p>
          <a:p>
            <a:pPr marL="342900" indent="-342900">
              <a:lnSpc>
                <a:spcPct val="105000"/>
              </a:lnSpc>
              <a:spcBef>
                <a:spcPts val="0"/>
              </a:spcBef>
              <a:spcAft>
                <a:spcPts val="0"/>
              </a:spcAft>
              <a:buFont typeface="Wingdings" panose="05000000000000000000" pitchFamily="2" charset="2"/>
              <a:buChar char="q"/>
            </a:pPr>
            <a:r>
              <a:rPr lang="nl-BE">
                <a:latin typeface="Johnson Text"/>
              </a:rPr>
              <a:t>Traditional approach using pkglite can be avoided by changing file extensions to .txt with instructions to revert to original extension</a:t>
            </a:r>
          </a:p>
          <a:p>
            <a:pPr>
              <a:lnSpc>
                <a:spcPct val="105000"/>
              </a:lnSpc>
              <a:spcBef>
                <a:spcPts val="0"/>
              </a:spcBef>
              <a:spcAft>
                <a:spcPts val="0"/>
              </a:spcAft>
            </a:pPr>
            <a:endParaRPr lang="nl-BE">
              <a:latin typeface="Johnson Text"/>
            </a:endParaRPr>
          </a:p>
          <a:p>
            <a:pPr marL="342900" indent="-342900">
              <a:lnSpc>
                <a:spcPct val="105000"/>
              </a:lnSpc>
              <a:spcBef>
                <a:spcPts val="0"/>
              </a:spcBef>
              <a:spcAft>
                <a:spcPts val="0"/>
              </a:spcAft>
              <a:buFont typeface="Wingdings" panose="05000000000000000000" pitchFamily="2" charset="2"/>
              <a:buChar char="q"/>
            </a:pPr>
            <a:r>
              <a:rPr lang="nl-BE">
                <a:latin typeface="Johnson Text"/>
              </a:rPr>
              <a:t>R package as zip file was </a:t>
            </a:r>
            <a:r>
              <a:rPr lang="nl-BE" err="1">
                <a:latin typeface="Johnson Text"/>
              </a:rPr>
              <a:t>succesfully</a:t>
            </a:r>
            <a:r>
              <a:rPr lang="nl-BE">
                <a:latin typeface="Johnson Text"/>
              </a:rPr>
              <a:t> </a:t>
            </a:r>
            <a:r>
              <a:rPr lang="nl-BE" err="1">
                <a:latin typeface="Johnson Text"/>
              </a:rPr>
              <a:t>transferred</a:t>
            </a:r>
            <a:r>
              <a:rPr lang="nl-BE">
                <a:latin typeface="Johnson Text"/>
              </a:rPr>
              <a:t> via </a:t>
            </a:r>
            <a:r>
              <a:rPr lang="nl-BE" err="1">
                <a:latin typeface="Johnson Text"/>
              </a:rPr>
              <a:t>eCDT</a:t>
            </a:r>
            <a:r>
              <a:rPr lang="nl-BE">
                <a:latin typeface="Johnson Text"/>
              </a:rPr>
              <a:t> gateway </a:t>
            </a:r>
            <a:r>
              <a:rPr lang="nl-BE" err="1">
                <a:latin typeface="Johnson Text"/>
              </a:rPr>
              <a:t>and</a:t>
            </a:r>
            <a:r>
              <a:rPr lang="nl-BE">
                <a:latin typeface="Johnson Text"/>
              </a:rPr>
              <a:t> </a:t>
            </a:r>
            <a:r>
              <a:rPr lang="nl-BE" err="1">
                <a:latin typeface="Johnson Text"/>
              </a:rPr>
              <a:t>used</a:t>
            </a:r>
            <a:r>
              <a:rPr lang="nl-BE">
                <a:latin typeface="Johnson Text"/>
              </a:rPr>
              <a:t> in </a:t>
            </a:r>
            <a:r>
              <a:rPr lang="nl-BE" err="1">
                <a:latin typeface="Johnson Text"/>
              </a:rPr>
              <a:t>reproducing</a:t>
            </a:r>
            <a:r>
              <a:rPr lang="nl-BE">
                <a:latin typeface="Johnson Text"/>
              </a:rPr>
              <a:t> Pilot 3.  </a:t>
            </a:r>
            <a:r>
              <a:rPr lang="nl-BE" err="1">
                <a:latin typeface="Johnson Text"/>
              </a:rPr>
              <a:t>Note</a:t>
            </a:r>
            <a:r>
              <a:rPr lang="nl-BE">
                <a:latin typeface="Johnson Text"/>
              </a:rPr>
              <a:t> </a:t>
            </a:r>
            <a:r>
              <a:rPr lang="nl-BE" err="1">
                <a:latin typeface="Johnson Text"/>
              </a:rPr>
              <a:t>that</a:t>
            </a:r>
            <a:r>
              <a:rPr lang="nl-BE">
                <a:latin typeface="Johnson Text"/>
              </a:rPr>
              <a:t> </a:t>
            </a:r>
            <a:r>
              <a:rPr lang="nl-BE" err="1">
                <a:latin typeface="Johnson Text"/>
              </a:rPr>
              <a:t>underscores</a:t>
            </a:r>
            <a:r>
              <a:rPr lang="nl-BE">
                <a:latin typeface="Johnson Text"/>
              </a:rPr>
              <a:t> </a:t>
            </a:r>
            <a:r>
              <a:rPr lang="nl-BE" err="1">
                <a:latin typeface="Johnson Text"/>
              </a:rPr>
              <a:t>need</a:t>
            </a:r>
            <a:r>
              <a:rPr lang="nl-BE">
                <a:latin typeface="Johnson Text"/>
              </a:rPr>
              <a:t> </a:t>
            </a:r>
            <a:r>
              <a:rPr lang="nl-BE" err="1">
                <a:latin typeface="Johnson Text"/>
              </a:rPr>
              <a:t>to</a:t>
            </a:r>
            <a:r>
              <a:rPr lang="nl-BE">
                <a:latin typeface="Johnson Text"/>
              </a:rPr>
              <a:t> </a:t>
            </a:r>
            <a:r>
              <a:rPr lang="nl-BE" err="1">
                <a:latin typeface="Johnson Text"/>
              </a:rPr>
              <a:t>be</a:t>
            </a:r>
            <a:r>
              <a:rPr lang="nl-BE">
                <a:latin typeface="Johnson Text"/>
              </a:rPr>
              <a:t> </a:t>
            </a:r>
            <a:r>
              <a:rPr lang="nl-BE" err="1">
                <a:latin typeface="Johnson Text"/>
              </a:rPr>
              <a:t>replaced</a:t>
            </a:r>
            <a:r>
              <a:rPr lang="nl-BE">
                <a:latin typeface="Johnson Text"/>
              </a:rPr>
              <a:t> </a:t>
            </a:r>
            <a:r>
              <a:rPr lang="nl-BE" err="1">
                <a:latin typeface="Johnson Text"/>
              </a:rPr>
              <a:t>by</a:t>
            </a:r>
            <a:r>
              <a:rPr lang="nl-BE">
                <a:latin typeface="Johnson Text"/>
              </a:rPr>
              <a:t> </a:t>
            </a:r>
            <a:r>
              <a:rPr lang="nl-BE" err="1">
                <a:latin typeface="Johnson Text"/>
              </a:rPr>
              <a:t>hyphen</a:t>
            </a:r>
            <a:r>
              <a:rPr lang="nl-BE">
                <a:latin typeface="Johnson Text"/>
              </a:rPr>
              <a:t> </a:t>
            </a:r>
            <a:r>
              <a:rPr lang="nl-BE" err="1">
                <a:latin typeface="Johnson Text"/>
              </a:rPr>
              <a:t>and</a:t>
            </a:r>
            <a:r>
              <a:rPr lang="nl-BE">
                <a:latin typeface="Johnson Text"/>
              </a:rPr>
              <a:t> </a:t>
            </a:r>
            <a:r>
              <a:rPr lang="nl-BE" err="1">
                <a:latin typeface="Johnson Text"/>
              </a:rPr>
              <a:t>instructions</a:t>
            </a:r>
            <a:r>
              <a:rPr lang="nl-BE">
                <a:latin typeface="Johnson Text"/>
              </a:rPr>
              <a:t> </a:t>
            </a:r>
            <a:r>
              <a:rPr lang="nl-BE" err="1">
                <a:latin typeface="Johnson Text"/>
              </a:rPr>
              <a:t>for</a:t>
            </a:r>
            <a:r>
              <a:rPr lang="nl-BE">
                <a:latin typeface="Johnson Text"/>
              </a:rPr>
              <a:t> </a:t>
            </a:r>
            <a:r>
              <a:rPr lang="nl-BE" err="1">
                <a:latin typeface="Johnson Text"/>
              </a:rPr>
              <a:t>renaming</a:t>
            </a:r>
            <a:r>
              <a:rPr lang="nl-BE">
                <a:latin typeface="Johnson Text"/>
              </a:rPr>
              <a:t> </a:t>
            </a:r>
            <a:r>
              <a:rPr lang="nl-BE" err="1">
                <a:latin typeface="Johnson Text"/>
              </a:rPr>
              <a:t>should</a:t>
            </a:r>
            <a:r>
              <a:rPr lang="nl-BE">
                <a:latin typeface="Johnson Text"/>
              </a:rPr>
              <a:t> </a:t>
            </a:r>
            <a:r>
              <a:rPr lang="nl-BE" err="1">
                <a:latin typeface="Johnson Text"/>
              </a:rPr>
              <a:t>be</a:t>
            </a:r>
            <a:r>
              <a:rPr lang="nl-BE">
                <a:latin typeface="Johnson Text"/>
              </a:rPr>
              <a:t> </a:t>
            </a:r>
            <a:r>
              <a:rPr lang="nl-BE" err="1">
                <a:latin typeface="Johnson Text"/>
              </a:rPr>
              <a:t>documented</a:t>
            </a:r>
            <a:r>
              <a:rPr lang="nl-BE">
                <a:latin typeface="Johnson Text"/>
              </a:rPr>
              <a:t> in ADRG</a:t>
            </a:r>
          </a:p>
          <a:p>
            <a:pPr>
              <a:lnSpc>
                <a:spcPct val="105000"/>
              </a:lnSpc>
              <a:spcBef>
                <a:spcPts val="0"/>
              </a:spcBef>
              <a:spcAft>
                <a:spcPts val="0"/>
              </a:spcAft>
            </a:pPr>
            <a:endParaRPr lang="nl-BE">
              <a:latin typeface="Johnson Text"/>
            </a:endParaRPr>
          </a:p>
          <a:p>
            <a:pPr marL="342900" indent="-342900">
              <a:lnSpc>
                <a:spcPct val="105000"/>
              </a:lnSpc>
              <a:spcBef>
                <a:spcPts val="0"/>
              </a:spcBef>
              <a:spcAft>
                <a:spcPts val="0"/>
              </a:spcAft>
              <a:buFont typeface="Wingdings" panose="05000000000000000000" pitchFamily="2" charset="2"/>
              <a:buChar char="q"/>
            </a:pPr>
            <a:r>
              <a:rPr lang="nl-BE">
                <a:latin typeface="Johnson Text"/>
              </a:rPr>
              <a:t>Use of absolute paths in ADRG rather than relative paths eg “./opath”</a:t>
            </a:r>
          </a:p>
          <a:p>
            <a:pPr marL="342900" indent="-342900">
              <a:lnSpc>
                <a:spcPct val="105000"/>
              </a:lnSpc>
              <a:spcBef>
                <a:spcPts val="0"/>
              </a:spcBef>
              <a:spcAft>
                <a:spcPts val="0"/>
              </a:spcAft>
              <a:buFont typeface="Wingdings" panose="05000000000000000000" pitchFamily="2" charset="2"/>
              <a:buChar char="q"/>
            </a:pPr>
            <a:endParaRPr lang="nl-BE">
              <a:latin typeface="Johnson Text"/>
            </a:endParaRPr>
          </a:p>
          <a:p>
            <a:pPr marL="285750" indent="-285750">
              <a:lnSpc>
                <a:spcPct val="105000"/>
              </a:lnSpc>
              <a:buFont typeface="Wingdings" panose="05000000000000000000" pitchFamily="2" charset="2"/>
              <a:buChar char="q"/>
            </a:pPr>
            <a:r>
              <a:rPr lang="en-US" altLang="zh-CN">
                <a:latin typeface="Johnson Text"/>
              </a:rPr>
              <a:t>NMPA submission, translated ADRG in Chinese and updated per NMPA submission requirements, </a:t>
            </a:r>
            <a:r>
              <a:rPr lang="en-US" altLang="zh-CN" err="1">
                <a:latin typeface="Johnson Text"/>
              </a:rPr>
              <a:t>eg</a:t>
            </a:r>
            <a:r>
              <a:rPr lang="en-US" altLang="zh-CN">
                <a:latin typeface="Johnson Text"/>
              </a:rPr>
              <a:t> replace '</a:t>
            </a:r>
            <a:r>
              <a:rPr lang="en-US" altLang="zh-CN" err="1">
                <a:latin typeface="Johnson Text"/>
              </a:rPr>
              <a:t>misc</a:t>
            </a:r>
            <a:r>
              <a:rPr lang="en-US" altLang="zh-CN">
                <a:latin typeface="Johnson Text"/>
              </a:rPr>
              <a:t>' folder with 'dataset' folder</a:t>
            </a:r>
          </a:p>
          <a:p>
            <a:pPr marL="342900" indent="-342900">
              <a:lnSpc>
                <a:spcPct val="105000"/>
              </a:lnSpc>
              <a:spcBef>
                <a:spcPts val="0"/>
              </a:spcBef>
              <a:spcAft>
                <a:spcPts val="0"/>
              </a:spcAft>
              <a:buFont typeface="Wingdings" panose="05000000000000000000" pitchFamily="2" charset="2"/>
              <a:buChar char="q"/>
            </a:pPr>
            <a:endParaRPr lang="nl-BE">
              <a:latin typeface="Aptos" panose="020B0004020202020204" pitchFamily="34" charset="0"/>
            </a:endParaRPr>
          </a:p>
          <a:p>
            <a:pPr marL="342900" indent="-342900">
              <a:lnSpc>
                <a:spcPct val="105000"/>
              </a:lnSpc>
              <a:spcBef>
                <a:spcPts val="0"/>
              </a:spcBef>
              <a:spcAft>
                <a:spcPts val="0"/>
              </a:spcAft>
              <a:buFont typeface="Wingdings" panose="05000000000000000000" pitchFamily="2" charset="2"/>
              <a:buChar char="q"/>
            </a:pPr>
            <a:endParaRPr lang="nl-BE">
              <a:latin typeface="Aptos" panose="020B0004020202020204" pitchFamily="34" charset="0"/>
            </a:endParaRPr>
          </a:p>
        </p:txBody>
      </p:sp>
      <p:sp>
        <p:nvSpPr>
          <p:cNvPr id="5" name="Slide Number Placeholder 4">
            <a:extLst>
              <a:ext uri="{FF2B5EF4-FFF2-40B4-BE49-F238E27FC236}">
                <a16:creationId xmlns:a16="http://schemas.microsoft.com/office/drawing/2014/main" id="{9EA4F81C-45E8-725E-55FA-6EAD5F8860F8}"/>
              </a:ext>
            </a:extLst>
          </p:cNvPr>
          <p:cNvSpPr>
            <a:spLocks noGrp="1"/>
          </p:cNvSpPr>
          <p:nvPr>
            <p:ph type="sldNum" sz="quarter" idx="12"/>
          </p:nvPr>
        </p:nvSpPr>
        <p:spPr/>
        <p:txBody>
          <a:bodyPr/>
          <a:lstStyle/>
          <a:p>
            <a:fld id="{AEC8D767-5246-2244-A4A3-B8AFB218393C}" type="slidenum">
              <a:rPr lang="en-GB" smtClean="0"/>
              <a:t>8</a:t>
            </a:fld>
            <a:endParaRPr lang="en-GB"/>
          </a:p>
        </p:txBody>
      </p:sp>
    </p:spTree>
    <p:extLst>
      <p:ext uri="{BB962C8B-B14F-4D97-AF65-F5344CB8AC3E}">
        <p14:creationId xmlns:p14="http://schemas.microsoft.com/office/powerpoint/2010/main" val="34295873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38FAC1F-7252-661A-15B9-FA2C680AF8A2}"/>
              </a:ext>
            </a:extLst>
          </p:cNvPr>
          <p:cNvSpPr>
            <a:spLocks noGrp="1"/>
          </p:cNvSpPr>
          <p:nvPr>
            <p:ph type="title"/>
          </p:nvPr>
        </p:nvSpPr>
        <p:spPr>
          <a:xfrm>
            <a:off x="288258" y="4294771"/>
            <a:ext cx="8828309" cy="475066"/>
          </a:xfrm>
        </p:spPr>
        <p:txBody>
          <a:bodyPr/>
          <a:lstStyle/>
          <a:p>
            <a:r>
              <a:rPr lang="en-US" altLang="zh-CN" sz="3600" b="1"/>
              <a:t>Setup Environment – Real Case Sharing</a:t>
            </a:r>
            <a:endParaRPr lang="zh-CN" altLang="en-US" sz="3600" b="1"/>
          </a:p>
        </p:txBody>
      </p:sp>
      <p:sp>
        <p:nvSpPr>
          <p:cNvPr id="5" name="灯片编号占位符 4">
            <a:extLst>
              <a:ext uri="{FF2B5EF4-FFF2-40B4-BE49-F238E27FC236}">
                <a16:creationId xmlns:a16="http://schemas.microsoft.com/office/drawing/2014/main" id="{DDBD7BB0-7B38-78D5-05C5-92EDC8BE70AB}"/>
              </a:ext>
            </a:extLst>
          </p:cNvPr>
          <p:cNvSpPr>
            <a:spLocks noGrp="1"/>
          </p:cNvSpPr>
          <p:nvPr>
            <p:ph type="sldNum" sz="quarter" idx="12"/>
          </p:nvPr>
        </p:nvSpPr>
        <p:spPr/>
        <p:txBody>
          <a:bodyPr/>
          <a:lstStyle/>
          <a:p>
            <a:fld id="{AEC8D767-5246-2244-A4A3-B8AFB218393C}" type="slidenum">
              <a:rPr lang="en-GB" smtClean="0"/>
              <a:t>9</a:t>
            </a:fld>
            <a:endParaRPr lang="en-GB"/>
          </a:p>
        </p:txBody>
      </p:sp>
    </p:spTree>
    <p:extLst>
      <p:ext uri="{BB962C8B-B14F-4D97-AF65-F5344CB8AC3E}">
        <p14:creationId xmlns:p14="http://schemas.microsoft.com/office/powerpoint/2010/main" val="16743194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Johnson and Johnson">
  <a:themeElements>
    <a:clrScheme name="JNJ">
      <a:dk1>
        <a:srgbClr val="000000"/>
      </a:dk1>
      <a:lt1>
        <a:srgbClr val="FFFFFF"/>
      </a:lt1>
      <a:dk2>
        <a:srgbClr val="EB1700"/>
      </a:dk2>
      <a:lt2>
        <a:srgbClr val="564C47"/>
      </a:lt2>
      <a:accent1>
        <a:srgbClr val="EB1700"/>
      </a:accent1>
      <a:accent2>
        <a:srgbClr val="000000"/>
      </a:accent2>
      <a:accent3>
        <a:srgbClr val="C4BDB6"/>
      </a:accent3>
      <a:accent4>
        <a:srgbClr val="004686"/>
      </a:accent4>
      <a:accent5>
        <a:srgbClr val="68D2FF"/>
      </a:accent5>
      <a:accent6>
        <a:srgbClr val="541981"/>
      </a:accent6>
      <a:hlink>
        <a:srgbClr val="000000"/>
      </a:hlink>
      <a:folHlink>
        <a:srgbClr val="000000"/>
      </a:folHlink>
    </a:clrScheme>
    <a:fontScheme name="J&amp;J">
      <a:majorFont>
        <a:latin typeface="Johnson Display"/>
        <a:ea typeface=""/>
        <a:cs typeface=""/>
      </a:majorFont>
      <a:minorFont>
        <a:latin typeface="Johnson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latin typeface="+mn-lt"/>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triangl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kern="1200" dirty="0" err="1" smtClean="0">
            <a:solidFill>
              <a:schemeClr val="tx1"/>
            </a:solidFill>
            <a:latin typeface="+mn-lt"/>
            <a:ea typeface="+mn-ea"/>
            <a:cs typeface="+mn-cs"/>
          </a:defRPr>
        </a:defPPr>
      </a:lstStyle>
    </a:txDef>
  </a:objectDefaults>
  <a:extraClrSchemeLst/>
  <a:extLst>
    <a:ext uri="{05A4C25C-085E-4340-85A3-A5531E510DB2}">
      <thm15:themeFamily xmlns:thm15="http://schemas.microsoft.com/office/thememl/2012/main" name="Presentation4" id="{F629AD2C-B2E2-6D42-A0F4-619D8CF64E98}" vid="{28389A36-49EA-1943-8399-AC9341DA40DD}"/>
    </a:ext>
  </a:extLst>
</a:theme>
</file>

<file path=ppt/theme/theme2.xml><?xml version="1.0" encoding="utf-8"?>
<a:theme xmlns:a="http://schemas.openxmlformats.org/drawingml/2006/main" name="Johnson and Johnson: Innovative Medicine">
  <a:themeElements>
    <a:clrScheme name="Johnson and Johnson 1">
      <a:dk1>
        <a:srgbClr val="000000"/>
      </a:dk1>
      <a:lt1>
        <a:srgbClr val="FFFFFF"/>
      </a:lt1>
      <a:dk2>
        <a:srgbClr val="F9F7F6"/>
      </a:dk2>
      <a:lt2>
        <a:srgbClr val="564C47"/>
      </a:lt2>
      <a:accent1>
        <a:srgbClr val="EB1700"/>
      </a:accent1>
      <a:accent2>
        <a:srgbClr val="000000"/>
      </a:accent2>
      <a:accent3>
        <a:srgbClr val="C1BBB3"/>
      </a:accent3>
      <a:accent4>
        <a:srgbClr val="004685"/>
      </a:accent4>
      <a:accent5>
        <a:srgbClr val="69D0FF"/>
      </a:accent5>
      <a:accent6>
        <a:srgbClr val="541980"/>
      </a:accent6>
      <a:hlink>
        <a:srgbClr val="000000"/>
      </a:hlink>
      <a:folHlink>
        <a:srgbClr val="000000"/>
      </a:folHlink>
    </a:clrScheme>
    <a:fontScheme name="J&amp;J">
      <a:majorFont>
        <a:latin typeface="Johnson Display"/>
        <a:ea typeface=""/>
        <a:cs typeface=""/>
      </a:majorFont>
      <a:minorFont>
        <a:latin typeface="Johnson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latin typeface="+mn-lt"/>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85750" indent="-285750" algn="l">
          <a:buFont typeface="Arial" panose="020B0604020202020204" pitchFamily="34" charset="0"/>
          <a:buChar char="•"/>
          <a:defRPr sz="1800" kern="1200" dirty="0" err="1" smtClean="0">
            <a:solidFill>
              <a:schemeClr val="tx1"/>
            </a:solidFill>
            <a:latin typeface="+mn-lt"/>
            <a:ea typeface="+mn-ea"/>
            <a:cs typeface="+mn-cs"/>
          </a:defRPr>
        </a:defPPr>
      </a:lstStyle>
    </a:txDef>
  </a:objectDefaults>
  <a:extraClrSchemeLst/>
  <a:extLst>
    <a:ext uri="{05A4C25C-085E-4340-85A3-A5531E510DB2}">
      <thm15:themeFamily xmlns:thm15="http://schemas.microsoft.com/office/thememl/2012/main" name="Presentation1" id="{5098A3B9-EE7A-4C4E-92E1-D10C897DD212}" vid="{FA06C03A-0707-4F37-90EB-12739EC5D139}"/>
    </a:ext>
  </a:extLst>
</a:theme>
</file>

<file path=ppt/theme/theme3.xml><?xml version="1.0" encoding="utf-8"?>
<a:theme xmlns:a="http://schemas.openxmlformats.org/drawingml/2006/main" name="JJIM">
  <a:themeElements>
    <a:clrScheme name="JNJ">
      <a:dk1>
        <a:srgbClr val="000000"/>
      </a:dk1>
      <a:lt1>
        <a:srgbClr val="FFFFFF"/>
      </a:lt1>
      <a:dk2>
        <a:srgbClr val="EB1700"/>
      </a:dk2>
      <a:lt2>
        <a:srgbClr val="564C47"/>
      </a:lt2>
      <a:accent1>
        <a:srgbClr val="EB1700"/>
      </a:accent1>
      <a:accent2>
        <a:srgbClr val="000000"/>
      </a:accent2>
      <a:accent3>
        <a:srgbClr val="C4BDB6"/>
      </a:accent3>
      <a:accent4>
        <a:srgbClr val="004686"/>
      </a:accent4>
      <a:accent5>
        <a:srgbClr val="68D2FF"/>
      </a:accent5>
      <a:accent6>
        <a:srgbClr val="541981"/>
      </a:accent6>
      <a:hlink>
        <a:srgbClr val="000000"/>
      </a:hlink>
      <a:folHlink>
        <a:srgbClr val="000000"/>
      </a:folHlink>
    </a:clrScheme>
    <a:fontScheme name="J&amp;J">
      <a:majorFont>
        <a:latin typeface="Johnson Display"/>
        <a:ea typeface=""/>
        <a:cs typeface=""/>
      </a:majorFont>
      <a:minorFont>
        <a:latin typeface="Johnson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latin typeface="+mn-lt"/>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triangl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kern="1200" dirty="0" err="1" smtClean="0">
            <a:solidFill>
              <a:schemeClr val="tx1"/>
            </a:solidFill>
            <a:latin typeface="+mn-lt"/>
            <a:ea typeface="+mn-ea"/>
            <a:cs typeface="+mn-cs"/>
          </a:defRPr>
        </a:defPPr>
      </a:lstStyle>
    </a:txDef>
  </a:objectDefaults>
  <a:extraClrSchemeLst/>
  <a:extLst>
    <a:ext uri="{05A4C25C-085E-4340-85A3-A5531E510DB2}">
      <thm15:themeFamily xmlns:thm15="http://schemas.microsoft.com/office/thememl/2012/main" name="JJIM" id="{872A4CB8-FAA3-4F2F-ACCF-2E07B8005934}" vid="{BB533921-B76D-438C-AB95-8409BB6D25FD}"/>
    </a:ext>
  </a:extLst>
</a:theme>
</file>

<file path=ppt/theme/theme4.xml><?xml version="1.0" encoding="utf-8"?>
<a:theme xmlns:a="http://schemas.openxmlformats.org/drawingml/2006/main" name="1_Johnson and Johnson: Innovative Medicine">
  <a:themeElements>
    <a:clrScheme name="Johnson and Johnson 1">
      <a:dk1>
        <a:srgbClr val="000000"/>
      </a:dk1>
      <a:lt1>
        <a:srgbClr val="FFFFFF"/>
      </a:lt1>
      <a:dk2>
        <a:srgbClr val="F9F7F6"/>
      </a:dk2>
      <a:lt2>
        <a:srgbClr val="564C47"/>
      </a:lt2>
      <a:accent1>
        <a:srgbClr val="EB1700"/>
      </a:accent1>
      <a:accent2>
        <a:srgbClr val="000000"/>
      </a:accent2>
      <a:accent3>
        <a:srgbClr val="C1BBB3"/>
      </a:accent3>
      <a:accent4>
        <a:srgbClr val="004685"/>
      </a:accent4>
      <a:accent5>
        <a:srgbClr val="69D0FF"/>
      </a:accent5>
      <a:accent6>
        <a:srgbClr val="541980"/>
      </a:accent6>
      <a:hlink>
        <a:srgbClr val="000000"/>
      </a:hlink>
      <a:folHlink>
        <a:srgbClr val="000000"/>
      </a:folHlink>
    </a:clrScheme>
    <a:fontScheme name="J&amp;J">
      <a:majorFont>
        <a:latin typeface="Johnson Display"/>
        <a:ea typeface=""/>
        <a:cs typeface=""/>
      </a:majorFont>
      <a:minorFont>
        <a:latin typeface="Johnson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latin typeface="+mn-lt"/>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85750" indent="-285750" algn="l">
          <a:buFont typeface="Arial" panose="020B0604020202020204" pitchFamily="34" charset="0"/>
          <a:buChar char="•"/>
          <a:defRPr sz="1800" kern="1200" dirty="0" err="1" smtClean="0">
            <a:solidFill>
              <a:schemeClr val="tx1"/>
            </a:solidFill>
            <a:latin typeface="+mn-lt"/>
            <a:ea typeface="+mn-ea"/>
            <a:cs typeface="+mn-cs"/>
          </a:defRPr>
        </a:defPPr>
      </a:lstStyle>
    </a:txDef>
  </a:objectDefaults>
  <a:extraClrSchemeLst/>
  <a:extLst>
    <a:ext uri="{05A4C25C-085E-4340-85A3-A5531E510DB2}">
      <thm15:themeFamily xmlns:thm15="http://schemas.microsoft.com/office/thememl/2012/main" name="Presentation1" id="{5098A3B9-EE7A-4C4E-92E1-D10C897DD212}" vid="{FA06C03A-0707-4F37-90EB-12739EC5D139}"/>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等线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2BB5F4ED95F4449AA0B30A6A4CC5440" ma:contentTypeVersion="12" ma:contentTypeDescription="Create a new document." ma:contentTypeScope="" ma:versionID="442a85b277376608b97572fb12c938bd">
  <xsd:schema xmlns:xsd="http://www.w3.org/2001/XMLSchema" xmlns:xs="http://www.w3.org/2001/XMLSchema" xmlns:p="http://schemas.microsoft.com/office/2006/metadata/properties" xmlns:ns2="91d51abc-4432-4484-aa55-e8e30f15d474" xmlns:ns3="ef8a18e7-2159-4833-94cf-c7e07262f215" targetNamespace="http://schemas.microsoft.com/office/2006/metadata/properties" ma:root="true" ma:fieldsID="d8fb985d901a9442e7045b390027c0bc" ns2:_="" ns3:_="">
    <xsd:import namespace="91d51abc-4432-4484-aa55-e8e30f15d474"/>
    <xsd:import namespace="ef8a18e7-2159-4833-94cf-c7e07262f215"/>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LengthInSeconds" minOccurs="0"/>
                <xsd:element ref="ns2:MediaServiceObjectDetectorVersion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d51abc-4432-4484-aa55-e8e30f15d47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f8a18e7-2159-4833-94cf-c7e07262f21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419580F-AAE7-48FE-A1D7-F359FC3DBC50}">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407D77D6-3C7C-4327-BFA6-EA3B2923A0D8}">
  <ds:schemaRefs>
    <ds:schemaRef ds:uri="91d51abc-4432-4484-aa55-e8e30f15d474"/>
    <ds:schemaRef ds:uri="ef8a18e7-2159-4833-94cf-c7e07262f21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BBC5BB8-6DB8-4039-82C6-945C1206B900}">
  <ds:schemaRefs>
    <ds:schemaRef ds:uri="http://schemas.microsoft.com/sharepoint/v3/contenttype/forms"/>
  </ds:schemaRefs>
</ds:datastoreItem>
</file>

<file path=docMetadata/LabelInfo.xml><?xml version="1.0" encoding="utf-8"?>
<clbl:labelList xmlns:clbl="http://schemas.microsoft.com/office/2020/mipLabelMetadata">
  <clbl:label id="{3ca48ea3-8c75-4d36-b64f-70604b11fd22}" enabled="1" method="Standard" siteId="{3ac94b33-9135-4821-9502-eafda6592a35}" removed="0"/>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8</Slides>
  <Notes>4</Notes>
  <HiddenSlides>0</HiddenSlides>
  <ScaleCrop>false</ScaleCrop>
  <HeadingPairs>
    <vt:vector size="4" baseType="variant">
      <vt:variant>
        <vt:lpstr>Theme</vt:lpstr>
      </vt:variant>
      <vt:variant>
        <vt:i4>4</vt:i4>
      </vt:variant>
      <vt:variant>
        <vt:lpstr>Slide Titles</vt:lpstr>
      </vt:variant>
      <vt:variant>
        <vt:i4>18</vt:i4>
      </vt:variant>
    </vt:vector>
  </HeadingPairs>
  <TitlesOfParts>
    <vt:vector size="22" baseType="lpstr">
      <vt:lpstr>2_Johnson and Johnson</vt:lpstr>
      <vt:lpstr>Johnson and Johnson: Innovative Medicine</vt:lpstr>
      <vt:lpstr>JJIM</vt:lpstr>
      <vt:lpstr>1_Johnson and Johnson: Innovative Medicine</vt:lpstr>
      <vt:lpstr>How can we ensure that health authorities reproduce the sponsor's R based submission results?   Renfa He, He Liu    Mar. 28, 2025</vt:lpstr>
      <vt:lpstr>Agenda</vt:lpstr>
      <vt:lpstr>PowerPoint Presentation</vt:lpstr>
      <vt:lpstr>Preliminary Steps</vt:lpstr>
      <vt:lpstr>ADRG</vt:lpstr>
      <vt:lpstr>ADRG</vt:lpstr>
      <vt:lpstr>ADRG</vt:lpstr>
      <vt:lpstr>Key Takeaways</vt:lpstr>
      <vt:lpstr>Setup Environment – Real Case Sharing</vt:lpstr>
      <vt:lpstr>PowerPoint Presentation</vt:lpstr>
      <vt:lpstr>PowerPoint Presentation</vt:lpstr>
      <vt:lpstr>PowerPoint Presentation</vt:lpstr>
      <vt:lpstr>PowerPoint Presentation</vt:lpstr>
      <vt:lpstr>PowerPoint Presentation</vt:lpstr>
      <vt:lpstr>Challenges &amp; Recommendations</vt:lpstr>
      <vt:lpstr>References</vt:lpstr>
      <vt:lpstr>Acknowledgements</vt:lpstr>
      <vt:lpstr>PowerPoint Presentation</vt:lpstr>
    </vt:vector>
  </TitlesOfParts>
  <Company>JNJ</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He, Renfa [JRDCN]</dc:creator>
  <cp:revision>1</cp:revision>
  <dcterms:created xsi:type="dcterms:W3CDTF">2025-02-10T00:00:35Z</dcterms:created>
  <dcterms:modified xsi:type="dcterms:W3CDTF">2025-03-24T01:49: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2BB5F4ED95F4449AA0B30A6A4CC5440</vt:lpwstr>
  </property>
</Properties>
</file>